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16" r:id="rId5"/>
  </p:sldMasterIdLst>
  <p:notesMasterIdLst>
    <p:notesMasterId r:id="rId98"/>
  </p:notesMasterIdLst>
  <p:handoutMasterIdLst>
    <p:handoutMasterId r:id="rId99"/>
  </p:handoutMasterIdLst>
  <p:sldIdLst>
    <p:sldId id="367" r:id="rId6"/>
    <p:sldId id="539" r:id="rId7"/>
    <p:sldId id="392" r:id="rId8"/>
    <p:sldId id="368" r:id="rId9"/>
    <p:sldId id="369" r:id="rId10"/>
    <p:sldId id="417" r:id="rId11"/>
    <p:sldId id="267" r:id="rId12"/>
    <p:sldId id="268" r:id="rId13"/>
    <p:sldId id="567" r:id="rId14"/>
    <p:sldId id="265" r:id="rId15"/>
    <p:sldId id="530" r:id="rId16"/>
    <p:sldId id="521" r:id="rId17"/>
    <p:sldId id="293" r:id="rId18"/>
    <p:sldId id="472" r:id="rId19"/>
    <p:sldId id="538" r:id="rId20"/>
    <p:sldId id="526" r:id="rId21"/>
    <p:sldId id="470" r:id="rId22"/>
    <p:sldId id="474" r:id="rId23"/>
    <p:sldId id="464" r:id="rId24"/>
    <p:sldId id="554" r:id="rId25"/>
    <p:sldId id="555" r:id="rId26"/>
    <p:sldId id="451" r:id="rId27"/>
    <p:sldId id="542" r:id="rId28"/>
    <p:sldId id="457" r:id="rId29"/>
    <p:sldId id="418" r:id="rId30"/>
    <p:sldId id="419" r:id="rId31"/>
    <p:sldId id="444" r:id="rId32"/>
    <p:sldId id="479" r:id="rId33"/>
    <p:sldId id="420" r:id="rId34"/>
    <p:sldId id="424" r:id="rId35"/>
    <p:sldId id="431" r:id="rId36"/>
    <p:sldId id="527" r:id="rId37"/>
    <p:sldId id="483" r:id="rId38"/>
    <p:sldId id="597" r:id="rId39"/>
    <p:sldId id="482" r:id="rId40"/>
    <p:sldId id="598" r:id="rId41"/>
    <p:sldId id="445" r:id="rId42"/>
    <p:sldId id="562" r:id="rId43"/>
    <p:sldId id="563" r:id="rId44"/>
    <p:sldId id="564" r:id="rId45"/>
    <p:sldId id="540" r:id="rId46"/>
    <p:sldId id="487" r:id="rId47"/>
    <p:sldId id="520" r:id="rId48"/>
    <p:sldId id="413" r:id="rId49"/>
    <p:sldId id="536" r:id="rId50"/>
    <p:sldId id="537" r:id="rId51"/>
    <p:sldId id="282" r:id="rId52"/>
    <p:sldId id="516" r:id="rId53"/>
    <p:sldId id="517" r:id="rId54"/>
    <p:sldId id="450" r:id="rId55"/>
    <p:sldId id="353" r:id="rId56"/>
    <p:sldId id="596" r:id="rId57"/>
    <p:sldId id="408" r:id="rId58"/>
    <p:sldId id="360" r:id="rId59"/>
    <p:sldId id="565" r:id="rId60"/>
    <p:sldId id="361" r:id="rId61"/>
    <p:sldId id="561" r:id="rId62"/>
    <p:sldId id="284" r:id="rId63"/>
    <p:sldId id="372" r:id="rId64"/>
    <p:sldId id="534" r:id="rId65"/>
    <p:sldId id="480" r:id="rId66"/>
    <p:sldId id="491" r:id="rId67"/>
    <p:sldId id="569" r:id="rId68"/>
    <p:sldId id="570" r:id="rId69"/>
    <p:sldId id="571" r:id="rId70"/>
    <p:sldId id="572" r:id="rId71"/>
    <p:sldId id="573" r:id="rId72"/>
    <p:sldId id="574" r:id="rId73"/>
    <p:sldId id="575" r:id="rId74"/>
    <p:sldId id="576" r:id="rId75"/>
    <p:sldId id="577" r:id="rId76"/>
    <p:sldId id="578" r:id="rId77"/>
    <p:sldId id="579" r:id="rId78"/>
    <p:sldId id="580" r:id="rId79"/>
    <p:sldId id="581" r:id="rId80"/>
    <p:sldId id="582" r:id="rId81"/>
    <p:sldId id="583" r:id="rId82"/>
    <p:sldId id="584" r:id="rId83"/>
    <p:sldId id="585" r:id="rId84"/>
    <p:sldId id="586" r:id="rId85"/>
    <p:sldId id="587" r:id="rId86"/>
    <p:sldId id="588" r:id="rId87"/>
    <p:sldId id="589" r:id="rId88"/>
    <p:sldId id="591" r:id="rId89"/>
    <p:sldId id="592" r:id="rId90"/>
    <p:sldId id="593" r:id="rId91"/>
    <p:sldId id="594" r:id="rId92"/>
    <p:sldId id="590" r:id="rId93"/>
    <p:sldId id="595" r:id="rId94"/>
    <p:sldId id="515" r:id="rId95"/>
    <p:sldId id="518" r:id="rId96"/>
    <p:sldId id="519"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wdy, Megan" initials="DM" lastIdx="19" clrIdx="0"/>
  <p:cmAuthor id="2" name="Koestner, Kevin" initials="KK" lastIdx="12" clrIdx="1"/>
  <p:cmAuthor id="3" name="EVANS, SEAN P [AG/1000]" initials="ESP[" lastIdx="49" clrIdx="2"/>
  <p:cmAuthor id="4" name="HERRMANN, JEFFREY E [AG/1000]" initials="HJE[" lastIdx="2" clrIdx="3">
    <p:extLst>
      <p:ext uri="{19B8F6BF-5375-455C-9EA6-DF929625EA0E}">
        <p15:presenceInfo xmlns:p15="http://schemas.microsoft.com/office/powerpoint/2012/main" userId="S-1-5-21-2066316708-82846456-1609722162-51054" providerId="AD"/>
      </p:ext>
    </p:extLst>
  </p:cmAuthor>
  <p:cmAuthor id="5" name="KRUSE, JESSICA [AG-Contractor/1000]" initials="KJ[" lastIdx="1" clrIdx="4">
    <p:extLst>
      <p:ext uri="{19B8F6BF-5375-455C-9EA6-DF929625EA0E}">
        <p15:presenceInfo xmlns:p15="http://schemas.microsoft.com/office/powerpoint/2012/main" userId="S-1-5-21-2066316708-82846456-1609722162-642618" providerId="AD"/>
      </p:ext>
    </p:extLst>
  </p:cmAuthor>
  <p:cmAuthor id="6" name="Smith, Andrew" initials="SA" lastIdx="58" clrIdx="5"/>
  <p:cmAuthor id="7" name="WILLIS, JOHN B [AG/1000]" initials="WJB[" lastIdx="2" clrIdx="6">
    <p:extLst>
      <p:ext uri="{19B8F6BF-5375-455C-9EA6-DF929625EA0E}">
        <p15:presenceInfo xmlns:p15="http://schemas.microsoft.com/office/powerpoint/2012/main" userId="S-1-5-21-2066316708-82846456-1609722162-221311" providerId="AD"/>
      </p:ext>
    </p:extLst>
  </p:cmAuthor>
  <p:cmAuthor id="8" name="GROTH, MARK E [AG/1000]" initials="GME[" lastIdx="4" clrIdx="7">
    <p:extLst>
      <p:ext uri="{19B8F6BF-5375-455C-9EA6-DF929625EA0E}">
        <p15:presenceInfo xmlns:p15="http://schemas.microsoft.com/office/powerpoint/2012/main" userId="S-1-5-21-2066316708-82846456-1609722162-2692" providerId="AD"/>
      </p:ext>
    </p:extLst>
  </p:cmAuthor>
  <p:cmAuthor id="9" name="Mark Groth" initials="MG" lastIdx="70" clrIdx="8">
    <p:extLst>
      <p:ext uri="{19B8F6BF-5375-455C-9EA6-DF929625EA0E}">
        <p15:presenceInfo xmlns:p15="http://schemas.microsoft.com/office/powerpoint/2012/main" userId="S::mark.groth@bayer.com::5ba9051c-f535-42a7-8726-b9ef347db54e" providerId="AD"/>
      </p:ext>
    </p:extLst>
  </p:cmAuthor>
  <p:cmAuthor id="10" name="John Willis" initials="JW" lastIdx="34" clrIdx="9">
    <p:extLst>
      <p:ext uri="{19B8F6BF-5375-455C-9EA6-DF929625EA0E}">
        <p15:presenceInfo xmlns:p15="http://schemas.microsoft.com/office/powerpoint/2012/main" userId="S::john.willis@bayer.com::520b74fa-2f66-48c8-bc7e-d5c93d9d2183" providerId="AD"/>
      </p:ext>
    </p:extLst>
  </p:cmAuthor>
  <p:cmAuthor id="11" name="Richard Voth" initials="RV" lastIdx="47" clrIdx="10">
    <p:extLst>
      <p:ext uri="{19B8F6BF-5375-455C-9EA6-DF929625EA0E}">
        <p15:presenceInfo xmlns:p15="http://schemas.microsoft.com/office/powerpoint/2012/main" userId="S::richard.voth.ext@bayer.com::382fac72-24ac-4bec-8ff4-be579f767264" providerId="AD"/>
      </p:ext>
    </p:extLst>
  </p:cmAuthor>
  <p:cmAuthor id="12" name="Jeffrey Herrmann" initials="JH" lastIdx="13" clrIdx="11">
    <p:extLst>
      <p:ext uri="{19B8F6BF-5375-455C-9EA6-DF929625EA0E}">
        <p15:presenceInfo xmlns:p15="http://schemas.microsoft.com/office/powerpoint/2012/main" userId="S::jeffrey.herrmann@bayer.com::efcaf575-12d7-4b63-ad41-05b8a9ec6ef4" providerId="AD"/>
      </p:ext>
    </p:extLst>
  </p:cmAuthor>
  <p:cmAuthor id="13" name="Ty Witten" initials="TW" lastIdx="1" clrIdx="12">
    <p:extLst>
      <p:ext uri="{19B8F6BF-5375-455C-9EA6-DF929625EA0E}">
        <p15:presenceInfo xmlns:p15="http://schemas.microsoft.com/office/powerpoint/2012/main" userId="S::ty.witten@bayer.com::e04615c7-112c-4bfa-9130-8052863d334c" providerId="AD"/>
      </p:ext>
    </p:extLst>
  </p:cmAuthor>
  <p:cmAuthor id="14" name="Emily Scholting" initials="ES" lastIdx="2" clrIdx="13">
    <p:extLst>
      <p:ext uri="{19B8F6BF-5375-455C-9EA6-DF929625EA0E}">
        <p15:presenceInfo xmlns:p15="http://schemas.microsoft.com/office/powerpoint/2012/main" userId="S::emily.scholting@bayer.com::aae3a8eb-5528-4d41-a846-234914eae7e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ABAB"/>
    <a:srgbClr val="FFFFFF"/>
    <a:srgbClr val="000000"/>
    <a:srgbClr val="336699"/>
    <a:srgbClr val="EAE7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A63539-0809-436B-B3F1-291C959491E7}" v="15" dt="2021-01-26T22:08:52.208"/>
    <p1510:client id="{7126B221-E317-493C-9FD1-51FB009506E5}" v="15" dt="2021-01-26T21:58:41.2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000" autoAdjust="0"/>
    <p:restoredTop sz="81782" autoAdjust="0"/>
  </p:normalViewPr>
  <p:slideViewPr>
    <p:cSldViewPr snapToGrid="0">
      <p:cViewPr varScale="1">
        <p:scale>
          <a:sx n="46" d="100"/>
          <a:sy n="46" d="100"/>
        </p:scale>
        <p:origin x="1147" y="43"/>
      </p:cViewPr>
      <p:guideLst>
        <p:guide pos="3840"/>
        <p:guide orient="horz" pos="216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496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07" Type="http://schemas.microsoft.com/office/2015/10/relationships/revisionInfo" Target="revisionInfo.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microsoft.com/office/2016/11/relationships/changesInfo" Target="changesInfos/changesInfo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Willis" userId="S::john.willis@bayer.com::520b74fa-2f66-48c8-bc7e-d5c93d9d2183" providerId="AD" clId="Web-{54FF8BEF-BEF8-40ED-B673-5556F248754B}"/>
    <pc:docChg chg="modSld">
      <pc:chgData name="John Willis" userId="S::john.willis@bayer.com::520b74fa-2f66-48c8-bc7e-d5c93d9d2183" providerId="AD" clId="Web-{54FF8BEF-BEF8-40ED-B673-5556F248754B}" dt="2021-01-20T14:58:15.036" v="11"/>
      <pc:docMkLst>
        <pc:docMk/>
      </pc:docMkLst>
      <pc:sldChg chg="modSp">
        <pc:chgData name="John Willis" userId="S::john.willis@bayer.com::520b74fa-2f66-48c8-bc7e-d5c93d9d2183" providerId="AD" clId="Web-{54FF8BEF-BEF8-40ED-B673-5556F248754B}" dt="2021-01-20T14:58:15.036" v="11"/>
        <pc:sldMkLst>
          <pc:docMk/>
          <pc:sldMk cId="2641746727" sldId="574"/>
        </pc:sldMkLst>
        <pc:graphicFrameChg chg="mod modGraphic">
          <ac:chgData name="John Willis" userId="S::john.willis@bayer.com::520b74fa-2f66-48c8-bc7e-d5c93d9d2183" providerId="AD" clId="Web-{54FF8BEF-BEF8-40ED-B673-5556F248754B}" dt="2021-01-20T14:58:15.036" v="11"/>
          <ac:graphicFrameMkLst>
            <pc:docMk/>
            <pc:sldMk cId="2641746727" sldId="574"/>
            <ac:graphicFrameMk id="11" creationId="{F8BD4FB5-665B-4D06-8EEC-37B125FDB391}"/>
          </ac:graphicFrameMkLst>
        </pc:graphicFrameChg>
      </pc:sldChg>
    </pc:docChg>
  </pc:docChgLst>
  <pc:docChgLst>
    <pc:chgData name="John Willis" userId="S::john.willis@bayer.com::520b74fa-2f66-48c8-bc7e-d5c93d9d2183" providerId="AD" clId="Web-{40A63539-0809-436B-B3F1-291C959491E7}"/>
    <pc:docChg chg="delSld">
      <pc:chgData name="John Willis" userId="S::john.willis@bayer.com::520b74fa-2f66-48c8-bc7e-d5c93d9d2183" providerId="AD" clId="Web-{40A63539-0809-436B-B3F1-291C959491E7}" dt="2021-01-26T22:08:52.208" v="14"/>
      <pc:docMkLst>
        <pc:docMk/>
      </pc:docMkLst>
      <pc:sldChg chg="del">
        <pc:chgData name="John Willis" userId="S::john.willis@bayer.com::520b74fa-2f66-48c8-bc7e-d5c93d9d2183" providerId="AD" clId="Web-{40A63539-0809-436B-B3F1-291C959491E7}" dt="2021-01-26T22:08:52.208" v="14"/>
        <pc:sldMkLst>
          <pc:docMk/>
          <pc:sldMk cId="1907433558" sldId="370"/>
        </pc:sldMkLst>
      </pc:sldChg>
      <pc:sldChg chg="del">
        <pc:chgData name="John Willis" userId="S::john.willis@bayer.com::520b74fa-2f66-48c8-bc7e-d5c93d9d2183" providerId="AD" clId="Web-{40A63539-0809-436B-B3F1-291C959491E7}" dt="2021-01-26T22:08:52.145" v="3"/>
        <pc:sldMkLst>
          <pc:docMk/>
          <pc:sldMk cId="4240556468" sldId="544"/>
        </pc:sldMkLst>
      </pc:sldChg>
      <pc:sldChg chg="del">
        <pc:chgData name="John Willis" userId="S::john.willis@bayer.com::520b74fa-2f66-48c8-bc7e-d5c93d9d2183" providerId="AD" clId="Web-{40A63539-0809-436B-B3F1-291C959491E7}" dt="2021-01-26T22:08:52.145" v="5"/>
        <pc:sldMkLst>
          <pc:docMk/>
          <pc:sldMk cId="1533239148" sldId="545"/>
        </pc:sldMkLst>
      </pc:sldChg>
      <pc:sldChg chg="del">
        <pc:chgData name="John Willis" userId="S::john.willis@bayer.com::520b74fa-2f66-48c8-bc7e-d5c93d9d2183" providerId="AD" clId="Web-{40A63539-0809-436B-B3F1-291C959491E7}" dt="2021-01-26T22:08:52.176" v="11"/>
        <pc:sldMkLst>
          <pc:docMk/>
          <pc:sldMk cId="3503822599" sldId="546"/>
        </pc:sldMkLst>
      </pc:sldChg>
      <pc:sldChg chg="del">
        <pc:chgData name="John Willis" userId="S::john.willis@bayer.com::520b74fa-2f66-48c8-bc7e-d5c93d9d2183" providerId="AD" clId="Web-{40A63539-0809-436B-B3F1-291C959491E7}" dt="2021-01-26T22:08:52.176" v="10"/>
        <pc:sldMkLst>
          <pc:docMk/>
          <pc:sldMk cId="2686483544" sldId="547"/>
        </pc:sldMkLst>
      </pc:sldChg>
      <pc:sldChg chg="del">
        <pc:chgData name="John Willis" userId="S::john.willis@bayer.com::520b74fa-2f66-48c8-bc7e-d5c93d9d2183" providerId="AD" clId="Web-{40A63539-0809-436B-B3F1-291C959491E7}" dt="2021-01-26T22:08:52.161" v="6"/>
        <pc:sldMkLst>
          <pc:docMk/>
          <pc:sldMk cId="1194930989" sldId="549"/>
        </pc:sldMkLst>
      </pc:sldChg>
      <pc:sldChg chg="del">
        <pc:chgData name="John Willis" userId="S::john.willis@bayer.com::520b74fa-2f66-48c8-bc7e-d5c93d9d2183" providerId="AD" clId="Web-{40A63539-0809-436B-B3F1-291C959491E7}" dt="2021-01-26T22:08:52.161" v="8"/>
        <pc:sldMkLst>
          <pc:docMk/>
          <pc:sldMk cId="1264346033" sldId="551"/>
        </pc:sldMkLst>
      </pc:sldChg>
      <pc:sldChg chg="del">
        <pc:chgData name="John Willis" userId="S::john.willis@bayer.com::520b74fa-2f66-48c8-bc7e-d5c93d9d2183" providerId="AD" clId="Web-{40A63539-0809-436B-B3F1-291C959491E7}" dt="2021-01-26T22:08:52.161" v="7"/>
        <pc:sldMkLst>
          <pc:docMk/>
          <pc:sldMk cId="3574235202" sldId="552"/>
        </pc:sldMkLst>
      </pc:sldChg>
      <pc:sldChg chg="del">
        <pc:chgData name="John Willis" userId="S::john.willis@bayer.com::520b74fa-2f66-48c8-bc7e-d5c93d9d2183" providerId="AD" clId="Web-{40A63539-0809-436B-B3F1-291C959491E7}" dt="2021-01-26T22:08:52.192" v="13"/>
        <pc:sldMkLst>
          <pc:docMk/>
          <pc:sldMk cId="4023035242" sldId="600"/>
        </pc:sldMkLst>
      </pc:sldChg>
      <pc:sldChg chg="del">
        <pc:chgData name="John Willis" userId="S::john.willis@bayer.com::520b74fa-2f66-48c8-bc7e-d5c93d9d2183" providerId="AD" clId="Web-{40A63539-0809-436B-B3F1-291C959491E7}" dt="2021-01-26T22:08:52.192" v="12"/>
        <pc:sldMkLst>
          <pc:docMk/>
          <pc:sldMk cId="2562076019" sldId="601"/>
        </pc:sldMkLst>
      </pc:sldChg>
      <pc:sldChg chg="del">
        <pc:chgData name="John Willis" userId="S::john.willis@bayer.com::520b74fa-2f66-48c8-bc7e-d5c93d9d2183" providerId="AD" clId="Web-{40A63539-0809-436B-B3F1-291C959491E7}" dt="2021-01-26T22:08:52.129" v="0"/>
        <pc:sldMkLst>
          <pc:docMk/>
          <pc:sldMk cId="3895444372" sldId="603"/>
        </pc:sldMkLst>
      </pc:sldChg>
      <pc:sldChg chg="del">
        <pc:chgData name="John Willis" userId="S::john.willis@bayer.com::520b74fa-2f66-48c8-bc7e-d5c93d9d2183" providerId="AD" clId="Web-{40A63539-0809-436B-B3F1-291C959491E7}" dt="2021-01-26T22:08:52.161" v="9"/>
        <pc:sldMkLst>
          <pc:docMk/>
          <pc:sldMk cId="2588572895" sldId="620"/>
        </pc:sldMkLst>
      </pc:sldChg>
      <pc:sldChg chg="del">
        <pc:chgData name="John Willis" userId="S::john.willis@bayer.com::520b74fa-2f66-48c8-bc7e-d5c93d9d2183" providerId="AD" clId="Web-{40A63539-0809-436B-B3F1-291C959491E7}" dt="2021-01-26T22:08:52.145" v="4"/>
        <pc:sldMkLst>
          <pc:docMk/>
          <pc:sldMk cId="2408709000" sldId="621"/>
        </pc:sldMkLst>
      </pc:sldChg>
      <pc:sldChg chg="del">
        <pc:chgData name="John Willis" userId="S::john.willis@bayer.com::520b74fa-2f66-48c8-bc7e-d5c93d9d2183" providerId="AD" clId="Web-{40A63539-0809-436B-B3F1-291C959491E7}" dt="2021-01-26T22:08:52.145" v="2"/>
        <pc:sldMkLst>
          <pc:docMk/>
          <pc:sldMk cId="1133486045" sldId="622"/>
        </pc:sldMkLst>
      </pc:sldChg>
      <pc:sldChg chg="del">
        <pc:chgData name="John Willis" userId="S::john.willis@bayer.com::520b74fa-2f66-48c8-bc7e-d5c93d9d2183" providerId="AD" clId="Web-{40A63539-0809-436B-B3F1-291C959491E7}" dt="2021-01-26T22:08:52.129" v="1"/>
        <pc:sldMkLst>
          <pc:docMk/>
          <pc:sldMk cId="3224507682" sldId="623"/>
        </pc:sldMkLst>
      </pc:sldChg>
    </pc:docChg>
  </pc:docChgLst>
  <pc:docChgLst>
    <pc:chgData name="John Willis" userId="520b74fa-2f66-48c8-bc7e-d5c93d9d2183" providerId="ADAL" clId="{7126B221-E317-493C-9FD1-51FB009506E5}"/>
    <pc:docChg chg="custSel addSld delSld modSld sldOrd">
      <pc:chgData name="John Willis" userId="520b74fa-2f66-48c8-bc7e-d5c93d9d2183" providerId="ADAL" clId="{7126B221-E317-493C-9FD1-51FB009506E5}" dt="2021-01-26T22:01:08.304" v="102" actId="2696"/>
      <pc:docMkLst>
        <pc:docMk/>
      </pc:docMkLst>
      <pc:sldChg chg="modSp">
        <pc:chgData name="John Willis" userId="520b74fa-2f66-48c8-bc7e-d5c93d9d2183" providerId="ADAL" clId="{7126B221-E317-493C-9FD1-51FB009506E5}" dt="2021-01-06T16:18:38.475" v="2" actId="6549"/>
        <pc:sldMkLst>
          <pc:docMk/>
          <pc:sldMk cId="4001458496" sldId="360"/>
        </pc:sldMkLst>
        <pc:graphicFrameChg chg="modGraphic">
          <ac:chgData name="John Willis" userId="520b74fa-2f66-48c8-bc7e-d5c93d9d2183" providerId="ADAL" clId="{7126B221-E317-493C-9FD1-51FB009506E5}" dt="2021-01-06T16:18:38.475" v="2" actId="6549"/>
          <ac:graphicFrameMkLst>
            <pc:docMk/>
            <pc:sldMk cId="4001458496" sldId="360"/>
            <ac:graphicFrameMk id="12" creationId="{12DC399A-9CD0-4820-A35D-63A772AFCEB5}"/>
          </ac:graphicFrameMkLst>
        </pc:graphicFrameChg>
      </pc:sldChg>
      <pc:sldChg chg="addSp delSp modSp">
        <pc:chgData name="John Willis" userId="520b74fa-2f66-48c8-bc7e-d5c93d9d2183" providerId="ADAL" clId="{7126B221-E317-493C-9FD1-51FB009506E5}" dt="2021-01-12T17:23:09.798" v="61" actId="1036"/>
        <pc:sldMkLst>
          <pc:docMk/>
          <pc:sldMk cId="568299225" sldId="445"/>
        </pc:sldMkLst>
        <pc:spChg chg="mod">
          <ac:chgData name="John Willis" userId="520b74fa-2f66-48c8-bc7e-d5c93d9d2183" providerId="ADAL" clId="{7126B221-E317-493C-9FD1-51FB009506E5}" dt="2021-01-12T17:23:09.798" v="61" actId="1036"/>
          <ac:spMkLst>
            <pc:docMk/>
            <pc:sldMk cId="568299225" sldId="445"/>
            <ac:spMk id="11" creationId="{8CA0F830-6EC6-42DC-877A-9C43B090455A}"/>
          </ac:spMkLst>
        </pc:spChg>
        <pc:picChg chg="add del mod modCrop">
          <ac:chgData name="John Willis" userId="520b74fa-2f66-48c8-bc7e-d5c93d9d2183" providerId="ADAL" clId="{7126B221-E317-493C-9FD1-51FB009506E5}" dt="2021-01-12T17:16:42.527" v="18" actId="478"/>
          <ac:picMkLst>
            <pc:docMk/>
            <pc:sldMk cId="568299225" sldId="445"/>
            <ac:picMk id="2" creationId="{BFB6D725-4538-40CD-B08D-BC9D361DB7BA}"/>
          </ac:picMkLst>
        </pc:picChg>
        <pc:picChg chg="add mod ord modCrop">
          <ac:chgData name="John Willis" userId="520b74fa-2f66-48c8-bc7e-d5c93d9d2183" providerId="ADAL" clId="{7126B221-E317-493C-9FD1-51FB009506E5}" dt="2021-01-12T17:20:19.603" v="33" actId="1076"/>
          <ac:picMkLst>
            <pc:docMk/>
            <pc:sldMk cId="568299225" sldId="445"/>
            <ac:picMk id="6" creationId="{DE18A444-D2B4-4BFE-AE80-CF31A4B14C88}"/>
          </ac:picMkLst>
        </pc:picChg>
        <pc:picChg chg="del mod">
          <ac:chgData name="John Willis" userId="520b74fa-2f66-48c8-bc7e-d5c93d9d2183" providerId="ADAL" clId="{7126B221-E317-493C-9FD1-51FB009506E5}" dt="2021-01-12T17:19:47.322" v="28" actId="478"/>
          <ac:picMkLst>
            <pc:docMk/>
            <pc:sldMk cId="568299225" sldId="445"/>
            <ac:picMk id="26" creationId="{F2A9FAF1-FF04-4B62-B679-0384FED80F25}"/>
          </ac:picMkLst>
        </pc:picChg>
        <pc:cxnChg chg="mod">
          <ac:chgData name="John Willis" userId="520b74fa-2f66-48c8-bc7e-d5c93d9d2183" providerId="ADAL" clId="{7126B221-E317-493C-9FD1-51FB009506E5}" dt="2021-01-12T17:22:40.177" v="58" actId="1035"/>
          <ac:cxnSpMkLst>
            <pc:docMk/>
            <pc:sldMk cId="568299225" sldId="445"/>
            <ac:cxnSpMk id="39" creationId="{3390D136-6D25-4D08-B309-6AA88DAC4A4C}"/>
          </ac:cxnSpMkLst>
        </pc:cxnChg>
      </pc:sldChg>
      <pc:sldChg chg="ord">
        <pc:chgData name="John Willis" userId="520b74fa-2f66-48c8-bc7e-d5c93d9d2183" providerId="ADAL" clId="{7126B221-E317-493C-9FD1-51FB009506E5}" dt="2021-01-26T21:57:48.378" v="67"/>
        <pc:sldMkLst>
          <pc:docMk/>
          <pc:sldMk cId="4240556468" sldId="544"/>
        </pc:sldMkLst>
      </pc:sldChg>
      <pc:sldChg chg="add">
        <pc:chgData name="John Willis" userId="520b74fa-2f66-48c8-bc7e-d5c93d9d2183" providerId="ADAL" clId="{7126B221-E317-493C-9FD1-51FB009506E5}" dt="2021-01-26T21:54:35.425" v="66"/>
        <pc:sldMkLst>
          <pc:docMk/>
          <pc:sldMk cId="1533239148" sldId="545"/>
        </pc:sldMkLst>
      </pc:sldChg>
      <pc:sldChg chg="modSp add">
        <pc:chgData name="John Willis" userId="520b74fa-2f66-48c8-bc7e-d5c93d9d2183" providerId="ADAL" clId="{7126B221-E317-493C-9FD1-51FB009506E5}" dt="2021-01-26T21:59:24.291" v="89" actId="313"/>
        <pc:sldMkLst>
          <pc:docMk/>
          <pc:sldMk cId="3503822599" sldId="546"/>
        </pc:sldMkLst>
        <pc:spChg chg="mod">
          <ac:chgData name="John Willis" userId="520b74fa-2f66-48c8-bc7e-d5c93d9d2183" providerId="ADAL" clId="{7126B221-E317-493C-9FD1-51FB009506E5}" dt="2021-01-26T21:59:24.291" v="89" actId="313"/>
          <ac:spMkLst>
            <pc:docMk/>
            <pc:sldMk cId="3503822599" sldId="546"/>
            <ac:spMk id="6" creationId="{16B67F8F-5FD3-4087-90B9-4CE576EA457C}"/>
          </ac:spMkLst>
        </pc:spChg>
      </pc:sldChg>
      <pc:sldChg chg="modSp add">
        <pc:chgData name="John Willis" userId="520b74fa-2f66-48c8-bc7e-d5c93d9d2183" providerId="ADAL" clId="{7126B221-E317-493C-9FD1-51FB009506E5}" dt="2021-01-26T21:59:41.182" v="100" actId="20577"/>
        <pc:sldMkLst>
          <pc:docMk/>
          <pc:sldMk cId="2686483544" sldId="547"/>
        </pc:sldMkLst>
        <pc:spChg chg="mod">
          <ac:chgData name="John Willis" userId="520b74fa-2f66-48c8-bc7e-d5c93d9d2183" providerId="ADAL" clId="{7126B221-E317-493C-9FD1-51FB009506E5}" dt="2021-01-26T21:59:41.182" v="100" actId="20577"/>
          <ac:spMkLst>
            <pc:docMk/>
            <pc:sldMk cId="2686483544" sldId="547"/>
            <ac:spMk id="6" creationId="{16B67F8F-5FD3-4087-90B9-4CE576EA457C}"/>
          </ac:spMkLst>
        </pc:spChg>
      </pc:sldChg>
      <pc:sldChg chg="add del">
        <pc:chgData name="John Willis" userId="520b74fa-2f66-48c8-bc7e-d5c93d9d2183" providerId="ADAL" clId="{7126B221-E317-493C-9FD1-51FB009506E5}" dt="2021-01-26T21:58:53.426" v="70" actId="2696"/>
        <pc:sldMkLst>
          <pc:docMk/>
          <pc:sldMk cId="1480809884" sldId="548"/>
        </pc:sldMkLst>
      </pc:sldChg>
      <pc:sldChg chg="add">
        <pc:chgData name="John Willis" userId="520b74fa-2f66-48c8-bc7e-d5c93d9d2183" providerId="ADAL" clId="{7126B221-E317-493C-9FD1-51FB009506E5}" dt="2021-01-26T21:53:14.804" v="65"/>
        <pc:sldMkLst>
          <pc:docMk/>
          <pc:sldMk cId="1194930989" sldId="549"/>
        </pc:sldMkLst>
      </pc:sldChg>
      <pc:sldChg chg="add">
        <pc:chgData name="John Willis" userId="520b74fa-2f66-48c8-bc7e-d5c93d9d2183" providerId="ADAL" clId="{7126B221-E317-493C-9FD1-51FB009506E5}" dt="2021-01-26T21:51:23.585" v="64"/>
        <pc:sldMkLst>
          <pc:docMk/>
          <pc:sldMk cId="1264346033" sldId="551"/>
        </pc:sldMkLst>
      </pc:sldChg>
      <pc:sldChg chg="add">
        <pc:chgData name="John Willis" userId="520b74fa-2f66-48c8-bc7e-d5c93d9d2183" providerId="ADAL" clId="{7126B221-E317-493C-9FD1-51FB009506E5}" dt="2021-01-26T21:51:23.585" v="64"/>
        <pc:sldMkLst>
          <pc:docMk/>
          <pc:sldMk cId="3574235202" sldId="552"/>
        </pc:sldMkLst>
      </pc:sldChg>
      <pc:sldChg chg="modSp">
        <pc:chgData name="John Willis" userId="520b74fa-2f66-48c8-bc7e-d5c93d9d2183" providerId="ADAL" clId="{7126B221-E317-493C-9FD1-51FB009506E5}" dt="2021-01-06T16:18:47.545" v="5" actId="6549"/>
        <pc:sldMkLst>
          <pc:docMk/>
          <pc:sldMk cId="2713465472" sldId="565"/>
        </pc:sldMkLst>
        <pc:graphicFrameChg chg="modGraphic">
          <ac:chgData name="John Willis" userId="520b74fa-2f66-48c8-bc7e-d5c93d9d2183" providerId="ADAL" clId="{7126B221-E317-493C-9FD1-51FB009506E5}" dt="2021-01-06T16:18:47.545" v="5" actId="6549"/>
          <ac:graphicFrameMkLst>
            <pc:docMk/>
            <pc:sldMk cId="2713465472" sldId="565"/>
            <ac:graphicFrameMk id="12" creationId="{12DC399A-9CD0-4820-A35D-63A772AFCEB5}"/>
          </ac:graphicFrameMkLst>
        </pc:graphicFrameChg>
      </pc:sldChg>
      <pc:sldChg chg="addSp delSp modSp">
        <pc:chgData name="John Willis" userId="520b74fa-2f66-48c8-bc7e-d5c93d9d2183" providerId="ADAL" clId="{7126B221-E317-493C-9FD1-51FB009506E5}" dt="2021-01-12T17:14:52.611" v="13" actId="14100"/>
        <pc:sldMkLst>
          <pc:docMk/>
          <pc:sldMk cId="3642643473" sldId="598"/>
        </pc:sldMkLst>
        <pc:picChg chg="add del mod">
          <ac:chgData name="John Willis" userId="520b74fa-2f66-48c8-bc7e-d5c93d9d2183" providerId="ADAL" clId="{7126B221-E317-493C-9FD1-51FB009506E5}" dt="2021-01-12T17:14:39.175" v="11" actId="478"/>
          <ac:picMkLst>
            <pc:docMk/>
            <pc:sldMk cId="3642643473" sldId="598"/>
            <ac:picMk id="2" creationId="{897BCBB9-8242-45E0-9AB4-7B66C06D1EFD}"/>
          </ac:picMkLst>
        </pc:picChg>
        <pc:picChg chg="add mod">
          <ac:chgData name="John Willis" userId="520b74fa-2f66-48c8-bc7e-d5c93d9d2183" providerId="ADAL" clId="{7126B221-E317-493C-9FD1-51FB009506E5}" dt="2021-01-12T17:14:52.611" v="13" actId="14100"/>
          <ac:picMkLst>
            <pc:docMk/>
            <pc:sldMk cId="3642643473" sldId="598"/>
            <ac:picMk id="3" creationId="{3EC27884-14AE-412A-B656-9D2A2A01D2C1}"/>
          </ac:picMkLst>
        </pc:picChg>
      </pc:sldChg>
      <pc:sldChg chg="del">
        <pc:chgData name="John Willis" userId="520b74fa-2f66-48c8-bc7e-d5c93d9d2183" providerId="ADAL" clId="{7126B221-E317-493C-9FD1-51FB009506E5}" dt="2021-01-26T22:01:08.304" v="102" actId="2696"/>
        <pc:sldMkLst>
          <pc:docMk/>
          <pc:sldMk cId="1379098366" sldId="599"/>
        </pc:sldMkLst>
      </pc:sldChg>
      <pc:sldChg chg="add del">
        <pc:chgData name="John Willis" userId="520b74fa-2f66-48c8-bc7e-d5c93d9d2183" providerId="ADAL" clId="{7126B221-E317-493C-9FD1-51FB009506E5}" dt="2021-01-26T21:59:45.962" v="101" actId="2696"/>
        <pc:sldMkLst>
          <pc:docMk/>
          <pc:sldMk cId="902373451" sldId="602"/>
        </pc:sldMkLst>
      </pc:sldChg>
      <pc:sldChg chg="add ord">
        <pc:chgData name="John Willis" userId="520b74fa-2f66-48c8-bc7e-d5c93d9d2183" providerId="ADAL" clId="{7126B221-E317-493C-9FD1-51FB009506E5}" dt="2021-01-26T21:58:41.228" v="69"/>
        <pc:sldMkLst>
          <pc:docMk/>
          <pc:sldMk cId="3895444372" sldId="603"/>
        </pc:sldMkLst>
      </pc:sldChg>
      <pc:sldChg chg="add del">
        <pc:chgData name="John Willis" userId="520b74fa-2f66-48c8-bc7e-d5c93d9d2183" providerId="ADAL" clId="{7126B221-E317-493C-9FD1-51FB009506E5}" dt="2021-01-26T21:59:06.941" v="79" actId="2696"/>
        <pc:sldMkLst>
          <pc:docMk/>
          <pc:sldMk cId="2869133411" sldId="619"/>
        </pc:sldMkLst>
      </pc:sldChg>
      <pc:sldChg chg="modSp add">
        <pc:chgData name="John Willis" userId="520b74fa-2f66-48c8-bc7e-d5c93d9d2183" providerId="ADAL" clId="{7126B221-E317-493C-9FD1-51FB009506E5}" dt="2021-01-26T21:59:00.518" v="78" actId="20577"/>
        <pc:sldMkLst>
          <pc:docMk/>
          <pc:sldMk cId="2588572895" sldId="620"/>
        </pc:sldMkLst>
        <pc:spChg chg="mod">
          <ac:chgData name="John Willis" userId="520b74fa-2f66-48c8-bc7e-d5c93d9d2183" providerId="ADAL" clId="{7126B221-E317-493C-9FD1-51FB009506E5}" dt="2021-01-26T21:59:00.518" v="78" actId="20577"/>
          <ac:spMkLst>
            <pc:docMk/>
            <pc:sldMk cId="2588572895" sldId="620"/>
            <ac:spMk id="5" creationId="{524CF33C-E549-483B-9A70-EC540E8E2BE4}"/>
          </ac:spMkLst>
        </pc:spChg>
      </pc:sldChg>
      <pc:sldChg chg="add">
        <pc:chgData name="John Willis" userId="520b74fa-2f66-48c8-bc7e-d5c93d9d2183" providerId="ADAL" clId="{7126B221-E317-493C-9FD1-51FB009506E5}" dt="2021-01-26T21:58:29.251" v="68"/>
        <pc:sldMkLst>
          <pc:docMk/>
          <pc:sldMk cId="1133486045" sldId="622"/>
        </pc:sldMkLst>
      </pc:sldChg>
      <pc:sldChg chg="add">
        <pc:chgData name="John Willis" userId="520b74fa-2f66-48c8-bc7e-d5c93d9d2183" providerId="ADAL" clId="{7126B221-E317-493C-9FD1-51FB009506E5}" dt="2021-01-26T21:58:29.251" v="68"/>
        <pc:sldMkLst>
          <pc:docMk/>
          <pc:sldMk cId="3224507682" sldId="62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pc="1200" baseline="0">
                <a:solidFill>
                  <a:schemeClr val="tx1"/>
                </a:solidFill>
                <a:latin typeface="Arial Narrow" panose="020B0606020202030204" pitchFamily="34" charset="0"/>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bg1"/>
            </a:solidFill>
            <a:ln w="28575">
              <a:solidFill>
                <a:schemeClr val="accent1"/>
              </a:solid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C92-45D6-A1DA-B8921B083395}"/>
            </c:ext>
          </c:extLst>
        </c:ser>
        <c:ser>
          <c:idx val="1"/>
          <c:order val="1"/>
          <c:tx>
            <c:strRef>
              <c:f>Sheet1!$C$1</c:f>
              <c:strCache>
                <c:ptCount val="1"/>
                <c:pt idx="0">
                  <c:v>Series 2</c:v>
                </c:pt>
              </c:strCache>
            </c:strRef>
          </c:tx>
          <c:spPr>
            <a:solidFill>
              <a:schemeClr val="bg1"/>
            </a:solidFill>
            <a:ln w="28575">
              <a:solidFill>
                <a:srgbClr val="2683D0"/>
              </a:solid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FC92-45D6-A1DA-B8921B083395}"/>
            </c:ext>
          </c:extLst>
        </c:ser>
        <c:ser>
          <c:idx val="2"/>
          <c:order val="2"/>
          <c:tx>
            <c:strRef>
              <c:f>Sheet1!$D$1</c:f>
              <c:strCache>
                <c:ptCount val="1"/>
                <c:pt idx="0">
                  <c:v>Series 3</c:v>
                </c:pt>
              </c:strCache>
            </c:strRef>
          </c:tx>
          <c:spPr>
            <a:solidFill>
              <a:schemeClr val="bg1"/>
            </a:solidFill>
            <a:ln w="28575">
              <a:solidFill>
                <a:srgbClr val="6AA028"/>
              </a:solid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FC92-45D6-A1DA-B8921B083395}"/>
            </c:ext>
          </c:extLst>
        </c:ser>
        <c:dLbls>
          <c:showLegendKey val="0"/>
          <c:showVal val="0"/>
          <c:showCatName val="0"/>
          <c:showSerName val="0"/>
          <c:showPercent val="0"/>
          <c:showBubbleSize val="0"/>
        </c:dLbls>
        <c:gapWidth val="219"/>
        <c:overlap val="-27"/>
        <c:axId val="572403760"/>
        <c:axId val="572405400"/>
      </c:barChart>
      <c:catAx>
        <c:axId val="572403760"/>
        <c:scaling>
          <c:orientation val="minMax"/>
        </c:scaling>
        <c:delete val="0"/>
        <c:axPos val="b"/>
        <c:numFmt formatCode="General" sourceLinked="1"/>
        <c:majorTickMark val="none"/>
        <c:minorTickMark val="none"/>
        <c:tickLblPos val="nextTo"/>
        <c:spPr>
          <a:noFill/>
          <a:ln w="2857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405400"/>
        <c:crosses val="autoZero"/>
        <c:auto val="1"/>
        <c:lblAlgn val="ctr"/>
        <c:lblOffset val="100"/>
        <c:noMultiLvlLbl val="0"/>
      </c:catAx>
      <c:valAx>
        <c:axId val="572405400"/>
        <c:scaling>
          <c:orientation val="minMax"/>
        </c:scaling>
        <c:delete val="0"/>
        <c:axPos val="l"/>
        <c:majorGridlines>
          <c:spPr>
            <a:ln w="9525" cap="flat" cmpd="sng" algn="ctr">
              <a:solidFill>
                <a:schemeClr val="bg2">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40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spc="1200" baseline="0">
                <a:solidFill>
                  <a:schemeClr val="tx1"/>
                </a:solidFill>
                <a:latin typeface="Arial Narrow" panose="020B0606020202030204" pitchFamily="34" charset="0"/>
              </a:rPr>
              <a:t>CHART</a:t>
            </a:r>
            <a:br>
              <a:rPr lang="en-US" sz="1200" spc="1200" baseline="0">
                <a:solidFill>
                  <a:schemeClr val="tx1"/>
                </a:solidFill>
                <a:latin typeface="Arial Narrow" panose="020B0606020202030204" pitchFamily="34" charset="0"/>
              </a:rPr>
            </a:br>
            <a:r>
              <a:rPr lang="en-US" sz="1200" spc="1200" baseline="0">
                <a:solidFill>
                  <a:schemeClr val="tx1"/>
                </a:solidFill>
                <a:latin typeface="Arial Narrow" panose="020B0606020202030204" pitchFamily="34" charset="0"/>
              </a:rPr>
              <a:t>TITLE</a:t>
            </a:r>
          </a:p>
        </c:rich>
      </c:tx>
      <c:layout>
        <c:manualLayout>
          <c:xMode val="edge"/>
          <c:yMode val="edge"/>
          <c:x val="0.32307726364572859"/>
          <c:y val="0.41484208242057352"/>
        </c:manualLayout>
      </c:layout>
      <c:overlay val="1"/>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spPr>
            <a:solidFill>
              <a:schemeClr val="bg1"/>
            </a:solidFill>
            <a:ln w="28575">
              <a:solidFill>
                <a:schemeClr val="tx1"/>
              </a:solidFill>
            </a:ln>
          </c:spPr>
          <c:dPt>
            <c:idx val="0"/>
            <c:bubble3D val="0"/>
            <c:spPr>
              <a:solidFill>
                <a:schemeClr val="bg1"/>
              </a:solidFill>
              <a:ln w="28575">
                <a:solidFill>
                  <a:srgbClr val="4B1D3F"/>
                </a:solidFill>
              </a:ln>
              <a:effectLst/>
            </c:spPr>
            <c:extLst>
              <c:ext xmlns:c16="http://schemas.microsoft.com/office/drawing/2014/chart" uri="{C3380CC4-5D6E-409C-BE32-E72D297353CC}">
                <c16:uniqueId val="{00000001-46D8-4E32-970D-37E292F77BE5}"/>
              </c:ext>
            </c:extLst>
          </c:dPt>
          <c:dPt>
            <c:idx val="1"/>
            <c:bubble3D val="0"/>
            <c:spPr>
              <a:solidFill>
                <a:schemeClr val="bg1"/>
              </a:solidFill>
              <a:ln w="28575">
                <a:solidFill>
                  <a:srgbClr val="2683D0"/>
                </a:solidFill>
              </a:ln>
              <a:effectLst/>
            </c:spPr>
            <c:extLst>
              <c:ext xmlns:c16="http://schemas.microsoft.com/office/drawing/2014/chart" uri="{C3380CC4-5D6E-409C-BE32-E72D297353CC}">
                <c16:uniqueId val="{00000003-46D8-4E32-970D-37E292F77BE5}"/>
              </c:ext>
            </c:extLst>
          </c:dPt>
          <c:dPt>
            <c:idx val="2"/>
            <c:bubble3D val="0"/>
            <c:spPr>
              <a:solidFill>
                <a:schemeClr val="bg1"/>
              </a:solidFill>
              <a:ln w="28575">
                <a:solidFill>
                  <a:srgbClr val="6AA028"/>
                </a:solidFill>
              </a:ln>
              <a:effectLst/>
            </c:spPr>
            <c:extLst>
              <c:ext xmlns:c16="http://schemas.microsoft.com/office/drawing/2014/chart" uri="{C3380CC4-5D6E-409C-BE32-E72D297353CC}">
                <c16:uniqueId val="{00000005-46D8-4E32-970D-37E292F77BE5}"/>
              </c:ext>
            </c:extLst>
          </c:dPt>
          <c:cat>
            <c:strRef>
              <c:f>Sheet1!$A$2:$A$4</c:f>
              <c:strCache>
                <c:ptCount val="3"/>
                <c:pt idx="0">
                  <c:v>1st Qtr</c:v>
                </c:pt>
                <c:pt idx="1">
                  <c:v>2nd Qtr</c:v>
                </c:pt>
                <c:pt idx="2">
                  <c:v>3rd Qtr</c:v>
                </c:pt>
              </c:strCache>
            </c:strRef>
          </c:cat>
          <c:val>
            <c:numRef>
              <c:f>Sheet1!$B$2:$B$4</c:f>
              <c:numCache>
                <c:formatCode>General</c:formatCode>
                <c:ptCount val="3"/>
                <c:pt idx="0">
                  <c:v>8.1999999999999993</c:v>
                </c:pt>
                <c:pt idx="1">
                  <c:v>3.2</c:v>
                </c:pt>
                <c:pt idx="2">
                  <c:v>2.6</c:v>
                </c:pt>
              </c:numCache>
            </c:numRef>
          </c:val>
          <c:extLst>
            <c:ext xmlns:c16="http://schemas.microsoft.com/office/drawing/2014/chart" uri="{C3380CC4-5D6E-409C-BE32-E72D297353CC}">
              <c16:uniqueId val="{00000006-46D8-4E32-970D-37E292F77BE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pc="1200" baseline="0">
                <a:solidFill>
                  <a:schemeClr val="bg1"/>
                </a:solidFill>
                <a:latin typeface="Arial Narrow" panose="020B0606020202030204" pitchFamily="34" charset="0"/>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Series 1</c:v>
                </c:pt>
              </c:strCache>
            </c:strRef>
          </c:tx>
          <c:spPr>
            <a:ln w="28575" cap="rnd">
              <a:solidFill>
                <a:srgbClr val="6AA028"/>
              </a:solidFill>
              <a:round/>
            </a:ln>
            <a:effectLst/>
          </c:spPr>
          <c:marker>
            <c:symbol val="circle"/>
            <c:size val="5"/>
            <c:spPr>
              <a:solidFill>
                <a:schemeClr val="tx1"/>
              </a:solidFill>
              <a:ln w="28575">
                <a:solidFill>
                  <a:srgbClr val="6AA028"/>
                </a:solidFill>
              </a:ln>
              <a:effectLst/>
            </c:spPr>
          </c:marker>
          <c:cat>
            <c:numRef>
              <c:f>Sheet1!$A$2:$A$6</c:f>
              <c:numCache>
                <c:formatCode>m/d/yyyy</c:formatCode>
                <c:ptCount val="5"/>
                <c:pt idx="0">
                  <c:v>37261</c:v>
                </c:pt>
                <c:pt idx="1">
                  <c:v>37262</c:v>
                </c:pt>
                <c:pt idx="2">
                  <c:v>37263</c:v>
                </c:pt>
                <c:pt idx="3">
                  <c:v>37264</c:v>
                </c:pt>
                <c:pt idx="4">
                  <c:v>37265</c:v>
                </c:pt>
              </c:numCache>
            </c:numRef>
          </c:cat>
          <c:val>
            <c:numRef>
              <c:f>Sheet1!$B$2:$B$6</c:f>
              <c:numCache>
                <c:formatCode>General</c:formatCode>
                <c:ptCount val="5"/>
                <c:pt idx="0">
                  <c:v>32</c:v>
                </c:pt>
                <c:pt idx="1">
                  <c:v>32</c:v>
                </c:pt>
                <c:pt idx="2">
                  <c:v>28</c:v>
                </c:pt>
                <c:pt idx="3">
                  <c:v>12</c:v>
                </c:pt>
                <c:pt idx="4">
                  <c:v>15</c:v>
                </c:pt>
              </c:numCache>
            </c:numRef>
          </c:val>
          <c:smooth val="0"/>
          <c:extLst>
            <c:ext xmlns:c16="http://schemas.microsoft.com/office/drawing/2014/chart" uri="{C3380CC4-5D6E-409C-BE32-E72D297353CC}">
              <c16:uniqueId val="{00000000-B8E1-47BB-8810-3266B9896042}"/>
            </c:ext>
          </c:extLst>
        </c:ser>
        <c:ser>
          <c:idx val="1"/>
          <c:order val="1"/>
          <c:tx>
            <c:strRef>
              <c:f>Sheet1!$C$1</c:f>
              <c:strCache>
                <c:ptCount val="1"/>
                <c:pt idx="0">
                  <c:v>Series 2</c:v>
                </c:pt>
              </c:strCache>
            </c:strRef>
          </c:tx>
          <c:spPr>
            <a:ln w="28575" cap="rnd">
              <a:solidFill>
                <a:srgbClr val="2683D0"/>
              </a:solidFill>
              <a:round/>
            </a:ln>
            <a:effectLst/>
          </c:spPr>
          <c:marker>
            <c:symbol val="circle"/>
            <c:size val="5"/>
            <c:spPr>
              <a:solidFill>
                <a:schemeClr val="tx1"/>
              </a:solidFill>
              <a:ln w="28575">
                <a:solidFill>
                  <a:srgbClr val="2683D0"/>
                </a:solidFill>
              </a:ln>
              <a:effectLst/>
            </c:spPr>
          </c:marker>
          <c:cat>
            <c:numRef>
              <c:f>Sheet1!$A$2:$A$6</c:f>
              <c:numCache>
                <c:formatCode>m/d/yyyy</c:formatCode>
                <c:ptCount val="5"/>
                <c:pt idx="0">
                  <c:v>37261</c:v>
                </c:pt>
                <c:pt idx="1">
                  <c:v>37262</c:v>
                </c:pt>
                <c:pt idx="2">
                  <c:v>37263</c:v>
                </c:pt>
                <c:pt idx="3">
                  <c:v>37264</c:v>
                </c:pt>
                <c:pt idx="4">
                  <c:v>37265</c:v>
                </c:pt>
              </c:numCache>
            </c:numRef>
          </c:cat>
          <c:val>
            <c:numRef>
              <c:f>Sheet1!$C$2:$C$6</c:f>
              <c:numCache>
                <c:formatCode>General</c:formatCode>
                <c:ptCount val="5"/>
                <c:pt idx="0">
                  <c:v>12</c:v>
                </c:pt>
                <c:pt idx="1">
                  <c:v>12</c:v>
                </c:pt>
                <c:pt idx="2">
                  <c:v>12</c:v>
                </c:pt>
                <c:pt idx="3">
                  <c:v>21</c:v>
                </c:pt>
                <c:pt idx="4">
                  <c:v>28</c:v>
                </c:pt>
              </c:numCache>
            </c:numRef>
          </c:val>
          <c:smooth val="0"/>
          <c:extLst>
            <c:ext xmlns:c16="http://schemas.microsoft.com/office/drawing/2014/chart" uri="{C3380CC4-5D6E-409C-BE32-E72D297353CC}">
              <c16:uniqueId val="{00000001-B8E1-47BB-8810-3266B9896042}"/>
            </c:ext>
          </c:extLst>
        </c:ser>
        <c:dLbls>
          <c:showLegendKey val="0"/>
          <c:showVal val="0"/>
          <c:showCatName val="0"/>
          <c:showSerName val="0"/>
          <c:showPercent val="0"/>
          <c:showBubbleSize val="0"/>
        </c:dLbls>
        <c:marker val="1"/>
        <c:smooth val="0"/>
        <c:axId val="689751296"/>
        <c:axId val="689753920"/>
      </c:lineChart>
      <c:dateAx>
        <c:axId val="689751296"/>
        <c:scaling>
          <c:orientation val="minMax"/>
        </c:scaling>
        <c:delete val="0"/>
        <c:axPos val="b"/>
        <c:numFmt formatCode="m/d/yyyy" sourceLinked="1"/>
        <c:majorTickMark val="out"/>
        <c:minorTickMark val="none"/>
        <c:tickLblPos val="nextTo"/>
        <c:spPr>
          <a:noFill/>
          <a:ln w="2857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9753920"/>
        <c:crosses val="autoZero"/>
        <c:auto val="1"/>
        <c:lblOffset val="100"/>
        <c:baseTimeUnit val="days"/>
      </c:dateAx>
      <c:valAx>
        <c:axId val="689753920"/>
        <c:scaling>
          <c:orientation val="minMax"/>
        </c:scaling>
        <c:delete val="0"/>
        <c:axPos val="l"/>
        <c:majorGridlines>
          <c:spPr>
            <a:ln w="9525" cap="flat" cmpd="sng" algn="ctr">
              <a:solidFill>
                <a:schemeClr val="tx1">
                  <a:lumMod val="65000"/>
                  <a:lumOff val="3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9751296"/>
        <c:crosses val="autoZero"/>
        <c:crossBetween val="between"/>
      </c:valAx>
      <c:spPr>
        <a:noFill/>
        <a:ln>
          <a:solidFill>
            <a:schemeClr val="tx1"/>
          </a:solid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pc="1200" baseline="0">
                <a:solidFill>
                  <a:schemeClr val="tx1"/>
                </a:solidFill>
                <a:latin typeface="Arial Narrow" panose="020B0606020202030204" pitchFamily="34" charset="0"/>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bg1"/>
            </a:solidFill>
            <a:ln w="28575">
              <a:solidFill>
                <a:schemeClr val="accent1"/>
              </a:solid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C92-45D6-A1DA-B8921B083395}"/>
            </c:ext>
          </c:extLst>
        </c:ser>
        <c:ser>
          <c:idx val="1"/>
          <c:order val="1"/>
          <c:tx>
            <c:strRef>
              <c:f>Sheet1!$C$1</c:f>
              <c:strCache>
                <c:ptCount val="1"/>
                <c:pt idx="0">
                  <c:v>Series 2</c:v>
                </c:pt>
              </c:strCache>
            </c:strRef>
          </c:tx>
          <c:spPr>
            <a:solidFill>
              <a:schemeClr val="bg1"/>
            </a:solidFill>
            <a:ln w="28575">
              <a:solidFill>
                <a:srgbClr val="2683D0"/>
              </a:solid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FC92-45D6-A1DA-B8921B083395}"/>
            </c:ext>
          </c:extLst>
        </c:ser>
        <c:ser>
          <c:idx val="2"/>
          <c:order val="2"/>
          <c:tx>
            <c:strRef>
              <c:f>Sheet1!$D$1</c:f>
              <c:strCache>
                <c:ptCount val="1"/>
                <c:pt idx="0">
                  <c:v>Series 3</c:v>
                </c:pt>
              </c:strCache>
            </c:strRef>
          </c:tx>
          <c:spPr>
            <a:solidFill>
              <a:schemeClr val="bg1"/>
            </a:solidFill>
            <a:ln w="28575">
              <a:solidFill>
                <a:srgbClr val="6AA028"/>
              </a:solid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FC92-45D6-A1DA-B8921B083395}"/>
            </c:ext>
          </c:extLst>
        </c:ser>
        <c:dLbls>
          <c:showLegendKey val="0"/>
          <c:showVal val="0"/>
          <c:showCatName val="0"/>
          <c:showSerName val="0"/>
          <c:showPercent val="0"/>
          <c:showBubbleSize val="0"/>
        </c:dLbls>
        <c:gapWidth val="219"/>
        <c:overlap val="-27"/>
        <c:axId val="148708808"/>
        <c:axId val="63771736"/>
      </c:barChart>
      <c:catAx>
        <c:axId val="148708808"/>
        <c:scaling>
          <c:orientation val="minMax"/>
        </c:scaling>
        <c:delete val="0"/>
        <c:axPos val="b"/>
        <c:numFmt formatCode="General" sourceLinked="1"/>
        <c:majorTickMark val="none"/>
        <c:minorTickMark val="none"/>
        <c:tickLblPos val="nextTo"/>
        <c:spPr>
          <a:noFill/>
          <a:ln w="2857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3771736"/>
        <c:crosses val="autoZero"/>
        <c:auto val="1"/>
        <c:lblAlgn val="ctr"/>
        <c:lblOffset val="100"/>
        <c:noMultiLvlLbl val="0"/>
      </c:catAx>
      <c:valAx>
        <c:axId val="63771736"/>
        <c:scaling>
          <c:orientation val="minMax"/>
        </c:scaling>
        <c:delete val="0"/>
        <c:axPos val="l"/>
        <c:majorGridlines>
          <c:spPr>
            <a:ln w="9525" cap="flat" cmpd="sng" algn="ctr">
              <a:solidFill>
                <a:schemeClr val="bg2">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8708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spc="1200" baseline="0">
                <a:solidFill>
                  <a:schemeClr val="tx1"/>
                </a:solidFill>
                <a:latin typeface="Arial Narrow" panose="020B0606020202030204" pitchFamily="34" charset="0"/>
              </a:rPr>
              <a:t>CHART</a:t>
            </a:r>
            <a:br>
              <a:rPr lang="en-US" sz="1200" spc="1200" baseline="0">
                <a:solidFill>
                  <a:schemeClr val="tx1"/>
                </a:solidFill>
                <a:latin typeface="Arial Narrow" panose="020B0606020202030204" pitchFamily="34" charset="0"/>
              </a:rPr>
            </a:br>
            <a:r>
              <a:rPr lang="en-US" sz="1200" spc="1200" baseline="0">
                <a:solidFill>
                  <a:schemeClr val="tx1"/>
                </a:solidFill>
                <a:latin typeface="Arial Narrow" panose="020B0606020202030204" pitchFamily="34" charset="0"/>
              </a:rPr>
              <a:t>TITLE</a:t>
            </a:r>
          </a:p>
        </c:rich>
      </c:tx>
      <c:layout>
        <c:manualLayout>
          <c:xMode val="edge"/>
          <c:yMode val="edge"/>
          <c:x val="0.32307726364572897"/>
          <c:y val="0.41484208242057302"/>
        </c:manualLayout>
      </c:layout>
      <c:overlay val="1"/>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spPr>
            <a:solidFill>
              <a:schemeClr val="bg1"/>
            </a:solidFill>
            <a:ln w="28575">
              <a:solidFill>
                <a:schemeClr val="tx1"/>
              </a:solidFill>
            </a:ln>
          </c:spPr>
          <c:dPt>
            <c:idx val="0"/>
            <c:bubble3D val="0"/>
            <c:spPr>
              <a:solidFill>
                <a:schemeClr val="bg1"/>
              </a:solidFill>
              <a:ln w="28575">
                <a:solidFill>
                  <a:srgbClr val="4B1D3F"/>
                </a:solidFill>
              </a:ln>
              <a:effectLst/>
            </c:spPr>
            <c:extLst>
              <c:ext xmlns:c16="http://schemas.microsoft.com/office/drawing/2014/chart" uri="{C3380CC4-5D6E-409C-BE32-E72D297353CC}">
                <c16:uniqueId val="{00000001-46D8-4E32-970D-37E292F77BE5}"/>
              </c:ext>
            </c:extLst>
          </c:dPt>
          <c:dPt>
            <c:idx val="1"/>
            <c:bubble3D val="0"/>
            <c:spPr>
              <a:solidFill>
                <a:schemeClr val="bg1"/>
              </a:solidFill>
              <a:ln w="28575">
                <a:solidFill>
                  <a:srgbClr val="2683D0"/>
                </a:solidFill>
              </a:ln>
              <a:effectLst/>
            </c:spPr>
            <c:extLst>
              <c:ext xmlns:c16="http://schemas.microsoft.com/office/drawing/2014/chart" uri="{C3380CC4-5D6E-409C-BE32-E72D297353CC}">
                <c16:uniqueId val="{00000003-46D8-4E32-970D-37E292F77BE5}"/>
              </c:ext>
            </c:extLst>
          </c:dPt>
          <c:dPt>
            <c:idx val="2"/>
            <c:bubble3D val="0"/>
            <c:spPr>
              <a:solidFill>
                <a:schemeClr val="bg1"/>
              </a:solidFill>
              <a:ln w="28575">
                <a:solidFill>
                  <a:srgbClr val="6AA028"/>
                </a:solidFill>
              </a:ln>
              <a:effectLst/>
            </c:spPr>
            <c:extLst>
              <c:ext xmlns:c16="http://schemas.microsoft.com/office/drawing/2014/chart" uri="{C3380CC4-5D6E-409C-BE32-E72D297353CC}">
                <c16:uniqueId val="{00000005-46D8-4E32-970D-37E292F77BE5}"/>
              </c:ext>
            </c:extLst>
          </c:dPt>
          <c:cat>
            <c:strRef>
              <c:f>Sheet1!$A$2:$A$4</c:f>
              <c:strCache>
                <c:ptCount val="3"/>
                <c:pt idx="0">
                  <c:v>1st Qtr</c:v>
                </c:pt>
                <c:pt idx="1">
                  <c:v>2nd Qtr</c:v>
                </c:pt>
                <c:pt idx="2">
                  <c:v>3rd Qtr</c:v>
                </c:pt>
              </c:strCache>
            </c:strRef>
          </c:cat>
          <c:val>
            <c:numRef>
              <c:f>Sheet1!$B$2:$B$4</c:f>
              <c:numCache>
                <c:formatCode>General</c:formatCode>
                <c:ptCount val="3"/>
                <c:pt idx="0">
                  <c:v>8.2000000000000011</c:v>
                </c:pt>
                <c:pt idx="1">
                  <c:v>3.2</c:v>
                </c:pt>
                <c:pt idx="2">
                  <c:v>2.6</c:v>
                </c:pt>
              </c:numCache>
            </c:numRef>
          </c:val>
          <c:extLst>
            <c:ext xmlns:c16="http://schemas.microsoft.com/office/drawing/2014/chart" uri="{C3380CC4-5D6E-409C-BE32-E72D297353CC}">
              <c16:uniqueId val="{00000006-46D8-4E32-970D-37E292F77BE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pc="1200" baseline="0">
                <a:solidFill>
                  <a:schemeClr val="bg1"/>
                </a:solidFill>
                <a:latin typeface="Arial Narrow" panose="020B0606020202030204" pitchFamily="34" charset="0"/>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Series 1</c:v>
                </c:pt>
              </c:strCache>
            </c:strRef>
          </c:tx>
          <c:spPr>
            <a:ln w="28575" cap="rnd">
              <a:solidFill>
                <a:srgbClr val="6AA028"/>
              </a:solidFill>
              <a:round/>
            </a:ln>
            <a:effectLst/>
          </c:spPr>
          <c:marker>
            <c:symbol val="circle"/>
            <c:size val="5"/>
            <c:spPr>
              <a:solidFill>
                <a:schemeClr val="tx1"/>
              </a:solidFill>
              <a:ln w="28575">
                <a:solidFill>
                  <a:srgbClr val="6AA028"/>
                </a:solidFill>
              </a:ln>
              <a:effectLst/>
            </c:spPr>
          </c:marker>
          <c:cat>
            <c:numRef>
              <c:f>Sheet1!$A$2:$A$6</c:f>
              <c:numCache>
                <c:formatCode>m/d/yyyy</c:formatCode>
                <c:ptCount val="5"/>
                <c:pt idx="0">
                  <c:v>37261</c:v>
                </c:pt>
                <c:pt idx="1">
                  <c:v>37262</c:v>
                </c:pt>
                <c:pt idx="2">
                  <c:v>37263</c:v>
                </c:pt>
                <c:pt idx="3">
                  <c:v>37264</c:v>
                </c:pt>
                <c:pt idx="4">
                  <c:v>37265</c:v>
                </c:pt>
              </c:numCache>
            </c:numRef>
          </c:cat>
          <c:val>
            <c:numRef>
              <c:f>Sheet1!$B$2:$B$6</c:f>
              <c:numCache>
                <c:formatCode>General</c:formatCode>
                <c:ptCount val="5"/>
                <c:pt idx="0">
                  <c:v>32</c:v>
                </c:pt>
                <c:pt idx="1">
                  <c:v>32</c:v>
                </c:pt>
                <c:pt idx="2">
                  <c:v>28</c:v>
                </c:pt>
                <c:pt idx="3">
                  <c:v>12</c:v>
                </c:pt>
                <c:pt idx="4">
                  <c:v>15</c:v>
                </c:pt>
              </c:numCache>
            </c:numRef>
          </c:val>
          <c:smooth val="0"/>
          <c:extLst>
            <c:ext xmlns:c16="http://schemas.microsoft.com/office/drawing/2014/chart" uri="{C3380CC4-5D6E-409C-BE32-E72D297353CC}">
              <c16:uniqueId val="{00000000-B8E1-47BB-8810-3266B9896042}"/>
            </c:ext>
          </c:extLst>
        </c:ser>
        <c:ser>
          <c:idx val="1"/>
          <c:order val="1"/>
          <c:tx>
            <c:strRef>
              <c:f>Sheet1!$C$1</c:f>
              <c:strCache>
                <c:ptCount val="1"/>
                <c:pt idx="0">
                  <c:v>Series 2</c:v>
                </c:pt>
              </c:strCache>
            </c:strRef>
          </c:tx>
          <c:spPr>
            <a:ln w="28575" cap="rnd">
              <a:solidFill>
                <a:srgbClr val="2683D0"/>
              </a:solidFill>
              <a:round/>
            </a:ln>
            <a:effectLst/>
          </c:spPr>
          <c:marker>
            <c:symbol val="circle"/>
            <c:size val="5"/>
            <c:spPr>
              <a:solidFill>
                <a:schemeClr val="tx1"/>
              </a:solidFill>
              <a:ln w="28575">
                <a:solidFill>
                  <a:srgbClr val="2683D0"/>
                </a:solidFill>
              </a:ln>
              <a:effectLst/>
            </c:spPr>
          </c:marker>
          <c:cat>
            <c:numRef>
              <c:f>Sheet1!$A$2:$A$6</c:f>
              <c:numCache>
                <c:formatCode>m/d/yyyy</c:formatCode>
                <c:ptCount val="5"/>
                <c:pt idx="0">
                  <c:v>37261</c:v>
                </c:pt>
                <c:pt idx="1">
                  <c:v>37262</c:v>
                </c:pt>
                <c:pt idx="2">
                  <c:v>37263</c:v>
                </c:pt>
                <c:pt idx="3">
                  <c:v>37264</c:v>
                </c:pt>
                <c:pt idx="4">
                  <c:v>37265</c:v>
                </c:pt>
              </c:numCache>
            </c:numRef>
          </c:cat>
          <c:val>
            <c:numRef>
              <c:f>Sheet1!$C$2:$C$6</c:f>
              <c:numCache>
                <c:formatCode>General</c:formatCode>
                <c:ptCount val="5"/>
                <c:pt idx="0">
                  <c:v>12</c:v>
                </c:pt>
                <c:pt idx="1">
                  <c:v>12</c:v>
                </c:pt>
                <c:pt idx="2">
                  <c:v>12</c:v>
                </c:pt>
                <c:pt idx="3">
                  <c:v>21</c:v>
                </c:pt>
                <c:pt idx="4">
                  <c:v>28</c:v>
                </c:pt>
              </c:numCache>
            </c:numRef>
          </c:val>
          <c:smooth val="0"/>
          <c:extLst>
            <c:ext xmlns:c16="http://schemas.microsoft.com/office/drawing/2014/chart" uri="{C3380CC4-5D6E-409C-BE32-E72D297353CC}">
              <c16:uniqueId val="{00000001-B8E1-47BB-8810-3266B9896042}"/>
            </c:ext>
          </c:extLst>
        </c:ser>
        <c:dLbls>
          <c:showLegendKey val="0"/>
          <c:showVal val="0"/>
          <c:showCatName val="0"/>
          <c:showSerName val="0"/>
          <c:showPercent val="0"/>
          <c:showBubbleSize val="0"/>
        </c:dLbls>
        <c:marker val="1"/>
        <c:smooth val="0"/>
        <c:axId val="146433432"/>
        <c:axId val="146433816"/>
      </c:lineChart>
      <c:dateAx>
        <c:axId val="146433432"/>
        <c:scaling>
          <c:orientation val="minMax"/>
        </c:scaling>
        <c:delete val="0"/>
        <c:axPos val="b"/>
        <c:numFmt formatCode="m/d/yyyy" sourceLinked="1"/>
        <c:majorTickMark val="out"/>
        <c:minorTickMark val="none"/>
        <c:tickLblPos val="nextTo"/>
        <c:spPr>
          <a:noFill/>
          <a:ln w="2857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46433816"/>
        <c:crosses val="autoZero"/>
        <c:auto val="1"/>
        <c:lblOffset val="100"/>
        <c:baseTimeUnit val="days"/>
      </c:dateAx>
      <c:valAx>
        <c:axId val="146433816"/>
        <c:scaling>
          <c:orientation val="minMax"/>
        </c:scaling>
        <c:delete val="0"/>
        <c:axPos val="l"/>
        <c:majorGridlines>
          <c:spPr>
            <a:ln w="9525" cap="flat" cmpd="sng" algn="ctr">
              <a:solidFill>
                <a:schemeClr val="tx1">
                  <a:lumMod val="65000"/>
                  <a:lumOff val="3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46433432"/>
        <c:crosses val="autoZero"/>
        <c:crossBetween val="between"/>
      </c:valAx>
      <c:spPr>
        <a:noFill/>
        <a:ln>
          <a:solidFill>
            <a:schemeClr val="tx1"/>
          </a:solid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172643874354237E-2"/>
          <c:y val="2.1675863377211852E-2"/>
          <c:w val="0.93836908064704561"/>
          <c:h val="0.95003930505496959"/>
        </c:manualLayout>
      </c:layout>
      <c:barChart>
        <c:barDir val="col"/>
        <c:grouping val="stacked"/>
        <c:varyColors val="0"/>
        <c:ser>
          <c:idx val="0"/>
          <c:order val="0"/>
          <c:tx>
            <c:strRef>
              <c:f>Sheet1!$B$1</c:f>
              <c:strCache>
                <c:ptCount val="1"/>
                <c:pt idx="0">
                  <c:v>Relative Volitility</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3-EA11-492C-963E-7BB6E9C2B6C1}"/>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6-EA11-492C-963E-7BB6E9C2B6C1}"/>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5-EA11-492C-963E-7BB6E9C2B6C1}"/>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4-EA11-492C-963E-7BB6E9C2B6C1}"/>
              </c:ext>
            </c:extLst>
          </c:dPt>
          <c:cat>
            <c:numRef>
              <c:f>Sheet1!$A$2:$A$8</c:f>
              <c:numCache>
                <c:formatCode>General</c:formatCode>
                <c:ptCount val="7"/>
              </c:numCache>
            </c:numRef>
          </c:cat>
          <c:val>
            <c:numRef>
              <c:f>Sheet1!$B$2:$B$8</c:f>
              <c:numCache>
                <c:formatCode>General</c:formatCode>
                <c:ptCount val="7"/>
                <c:pt idx="0">
                  <c:v>1442.6</c:v>
                </c:pt>
                <c:pt idx="1">
                  <c:v>319.60000000000002</c:v>
                </c:pt>
                <c:pt idx="2">
                  <c:v>1047.2</c:v>
                </c:pt>
                <c:pt idx="3">
                  <c:v>86.7</c:v>
                </c:pt>
                <c:pt idx="4">
                  <c:v>1</c:v>
                </c:pt>
                <c:pt idx="5">
                  <c:v>3.3</c:v>
                </c:pt>
                <c:pt idx="6">
                  <c:v>0.3</c:v>
                </c:pt>
              </c:numCache>
            </c:numRef>
          </c:val>
          <c:extLst>
            <c:ext xmlns:c16="http://schemas.microsoft.com/office/drawing/2014/chart" uri="{C3380CC4-5D6E-409C-BE32-E72D297353CC}">
              <c16:uniqueId val="{00000000-EA11-492C-963E-7BB6E9C2B6C1}"/>
            </c:ext>
          </c:extLst>
        </c:ser>
        <c:dLbls>
          <c:showLegendKey val="0"/>
          <c:showVal val="0"/>
          <c:showCatName val="0"/>
          <c:showSerName val="0"/>
          <c:showPercent val="0"/>
          <c:showBubbleSize val="0"/>
        </c:dLbls>
        <c:gapWidth val="150"/>
        <c:overlap val="100"/>
        <c:axId val="1141885912"/>
        <c:axId val="1141889848"/>
      </c:barChart>
      <c:catAx>
        <c:axId val="1141885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41889848"/>
        <c:crosses val="autoZero"/>
        <c:auto val="1"/>
        <c:lblAlgn val="ctr"/>
        <c:lblOffset val="100"/>
        <c:noMultiLvlLbl val="0"/>
      </c:catAx>
      <c:valAx>
        <c:axId val="11418898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4188591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AA03EE0-8C12-4C0E-9732-16232C3CD8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2A087C9-9DAF-4BBD-BB69-5FCA3C6345D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B3DC67-DB02-4EE4-B0E0-8C02CD04D7E0}" type="datetimeFigureOut">
              <a:rPr lang="en-US" smtClean="0"/>
              <a:t>10/13/2021</a:t>
            </a:fld>
            <a:endParaRPr lang="en-US"/>
          </a:p>
        </p:txBody>
      </p:sp>
      <p:sp>
        <p:nvSpPr>
          <p:cNvPr id="4" name="Footer Placeholder 3">
            <a:extLst>
              <a:ext uri="{FF2B5EF4-FFF2-40B4-BE49-F238E27FC236}">
                <a16:creationId xmlns:a16="http://schemas.microsoft.com/office/drawing/2014/main" id="{F247AFA3-4007-46AF-BD5E-C4A26A447A1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CA351CC-B25C-4015-9D45-40E57BC6935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A6D511-3AA1-4B10-A413-3895A57BA830}" type="slidenum">
              <a:rPr lang="en-US" smtClean="0"/>
              <a:t>‹#›</a:t>
            </a:fld>
            <a:endParaRPr lang="en-US"/>
          </a:p>
        </p:txBody>
      </p:sp>
    </p:spTree>
    <p:extLst>
      <p:ext uri="{BB962C8B-B14F-4D97-AF65-F5344CB8AC3E}">
        <p14:creationId xmlns:p14="http://schemas.microsoft.com/office/powerpoint/2010/main" val="15807128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AD0146-1F0B-46E3-9A1E-23A27A2D5DA0}" type="datetimeFigureOut">
              <a:rPr lang="en-US" smtClean="0"/>
              <a:t>10/1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D93D8F-09B4-4F4D-8A90-74FB0668E0A6}" type="slidenum">
              <a:rPr lang="en-US" smtClean="0"/>
              <a:t>‹#›</a:t>
            </a:fld>
            <a:endParaRPr lang="en-US"/>
          </a:p>
        </p:txBody>
      </p:sp>
    </p:spTree>
    <p:extLst>
      <p:ext uri="{BB962C8B-B14F-4D97-AF65-F5344CB8AC3E}">
        <p14:creationId xmlns:p14="http://schemas.microsoft.com/office/powerpoint/2010/main" val="1741198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Notes section contains the script for the CBT for your reference as </a:t>
            </a:r>
            <a:r>
              <a:rPr lang="en-US" sz="1200" kern="1200">
                <a:solidFill>
                  <a:schemeClr val="tx1"/>
                </a:solidFill>
                <a:effectLst/>
                <a:latin typeface="+mn-lt"/>
                <a:ea typeface="+mn-ea"/>
                <a:cs typeface="+mn-cs"/>
              </a:rPr>
              <a:t>a trainer***</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lcome to the 2021 application requirements web-based training for approved dicamba formulations for use in the Roundup Ready Xtend Crop System.  Dicamba-specific training is required before the use of any approved dicamba formulation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Please note that new registrations were issued in October, 2020 for these products and the new labels contain significant new or modified requirements.  These are highlighted in green on the screen.  Take special note of these new or modified requirements.   </a:t>
            </a:r>
          </a:p>
          <a:p>
            <a:endParaRPr lang="en-US" sz="1200" kern="1200" dirty="0">
              <a:solidFill>
                <a:schemeClr val="tx1"/>
              </a:solidFill>
              <a:effectLst/>
              <a:latin typeface="+mn-lt"/>
              <a:ea typeface="+mn-ea"/>
              <a:cs typeface="+mn-cs"/>
            </a:endParaRPr>
          </a:p>
          <a:p>
            <a:endParaRPr lang="en-US" dirty="0"/>
          </a:p>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7F5C3-8412-45B5-A9CB-4A0EAE6A84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7697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cord keeping is required for each application of these products.  For example, if 10 fields are being sprayed, 10 sets of records are required, or if the same field is sprayed twice, there must be two sets of records for that fiel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certified applicator must keep required documentation for a minimum of </a:t>
            </a:r>
            <a:r>
              <a:rPr lang="en-US" sz="1200" b="1" kern="1200" dirty="0">
                <a:solidFill>
                  <a:schemeClr val="tx1"/>
                </a:solidFill>
                <a:effectLst/>
                <a:latin typeface="+mn-lt"/>
                <a:ea typeface="+mn-ea"/>
                <a:cs typeface="+mn-cs"/>
              </a:rPr>
              <a:t>two years</a:t>
            </a:r>
            <a:r>
              <a:rPr lang="en-US" sz="1200" kern="1200" dirty="0">
                <a:solidFill>
                  <a:schemeClr val="tx1"/>
                </a:solidFill>
                <a:effectLst/>
                <a:latin typeface="+mn-lt"/>
                <a:ea typeface="+mn-ea"/>
                <a:cs typeface="+mn-cs"/>
              </a:rPr>
              <a:t> after application. Records must be generated as soon as practical</a:t>
            </a:r>
            <a:r>
              <a:rPr lang="en-US" sz="1200" u="sng"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but </a:t>
            </a:r>
            <a:r>
              <a:rPr lang="en-US" sz="1200" b="1" kern="1200" dirty="0">
                <a:solidFill>
                  <a:schemeClr val="tx1"/>
                </a:solidFill>
                <a:effectLst/>
                <a:latin typeface="+mn-lt"/>
                <a:ea typeface="+mn-ea"/>
                <a:cs typeface="+mn-cs"/>
              </a:rPr>
              <a:t>no later than</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72 hours</a:t>
            </a:r>
            <a:r>
              <a:rPr lang="en-US" sz="1200" kern="1200" dirty="0">
                <a:solidFill>
                  <a:schemeClr val="tx1"/>
                </a:solidFill>
                <a:effectLst/>
                <a:latin typeface="+mn-lt"/>
                <a:ea typeface="+mn-ea"/>
                <a:cs typeface="+mn-cs"/>
              </a:rPr>
              <a:t> after application.  Upon request, records must be made available to State Pesticide Control Officials, USDA and EPA.</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w for 2021 is the requirement to keep copies of receipts for the required Volatility Reduction Adjuvants and Drift Reduction Adjuvants. Additionally, the amount of VRA and DRA used in each tank load needs to be recorded on the Record Keeping form.  </a:t>
            </a:r>
          </a:p>
          <a:p>
            <a:endParaRPr lang="en-US" sz="1200" b="0" i="0" u="none" strike="noStrike" kern="1200" baseline="0" dirty="0">
              <a:solidFill>
                <a:schemeClr val="tx1"/>
              </a:solidFill>
              <a:latin typeface="+mn-lt"/>
              <a:ea typeface="+mn-ea"/>
              <a:cs typeface="+mn-cs"/>
            </a:endParaRPr>
          </a:p>
          <a:p>
            <a:endParaRPr lang="en-US" b="1" dirty="0">
              <a:cs typeface="Calibri"/>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15245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re are 14 categories of record keeping requirements, which include materials and amounts applied, application timing and conditions, crop and area treated, equipment utilized, buffers used and surrounding sensitive crops verif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icamba product manufacturers and state extension services have developed recordkeeping forms to help applicators comply with the record keeping requirements.  A link to the Bayer recordkeeping form will be emailed to  participants that complete this training. The form can also be found on the XtendiMax Application Requirements websit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oundup Ready Xtend Spray App provides support for label and other application requirements, resource materials, weather forecasts and recordkeeping.  The Spray App may be found in the Google Play Store or the Apple App Store.  </a:t>
            </a:r>
            <a:endParaRPr lang="en-US" b="1" dirty="0">
              <a:cs typeface="Calibri"/>
            </a:endParaRPr>
          </a:p>
          <a:p>
            <a:pPr marL="0" indent="0">
              <a:buNone/>
            </a:pPr>
            <a:r>
              <a:rPr lang="en-US" b="1" dirty="0">
                <a:cs typeface="Calibri"/>
              </a:rPr>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19827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se three types of OTM will be covered in more depth in the following section. </a:t>
            </a:r>
          </a:p>
          <a:p>
            <a:endParaRPr lang="en-US" b="1" dirty="0"/>
          </a:p>
          <a:p>
            <a:r>
              <a:rPr lang="en-US" sz="1200" kern="1200" dirty="0">
                <a:solidFill>
                  <a:schemeClr val="tx1"/>
                </a:solidFill>
                <a:effectLst/>
                <a:latin typeface="+mn-lt"/>
                <a:ea typeface="+mn-ea"/>
                <a:cs typeface="+mn-cs"/>
              </a:rPr>
              <a:t>Physical drift is the downwind movement of spray particles during the application.  Physical drift can be minimized by following the required application parameter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icamba residues remaining in handling and application equipment could contaminate sprays that are made to sensitive crops and result in dicamba symptom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Volatility is the movement of an herbicide in the gas or vapor phase.  It is imperative that ONLY labeled dicamba formulations and tank-mix partners are used in the Roundup Ready Xtend Crop System to help minimize product volatility.  A VRA must be included in the spray solution for every application of these dicamba formulations to further reduce the potential for off-target movement from volatility.</a:t>
            </a:r>
          </a:p>
          <a:p>
            <a:endParaRPr lang="en-US" b="1"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F27F5C3-8412-45B5-A9CB-4A0EAE6A84C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78751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Keeping these dicamba products on target during application is importan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 NOT allow herbicide solution to mist, drip, drift, or splash onto desirable vegetation because severe injury or destruction to desirable broadleaf plants could resul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st common types of off-target movement include physical drift of spray particles, spray equipment contamination and volatility.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F27F5C3-8412-45B5-A9CB-4A0EAE6A84C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66735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Understanding wind speed and direction is critical in preventing spray drift onto sensitive crops and certain plants.  The wind speed should be measured in the field of application at boom height at the start and at the end of the application using an anemometer.  Only apply when wind speed at boom height is between 3 and 10 miles per hour during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 is important for the applicator to be aware that wind direction may vary during the application.  If wind direction shifts such that the wind is blowing toward adjacent dicamba-sensitive crops, the applicator must stop the applic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nd speed and direction must be recorded in the record keeping form for the start and completion of each application.  Additional wind recordings are suggested during the application to ascertain that wind speed remains within label requirements and that wind direction has not shifted toward a dicamba-sensitive crop. </a:t>
            </a:r>
          </a:p>
        </p:txBody>
      </p:sp>
      <p:sp>
        <p:nvSpPr>
          <p:cNvPr id="4" name="Slide Number Placeholder 3"/>
          <p:cNvSpPr>
            <a:spLocks noGrp="1"/>
          </p:cNvSpPr>
          <p:nvPr>
            <p:ph type="sldNum" sz="quarter" idx="5"/>
          </p:nvPr>
        </p:nvSpPr>
        <p:spPr/>
        <p:txBody>
          <a:bodyPr/>
          <a:lstStyle/>
          <a:p>
            <a:fld id="{00D93D8F-09B4-4F4D-8A90-74FB0668E0A6}" type="slidenum">
              <a:rPr lang="en-US" smtClean="0"/>
              <a:t>14</a:t>
            </a:fld>
            <a:endParaRPr lang="en-US"/>
          </a:p>
        </p:txBody>
      </p:sp>
    </p:spTree>
    <p:extLst>
      <p:ext uri="{BB962C8B-B14F-4D97-AF65-F5344CB8AC3E}">
        <p14:creationId xmlns:p14="http://schemas.microsoft.com/office/powerpoint/2010/main" val="1062555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nimizing physical drift potential also requires proper application equipment and techniques.  The label requires the use of only approved nozzles within specified pressure ranges. Approved nozzle and operating pressure combinations have been tested and meet established parameters for minimizing small, </a:t>
            </a:r>
            <a:r>
              <a:rPr lang="en-US" sz="1200" kern="1200" dirty="0" err="1">
                <a:solidFill>
                  <a:schemeClr val="tx1"/>
                </a:solidFill>
                <a:effectLst/>
                <a:latin typeface="+mn-lt"/>
                <a:ea typeface="+mn-ea"/>
                <a:cs typeface="+mn-cs"/>
              </a:rPr>
              <a:t>driftable</a:t>
            </a:r>
            <a:r>
              <a:rPr lang="en-US" sz="1200" kern="1200" dirty="0">
                <a:solidFill>
                  <a:schemeClr val="tx1"/>
                </a:solidFill>
                <a:effectLst/>
                <a:latin typeface="+mn-lt"/>
                <a:ea typeface="+mn-ea"/>
                <a:cs typeface="+mn-cs"/>
              </a:rPr>
              <a:t> spray drople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In addition, approved tank-mix additives, including other herbicides and pesticides, have been tested and, along with approved nozzles and pressure ranges, are listed on each product’s application requirements websit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tors are required to consult the application requirements website for the dicamba product they are spraying no more than 7 days before application to determine if the nozzles, spray parameters and tank-mix partners are label approved.  </a:t>
            </a:r>
          </a:p>
          <a:p>
            <a:pPr marL="0" indent="0">
              <a:buFont typeface="Arial"/>
              <a:buNone/>
            </a:pPr>
            <a:endParaRPr lang="en-US" dirty="0"/>
          </a:p>
        </p:txBody>
      </p:sp>
      <p:sp>
        <p:nvSpPr>
          <p:cNvPr id="4" name="Slide Number Placeholder 3"/>
          <p:cNvSpPr>
            <a:spLocks noGrp="1"/>
          </p:cNvSpPr>
          <p:nvPr>
            <p:ph type="sldNum" sz="quarter" idx="10"/>
          </p:nvPr>
        </p:nvSpPr>
        <p:spPr/>
        <p:txBody>
          <a:bodyPr/>
          <a:lstStyle/>
          <a:p>
            <a:pPr defTabSz="931774">
              <a:defRPr/>
            </a:pPr>
            <a:fld id="{33C111E1-28BA-4130-B856-7DAB84702943}" type="slidenum">
              <a:rPr lang="en-US" sz="1800" kern="0">
                <a:solidFill>
                  <a:prstClr val="black"/>
                </a:solidFill>
              </a:rPr>
              <a:pPr defTabSz="931774">
                <a:defRPr/>
              </a:pPr>
              <a:t>15</a:t>
            </a:fld>
            <a:endParaRPr lang="en-US" sz="1800" kern="0">
              <a:solidFill>
                <a:prstClr val="black"/>
              </a:solidFill>
            </a:endParaRPr>
          </a:p>
        </p:txBody>
      </p:sp>
    </p:spTree>
    <p:extLst>
      <p:ext uri="{BB962C8B-B14F-4D97-AF65-F5344CB8AC3E}">
        <p14:creationId xmlns:p14="http://schemas.microsoft.com/office/powerpoint/2010/main" val="586463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A 2018 demonstration at the Learning Center in Monmouth, IL</a:t>
            </a:r>
          </a:p>
          <a:p>
            <a:endParaRPr lang="en-US" b="1" dirty="0">
              <a:cs typeface="Calibri"/>
            </a:endParaRPr>
          </a:p>
          <a:p>
            <a:r>
              <a:rPr lang="en-US" sz="1200" kern="1200" dirty="0">
                <a:solidFill>
                  <a:schemeClr val="tx1"/>
                </a:solidFill>
                <a:effectLst/>
                <a:latin typeface="+mn-lt"/>
                <a:ea typeface="+mn-ea"/>
                <a:cs typeface="+mn-cs"/>
              </a:rPr>
              <a:t>The choice of nozzles is critical to on-target applications.  Unapproved nozzles can lead to unacceptable off-target movement due to increased </a:t>
            </a:r>
            <a:r>
              <a:rPr lang="en-US" sz="1200" kern="1200" dirty="0" err="1">
                <a:solidFill>
                  <a:schemeClr val="tx1"/>
                </a:solidFill>
                <a:effectLst/>
                <a:latin typeface="+mn-lt"/>
                <a:ea typeface="+mn-ea"/>
                <a:cs typeface="+mn-cs"/>
              </a:rPr>
              <a:t>driftable</a:t>
            </a:r>
            <a:r>
              <a:rPr lang="en-US" sz="1200" kern="1200" dirty="0">
                <a:solidFill>
                  <a:schemeClr val="tx1"/>
                </a:solidFill>
                <a:effectLst/>
                <a:latin typeface="+mn-lt"/>
                <a:ea typeface="+mn-ea"/>
                <a:cs typeface="+mn-cs"/>
              </a:rPr>
              <a:t> small drople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photo shows the results of a demonstration trial where an unapproved nozzle on the left was compared to an approved nozzle on the right.  The drift plume for the approved nozzle is only a fraction of that from the unapproved nozzl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 is important to monitor operating pressure throughout the application.  The pressure in the boom must be within the required pressure range. </a:t>
            </a:r>
          </a:p>
          <a:p>
            <a:endParaRPr lang="en-US" dirty="0"/>
          </a:p>
        </p:txBody>
      </p:sp>
      <p:sp>
        <p:nvSpPr>
          <p:cNvPr id="4" name="Slide Number Placeholder 3"/>
          <p:cNvSpPr>
            <a:spLocks noGrp="1"/>
          </p:cNvSpPr>
          <p:nvPr>
            <p:ph type="sldNum" sz="quarter" idx="5"/>
          </p:nvPr>
        </p:nvSpPr>
        <p:spPr/>
        <p:txBody>
          <a:bodyPr/>
          <a:lstStyle/>
          <a:p>
            <a:pPr defTabSz="931774">
              <a:defRPr/>
            </a:pPr>
            <a:fld id="{0F27F5C3-8412-45B5-A9CB-4A0EAE6A84CE}" type="slidenum">
              <a:rPr lang="en-US" sz="1800" kern="0">
                <a:solidFill>
                  <a:sysClr val="windowText" lastClr="000000"/>
                </a:solidFill>
              </a:rPr>
              <a:pPr defTabSz="931774">
                <a:defRPr/>
              </a:pPr>
              <a:t>16</a:t>
            </a:fld>
            <a:endParaRPr lang="en-US" sz="1800" kern="0">
              <a:solidFill>
                <a:sysClr val="windowText" lastClr="000000"/>
              </a:solidFill>
            </a:endParaRPr>
          </a:p>
        </p:txBody>
      </p:sp>
    </p:spTree>
    <p:extLst>
      <p:ext uri="{BB962C8B-B14F-4D97-AF65-F5344CB8AC3E}">
        <p14:creationId xmlns:p14="http://schemas.microsoft.com/office/powerpoint/2010/main" val="3040556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 addition to approved nozzles operated within the required pressure ranges, other equipment and environmental parameters are important to help minimize off-target movement potential.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boom height must not exceed twenty-four inches above the target crop or pest canopy.  </a:t>
            </a:r>
            <a:r>
              <a:rPr lang="x-none" sz="1200" kern="1200" dirty="0">
                <a:solidFill>
                  <a:schemeClr val="tx1"/>
                </a:solidFill>
                <a:effectLst/>
                <a:latin typeface="+mn-lt"/>
                <a:ea typeface="+mn-ea"/>
                <a:cs typeface="+mn-cs"/>
              </a:rPr>
              <a:t>Use the minimum boom height appropriate for spray pattern overlap based on nozzle selection and spacing, according to manufacturer recommendations, or 24 inches above canopy, whichever is smaller</a:t>
            </a:r>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y these products only when wind speed at the boom height is between 3 and 10 miles per hour.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 not exceed a ground speed of 15 miles per hour.  Provided the applicator can maintain the required nozzle pressure, it is recommended that sprayer speed be reduced to 5 mph at field edges.  </a:t>
            </a:r>
          </a:p>
          <a:p>
            <a:endParaRPr lang="en-US" b="1" dirty="0"/>
          </a:p>
          <a:p>
            <a:endParaRPr lang="en-US" b="1" dirty="0"/>
          </a:p>
          <a:p>
            <a:endParaRPr lang="en-US" b="1" dirty="0"/>
          </a:p>
          <a:p>
            <a:endParaRPr lang="en-US" b="1" dirty="0"/>
          </a:p>
          <a:p>
            <a:endParaRPr lang="en-US" dirty="0"/>
          </a:p>
        </p:txBody>
      </p:sp>
      <p:sp>
        <p:nvSpPr>
          <p:cNvPr id="4" name="Slide Number Placeholder 3"/>
          <p:cNvSpPr>
            <a:spLocks noGrp="1"/>
          </p:cNvSpPr>
          <p:nvPr>
            <p:ph type="sldNum" sz="quarter" idx="10"/>
          </p:nvPr>
        </p:nvSpPr>
        <p:spPr/>
        <p:txBody>
          <a:bodyPr/>
          <a:lstStyle/>
          <a:p>
            <a:pPr defTabSz="931774">
              <a:defRPr/>
            </a:pPr>
            <a:fld id="{33C111E1-28BA-4130-B856-7DAB84702943}" type="slidenum">
              <a:rPr lang="en-US" sz="1800" kern="0">
                <a:solidFill>
                  <a:prstClr val="black"/>
                </a:solidFill>
              </a:rPr>
              <a:pPr defTabSz="931774">
                <a:defRPr/>
              </a:pPr>
              <a:t>17</a:t>
            </a:fld>
            <a:endParaRPr lang="en-US" sz="1800" kern="0">
              <a:solidFill>
                <a:prstClr val="black"/>
              </a:solidFill>
            </a:endParaRPr>
          </a:p>
        </p:txBody>
      </p:sp>
    </p:spTree>
    <p:extLst>
      <p:ext uri="{BB962C8B-B14F-4D97-AF65-F5344CB8AC3E}">
        <p14:creationId xmlns:p14="http://schemas.microsoft.com/office/powerpoint/2010/main" val="2013693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Use a minimum of 15 gallons of spray volume per acre. Consider using 20 gallons per acre or greater when treating dense weed canopi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 not apply these products during a temperature inversion.  The potential for off-target movement increases during a temperature inversion. Temperature inversions occur when denser cool air forms near the soil surface in the absence of solar radiation.  Inversions may begin to form as the sun sets and often continue into the morn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label requires that these products only be applied between one hour after sunrise and two hours before sunset to avoid timings when temperature inversions are likel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sure the spray system used to apply dicamba is cleaned before and after making the application.  Failure to properly clean the entire system can result in inadvertent contamination of the spray system.  </a:t>
            </a:r>
          </a:p>
          <a:p>
            <a:pPr marL="0" indent="0">
              <a:buFont typeface="Arial,Sans-Serif"/>
              <a:buNone/>
            </a:pPr>
            <a:endParaRPr lang="en-US" dirty="0"/>
          </a:p>
          <a:p>
            <a:pPr marL="171450" indent="-171450">
              <a:buFont typeface="Arial,Sans-Serif"/>
              <a:buChar char="•"/>
            </a:pPr>
            <a:endParaRPr lang="en-US" dirty="0"/>
          </a:p>
          <a:p>
            <a:pPr marL="171450" indent="-171450">
              <a:buFont typeface="Arial,Sans-Serif"/>
              <a:buChar char="•"/>
            </a:pPr>
            <a:endParaRPr lang="en-US" dirty="0"/>
          </a:p>
          <a:p>
            <a:pPr marL="171450" indent="-171450">
              <a:buFont typeface="Arial,Sans-Serif"/>
              <a:buChar char="•"/>
            </a:pPr>
            <a:endParaRPr lang="en-US" dirty="0"/>
          </a:p>
          <a:p>
            <a:endParaRPr lang="en-US" dirty="0"/>
          </a:p>
        </p:txBody>
      </p:sp>
      <p:sp>
        <p:nvSpPr>
          <p:cNvPr id="4" name="Slide Number Placeholder 3"/>
          <p:cNvSpPr>
            <a:spLocks noGrp="1"/>
          </p:cNvSpPr>
          <p:nvPr>
            <p:ph type="sldNum" sz="quarter" idx="10"/>
          </p:nvPr>
        </p:nvSpPr>
        <p:spPr/>
        <p:txBody>
          <a:bodyPr/>
          <a:lstStyle/>
          <a:p>
            <a:pPr defTabSz="931774">
              <a:defRPr/>
            </a:pPr>
            <a:fld id="{33C111E1-28BA-4130-B856-7DAB84702943}" type="slidenum">
              <a:rPr lang="en-US" sz="1800" kern="0">
                <a:solidFill>
                  <a:prstClr val="black"/>
                </a:solidFill>
              </a:rPr>
              <a:pPr defTabSz="931774">
                <a:defRPr/>
              </a:pPr>
              <a:t>18</a:t>
            </a:fld>
            <a:endParaRPr lang="en-US" sz="1800" kern="0">
              <a:solidFill>
                <a:prstClr val="black"/>
              </a:solidFill>
            </a:endParaRPr>
          </a:p>
        </p:txBody>
      </p:sp>
    </p:spTree>
    <p:extLst>
      <p:ext uri="{BB962C8B-B14F-4D97-AF65-F5344CB8AC3E}">
        <p14:creationId xmlns:p14="http://schemas.microsoft.com/office/powerpoint/2010/main" val="3521014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ew for 2021 is the use of Drift Reduction Technology (DRT), which consists of hooded or shielded spray booms.  This technology may be used to help reduce off-target movement of spray particl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tions using a qualified DRT may benefit from reduced restrictions, such as a decreased downwind buffer distance.  Only drift reduction technology and approved nozzles listed on the product application requirements website qualify for reduced restrictions.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r>
            <a:br>
              <a:rPr lang="en-US" sz="1200" kern="1200" dirty="0">
                <a:solidFill>
                  <a:schemeClr val="tx1"/>
                </a:solidFill>
                <a:effectLst/>
                <a:latin typeface="+mn-lt"/>
                <a:ea typeface="+mn-ea"/>
                <a:cs typeface="+mn-cs"/>
              </a:rPr>
            </a:br>
            <a:endParaRPr lang="en-US" dirty="0"/>
          </a:p>
        </p:txBody>
      </p:sp>
      <p:sp>
        <p:nvSpPr>
          <p:cNvPr id="4" name="Slide Number Placeholder 3"/>
          <p:cNvSpPr>
            <a:spLocks noGrp="1"/>
          </p:cNvSpPr>
          <p:nvPr>
            <p:ph type="sldNum" sz="quarter" idx="10"/>
          </p:nvPr>
        </p:nvSpPr>
        <p:spPr/>
        <p:txBody>
          <a:bodyPr/>
          <a:lstStyle/>
          <a:p>
            <a:pPr defTabSz="931774">
              <a:defRPr/>
            </a:pPr>
            <a:fld id="{33C111E1-28BA-4130-B856-7DAB84702943}" type="slidenum">
              <a:rPr lang="en-US" sz="1800" kern="0">
                <a:solidFill>
                  <a:prstClr val="black"/>
                </a:solidFill>
              </a:rPr>
              <a:pPr defTabSz="931774">
                <a:defRPr/>
              </a:pPr>
              <a:t>19</a:t>
            </a:fld>
            <a:endParaRPr lang="en-US" sz="1800" kern="0">
              <a:solidFill>
                <a:prstClr val="black"/>
              </a:solidFill>
            </a:endParaRPr>
          </a:p>
        </p:txBody>
      </p:sp>
    </p:spTree>
    <p:extLst>
      <p:ext uri="{BB962C8B-B14F-4D97-AF65-F5344CB8AC3E}">
        <p14:creationId xmlns:p14="http://schemas.microsoft.com/office/powerpoint/2010/main" val="189595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00D93D8F-09B4-4F4D-8A90-74FB0668E0A6}" type="slidenum">
              <a:rPr lang="en-US" smtClean="0"/>
              <a:t>2</a:t>
            </a:fld>
            <a:endParaRPr lang="en-US"/>
          </a:p>
        </p:txBody>
      </p:sp>
    </p:spTree>
    <p:extLst>
      <p:ext uri="{BB962C8B-B14F-4D97-AF65-F5344CB8AC3E}">
        <p14:creationId xmlns:p14="http://schemas.microsoft.com/office/powerpoint/2010/main" val="1505658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second form of potential off-target movement is through dicamba contamination in equipment.  Proper cleaning of mixing, handling, transport and spray equipment is vital to avoid spray solution contamination and potential crop injury in subsequent applications to dicamba sensitive crops and certain plant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 only takes small amounts of dicamba residue to cause a crop response in dicamba-sensitive crops. For example, the equivalent of a thimble full of dicamba in a 1,000-gallon spray tank applied over non-dicamba tolerant soybeans is enough to cause visual symptoms.</a:t>
            </a:r>
          </a:p>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E5F5DC3-1C44-4137-8CBE-1E5DB90F78DE}"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924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ll mixing, handling, transport and spray equipment must be thoroughly cleaned before and immediately after using a dicamba product using a triple rinse procedure.  See the label of the dicamba product used for specific cleaning instruc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ood general cleaning practices include draining unused spray before cleaning, ensuring that all surfaces of tanks are cleaned for each rinse and ensuring that all rinse water is drained between each rins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l valves should be cycled during cleaning, loading ports flushed and flowmeters, lines and hoses clean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lean all in-line strainers, suction filters, boom nozzles and screens and flush boom dead ends and end caps.  Also, flush unused nozzle bodies, pressure check valves and nozzle turre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l rinse water must be disposed of in compliance with local, state, and federal requirements. </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7F5C3-8412-45B5-A9CB-4A0EAE6A84C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7643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third form of potential off-target movement is through volatilization of dicamba after an applic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ly low-volatility formulations of dicamba labeled for use in the Roundup Ready Xtend Crop System may be used.  Unapproved tank-mix partners may increase volatility and increase the potential for off-target movement.  For this reason, only products that are listed on the application requirements website may be used with these produc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l applications of these products require the inclusion of a </a:t>
            </a:r>
            <a:r>
              <a:rPr lang="en-US" sz="1200" b="1" kern="1200" dirty="0">
                <a:solidFill>
                  <a:schemeClr val="tx1"/>
                </a:solidFill>
                <a:effectLst/>
                <a:latin typeface="+mn-lt"/>
                <a:ea typeface="+mn-ea"/>
                <a:cs typeface="+mn-cs"/>
              </a:rPr>
              <a:t>volatility reduction adjuvant</a:t>
            </a:r>
            <a:r>
              <a:rPr lang="en-US" sz="1200" kern="1200" dirty="0">
                <a:solidFill>
                  <a:schemeClr val="tx1"/>
                </a:solidFill>
                <a:effectLst/>
                <a:latin typeface="+mn-lt"/>
                <a:ea typeface="+mn-ea"/>
                <a:cs typeface="+mn-cs"/>
              </a:rPr>
              <a:t>  (VRA) such as a VaporGrip Xtra Agent product or an approved VRA equivalen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inclusion of a drift reduction adjuvant (DRA) is also required, unless otherwise indicated on the application requirements website.  When certain tank mix partners are used a DRA may not be required.  </a:t>
            </a:r>
          </a:p>
          <a:p>
            <a:endParaRPr lang="en-US" dirty="0"/>
          </a:p>
        </p:txBody>
      </p:sp>
      <p:sp>
        <p:nvSpPr>
          <p:cNvPr id="4" name="Slide Number Placeholder 3"/>
          <p:cNvSpPr>
            <a:spLocks noGrp="1"/>
          </p:cNvSpPr>
          <p:nvPr>
            <p:ph type="sldNum" sz="quarter" idx="5"/>
          </p:nvPr>
        </p:nvSpPr>
        <p:spPr/>
        <p:txBody>
          <a:bodyPr/>
          <a:lstStyle/>
          <a:p>
            <a:fld id="{00D93D8F-09B4-4F4D-8A90-74FB0668E0A6}" type="slidenum">
              <a:rPr lang="en-US" smtClean="0"/>
              <a:t>22</a:t>
            </a:fld>
            <a:endParaRPr lang="en-US"/>
          </a:p>
        </p:txBody>
      </p:sp>
    </p:spTree>
    <p:extLst>
      <p:ext uri="{BB962C8B-B14F-4D97-AF65-F5344CB8AC3E}">
        <p14:creationId xmlns:p14="http://schemas.microsoft.com/office/powerpoint/2010/main" val="3937491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ddition of an approved VRA further reduces the potential volatility of these already low-volatility dicamba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chart shows the relative volatility of several dicamba formulations and tank mix partners as determined in humidome studi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left bar shows the relative volatility of an unapproved dicamba formulation and a common glyphosate formulation, Clarity and Buccaneer Plu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next three bars show the relative volatility of three approved low-volatility formulations of dicamba when tank mixed with Roundup </a:t>
            </a:r>
            <a:r>
              <a:rPr lang="en-US" sz="1200" kern="1200" dirty="0" err="1">
                <a:solidFill>
                  <a:schemeClr val="tx1"/>
                </a:solidFill>
                <a:effectLst/>
                <a:latin typeface="+mn-lt"/>
                <a:ea typeface="+mn-ea"/>
                <a:cs typeface="+mn-cs"/>
              </a:rPr>
              <a:t>PowerMAX</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last three bars show the relative volatility of these same three tank mixtures with the addition of VaporGrip Xtra Agent, a labeled VRA.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use of a VRA is a new requirement for 2021 and beyond.  All applications of these dicamba products must include an approved VRA, such as a VaporGrip Xtra Agent product, or another approved VRA equivalent.  Consult the applicable application requirements website to get a list of approved VRAs for the dicamba product being used. </a:t>
            </a:r>
            <a:endParaRPr lang="en-US" b="1" dirty="0">
              <a:cs typeface="Calibri"/>
            </a:endParaRPr>
          </a:p>
          <a:p>
            <a:endParaRPr lang="en-US" b="1" dirty="0">
              <a:cs typeface="Calibri"/>
            </a:endParaRPr>
          </a:p>
          <a:p>
            <a:endParaRPr lang="en-US" b="1" dirty="0">
              <a:cs typeface="Calibri"/>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98739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Use only approved tank mix partners and additives, including herbicides, other pesticides and VRAs and DRAs, when applying these dicamba products.  Approved products have been tested and found to not adversely affect off-target movement potential of dicamba.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inclusion of an approved DRA is required for all applications of these products, unless otherwise indicated on the application requirements websit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roved tank-mix partners and additives are included on each product application requirements website.  Applicators must check the list of approved products on the website for the dicamba product being used no more than seven days prior to apply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llow the tank mix order recommended for the specific DRA used.  Improper mixing order could result in chemical incompatibility in the spray tank, poor spray pattern at the nozzle and could lead to poor weed control.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pray solution should be agitated after each component is added to the tank to ensure proper mixing.  </a:t>
            </a:r>
          </a:p>
          <a:p>
            <a:endParaRPr lang="en-US" dirty="0"/>
          </a:p>
        </p:txBody>
      </p:sp>
      <p:sp>
        <p:nvSpPr>
          <p:cNvPr id="4" name="Slide Number Placeholder 3"/>
          <p:cNvSpPr>
            <a:spLocks noGrp="1"/>
          </p:cNvSpPr>
          <p:nvPr>
            <p:ph type="sldNum" sz="quarter" idx="10"/>
          </p:nvPr>
        </p:nvSpPr>
        <p:spPr/>
        <p:txBody>
          <a:bodyPr/>
          <a:lstStyle/>
          <a:p>
            <a:pPr defTabSz="931774">
              <a:defRPr/>
            </a:pPr>
            <a:fld id="{33C111E1-28BA-4130-B856-7DAB84702943}" type="slidenum">
              <a:rPr lang="en-US" sz="1800" kern="0">
                <a:solidFill>
                  <a:prstClr val="black"/>
                </a:solidFill>
              </a:rPr>
              <a:pPr defTabSz="931774">
                <a:defRPr/>
              </a:pPr>
              <a:t>24</a:t>
            </a:fld>
            <a:endParaRPr lang="en-US" sz="1800" kern="0">
              <a:solidFill>
                <a:prstClr val="black"/>
              </a:solidFill>
            </a:endParaRPr>
          </a:p>
        </p:txBody>
      </p:sp>
    </p:spTree>
    <p:extLst>
      <p:ext uri="{BB962C8B-B14F-4D97-AF65-F5344CB8AC3E}">
        <p14:creationId xmlns:p14="http://schemas.microsoft.com/office/powerpoint/2010/main" val="37455439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protect adjacent sensitive crops and certain plants, the applicator must determine the location of any surrounding sensitive crops and certain plants by consulting sensitive crop registries, visiting with neighbors and surveying the surrounding area.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F27F5C3-8412-45B5-A9CB-4A0EAE6A84C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519784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Do not apply these products when the wind is blowing toward adjacent sensitive crops and certain plants, including non-dicamba tolerant soybeans and cott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 not allow contact with foliage, green stems, or fruit of crops, or any desirable plants that </a:t>
            </a:r>
            <a:r>
              <a:rPr lang="en-US" sz="1200" b="1" kern="1200" dirty="0">
                <a:solidFill>
                  <a:schemeClr val="tx1"/>
                </a:solidFill>
                <a:effectLst/>
                <a:latin typeface="+mn-lt"/>
                <a:ea typeface="+mn-ea"/>
                <a:cs typeface="+mn-cs"/>
              </a:rPr>
              <a:t>do not</a:t>
            </a:r>
            <a:r>
              <a:rPr lang="en-US" sz="1200" kern="1200" dirty="0">
                <a:solidFill>
                  <a:schemeClr val="tx1"/>
                </a:solidFill>
                <a:effectLst/>
                <a:latin typeface="+mn-lt"/>
                <a:ea typeface="+mn-ea"/>
                <a:cs typeface="+mn-cs"/>
              </a:rPr>
              <a:t> contain a dicamba tolerance gene or are not naturally tolerant to dicamba.  Contact could result in severe plant injury or destruc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the extent consistent with applicable law, the applicator is responsible for avoiding off-target spray drift.</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5075359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efore making an application, consult a sensitive crop registry, such as </a:t>
            </a:r>
            <a:r>
              <a:rPr lang="en-US" sz="1200" kern="1200" dirty="0" err="1">
                <a:solidFill>
                  <a:schemeClr val="tx1"/>
                </a:solidFill>
                <a:effectLst/>
                <a:latin typeface="+mn-lt"/>
                <a:ea typeface="+mn-ea"/>
                <a:cs typeface="+mn-cs"/>
              </a:rPr>
              <a:t>FieldWatch</a:t>
            </a:r>
            <a:r>
              <a:rPr lang="en-US" sz="1200" kern="1200" dirty="0">
                <a:solidFill>
                  <a:schemeClr val="tx1"/>
                </a:solidFill>
                <a:effectLst/>
                <a:latin typeface="+mn-lt"/>
                <a:ea typeface="+mn-ea"/>
                <a:cs typeface="+mn-cs"/>
              </a:rPr>
              <a:t> or an applicable state/federal registry.  Record the registry and date consulted in your record keeping form.</a:t>
            </a:r>
            <a:r>
              <a:rPr lang="en-US" dirty="0">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 survey adjacent areas and confirm the type of plants and crops surrounding the field prior to application.  From this survey, include in your record keeping the adjacent plants and crops and/or areas surrounding the field of application and the date the survey was conducted.</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defTabSz="931774">
              <a:defRPr/>
            </a:pPr>
            <a:fld id="{0F27F5C3-8412-45B5-A9CB-4A0EAE6A84CE}" type="slidenum">
              <a:rPr lang="en-US" sz="1800" kern="0">
                <a:solidFill>
                  <a:sysClr val="windowText" lastClr="000000"/>
                </a:solidFill>
              </a:rPr>
              <a:pPr defTabSz="931774">
                <a:defRPr/>
              </a:pPr>
              <a:t>27</a:t>
            </a:fld>
            <a:endParaRPr lang="en-US" sz="1800" kern="0">
              <a:solidFill>
                <a:sysClr val="windowText" lastClr="000000"/>
              </a:solidFill>
            </a:endParaRPr>
          </a:p>
        </p:txBody>
      </p:sp>
    </p:spTree>
    <p:extLst>
      <p:ext uri="{BB962C8B-B14F-4D97-AF65-F5344CB8AC3E}">
        <p14:creationId xmlns:p14="http://schemas.microsoft.com/office/powerpoint/2010/main" val="10007117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5974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p:cNvSpPr>
            <a:spLocks noGrp="1"/>
          </p:cNvSpPr>
          <p:nvPr>
            <p:ph type="sldNum" sz="quarter" idx="5"/>
          </p:nvPr>
        </p:nvSpPr>
        <p:spPr/>
        <p:txBody>
          <a:bodyPr/>
          <a:lstStyle/>
          <a:p>
            <a:pPr defTabSz="931774">
              <a:defRPr/>
            </a:pPr>
            <a:fld id="{48999F77-1963-493D-8F1B-38852B67A981}" type="slidenum">
              <a:rPr lang="en-US" sz="1800" kern="0">
                <a:solidFill>
                  <a:prstClr val="black"/>
                </a:solidFill>
              </a:rPr>
              <a:pPr defTabSz="931774">
                <a:defRPr/>
              </a:pPr>
              <a:t>28</a:t>
            </a:fld>
            <a:endParaRPr lang="en-US" sz="1800" kern="0">
              <a:solidFill>
                <a:prstClr val="black"/>
              </a:solidFill>
            </a:endParaRPr>
          </a:p>
        </p:txBody>
      </p:sp>
    </p:spTree>
    <p:extLst>
      <p:ext uri="{BB962C8B-B14F-4D97-AF65-F5344CB8AC3E}">
        <p14:creationId xmlns:p14="http://schemas.microsoft.com/office/powerpoint/2010/main" val="22748041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 this example, the purple Roundup Ready 2 Xtend soybean field is to be sprayed.  The wind is blowing from east to west and a survey of the area shows that the downwind field is another Roundup Ready 2 Xtend soybean field, so it is okay to spray.  </a:t>
            </a:r>
            <a:endParaRPr lang="en-US" dirty="0">
              <a:cs typeface="Calibri"/>
            </a:endParaRPr>
          </a:p>
          <a:p>
            <a:endParaRPr lang="en-US" dirty="0">
              <a:cs typeface="Calibri"/>
            </a:endParaRPr>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29</a:t>
            </a:fld>
            <a:endParaRPr lang="en-US"/>
          </a:p>
        </p:txBody>
      </p:sp>
    </p:spTree>
    <p:extLst>
      <p:ext uri="{BB962C8B-B14F-4D97-AF65-F5344CB8AC3E}">
        <p14:creationId xmlns:p14="http://schemas.microsoft.com/office/powerpoint/2010/main" val="311272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Dicamba formulations approved for use in the Roundup Ready Xtend Crop System are Restricted Use Pesticides.  Restricted Use Pesticides are for retail sale to and use </a:t>
            </a:r>
            <a:r>
              <a:rPr lang="en-US" sz="1200" b="1" kern="1200" dirty="0">
                <a:solidFill>
                  <a:schemeClr val="tx1"/>
                </a:solidFill>
                <a:effectLst/>
                <a:latin typeface="+mn-lt"/>
                <a:ea typeface="+mn-ea"/>
                <a:cs typeface="+mn-cs"/>
              </a:rPr>
              <a:t>only by Certified Applicators</a:t>
            </a:r>
            <a:r>
              <a:rPr lang="en-US" sz="1200" kern="1200" dirty="0">
                <a:solidFill>
                  <a:schemeClr val="tx1"/>
                </a:solidFill>
                <a:effectLst/>
                <a:latin typeface="+mn-lt"/>
                <a:ea typeface="+mn-ea"/>
                <a:cs typeface="+mn-cs"/>
              </a:rPr>
              <a:t> and only for those uses covered by the Certified Applicator’s certification. These dicamba formulations are </a:t>
            </a:r>
            <a:r>
              <a:rPr lang="x-none" sz="1200" kern="1200" dirty="0">
                <a:solidFill>
                  <a:schemeClr val="tx1"/>
                </a:solidFill>
                <a:effectLst/>
                <a:latin typeface="+mn-lt"/>
                <a:ea typeface="+mn-ea"/>
                <a:cs typeface="+mn-cs"/>
              </a:rPr>
              <a:t>NOT to be used by uncertified persons working under the supervision of a certified applicator, except that uncertified persons may transport containers.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web-based training is </a:t>
            </a:r>
            <a:r>
              <a:rPr lang="en-US" sz="1200" b="1" kern="1200" dirty="0">
                <a:solidFill>
                  <a:schemeClr val="tx1"/>
                </a:solidFill>
                <a:effectLst/>
                <a:latin typeface="+mn-lt"/>
                <a:ea typeface="+mn-ea"/>
                <a:cs typeface="+mn-cs"/>
              </a:rPr>
              <a:t>not</a:t>
            </a:r>
            <a:r>
              <a:rPr lang="en-US" sz="1200" kern="1200" dirty="0">
                <a:solidFill>
                  <a:schemeClr val="tx1"/>
                </a:solidFill>
                <a:effectLst/>
                <a:latin typeface="+mn-lt"/>
                <a:ea typeface="+mn-ea"/>
                <a:cs typeface="+mn-cs"/>
              </a:rPr>
              <a:t> a substitute for the state-specific Certified Applicator training, which is required to purchase and use Restricted Use Pesticid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use of Restricted Use Pesticide products containing dicamba also requires that each applicator complete dicamba-specific applicator training prior to applying this product in the 2021 growing season and each growing season thereafter.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dicamba applicator training is designed to satisfy the federal requirement for mandatory dicamba training.  Certain states require that an applicator complete training by the state for dicamba applications in these states.  This web-based training will not fulfill the required state-specific training, but can be taken as a supplemental 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lease check with the state pesticide regulatory agency where applications will be made for training and application requirements imposed by that state.</a:t>
            </a:r>
          </a:p>
          <a:p>
            <a:endParaRPr lang="en-US" sz="1200" kern="1200" dirty="0">
              <a:solidFill>
                <a:schemeClr val="tx1"/>
              </a:solidFill>
              <a:effectLst/>
              <a:latin typeface="+mn-lt"/>
              <a:ea typeface="+mn-ea"/>
              <a:cs typeface="+mn-cs"/>
            </a:endParaRPr>
          </a:p>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183322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ind direction can change during the application.  In this example the wind has shifted and is now blowing out of the northwest and toward multiple planted fields, including non-dicamba tolerant soybeans.  Because there is a dicamba sensitive crop downwind, the application can not be made at this time.</a:t>
            </a:r>
          </a:p>
          <a:p>
            <a:endParaRPr lang="en-US" dirty="0"/>
          </a:p>
        </p:txBody>
      </p:sp>
      <p:sp>
        <p:nvSpPr>
          <p:cNvPr id="4" name="Slide Number Placeholder 3"/>
          <p:cNvSpPr>
            <a:spLocks noGrp="1"/>
          </p:cNvSpPr>
          <p:nvPr>
            <p:ph type="sldNum" sz="quarter" idx="10"/>
          </p:nvPr>
        </p:nvSpPr>
        <p:spPr/>
        <p:txBody>
          <a:bodyPr/>
          <a:lstStyle/>
          <a:p>
            <a:fld id="{0F27F5C3-8412-45B5-A9CB-4A0EAE6A84CE}" type="slidenum">
              <a:rPr lang="en-US" smtClean="0"/>
              <a:t>30</a:t>
            </a:fld>
            <a:endParaRPr lang="en-US"/>
          </a:p>
        </p:txBody>
      </p:sp>
    </p:spTree>
    <p:extLst>
      <p:ext uri="{BB962C8B-B14F-4D97-AF65-F5344CB8AC3E}">
        <p14:creationId xmlns:p14="http://schemas.microsoft.com/office/powerpoint/2010/main" val="5363172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ce the applicator has determined that there are </a:t>
            </a:r>
            <a:r>
              <a:rPr lang="en-US" sz="1200" u="sng"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adjacent downwind sensitive crops and/or certain plants and that an application can be made, the applicator must consider the placement of the downwind buffer.  A downwind buffer is required for all application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F27F5C3-8412-45B5-A9CB-4A0EAE6A84C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302856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pplicator must always maintain a 240-foot downwind buffer when applying these dicamba products using broadcast open-boom equipment.  The use of qualified Drift Reduction Technology, or DRTs, can reduce downwind buffer requirements to 110 feet.  A list of qualified DRTs is available on the application requirements website for the dicamba product being spray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downwind buffer must be infield unless certain areas exist adjacent to the treated field.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E4473D6B-3915-4F2B-8BE6-176CEDAAC9DD}" type="slidenum">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680174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following areas may be included in the buffer distance composition when directly adjacent and downwind to the treated field edge: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oads, paved or gravel surfaces, mowed grassy areas adjacent to the field, and areas of bare ground from recent plowing or grading that are contiguous with the treated field.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lanted agricultural fields containing: corn, dicamba tolerant cotton, dicamba tolerant soybean, sorghum, </a:t>
            </a:r>
            <a:r>
              <a:rPr lang="en-US" sz="1200" kern="1200" dirty="0" err="1">
                <a:solidFill>
                  <a:schemeClr val="tx1"/>
                </a:solidFill>
                <a:effectLst/>
                <a:latin typeface="+mn-lt"/>
                <a:ea typeface="+mn-ea"/>
                <a:cs typeface="+mn-cs"/>
              </a:rPr>
              <a:t>proso</a:t>
            </a:r>
            <a:r>
              <a:rPr lang="en-US" sz="1200" kern="1200" dirty="0">
                <a:solidFill>
                  <a:schemeClr val="tx1"/>
                </a:solidFill>
                <a:effectLst/>
                <a:latin typeface="+mn-lt"/>
                <a:ea typeface="+mn-ea"/>
                <a:cs typeface="+mn-cs"/>
              </a:rPr>
              <a:t> millet, small grains, sugarcane and other crops for which Dicamba has a post-emergent approved use.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gricultural fields that have been prepared for planting.</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reas covered by the footprint of a building, silo, or other man-made structure with walls and/or roof.</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buffer distance composition may be made up of a combination of the buffer areas.  For example, the buffer composition may consist of 140 feet of infield buffer combined with 100 feet of road and mowed grassy area adjacent to the field. </a:t>
            </a:r>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E4473D6B-3915-4F2B-8BE6-176CEDAAC9DD}" type="slidenum">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232940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is example, the wind is out of the southeast and is blowing toward dicamba tolerant soybeans and corn.  The adjacent 240 feet of these fields may be used as the buffer distance composition, so an infield buffer is not requir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using approved Drift Reduction Technology, the same area could be used for the buffer distance composition, but the required buffer distance could be reduced to 110 feet.</a:t>
            </a:r>
          </a:p>
          <a:p>
            <a:endParaRPr lang="en-US" dirty="0"/>
          </a:p>
        </p:txBody>
      </p:sp>
      <p:sp>
        <p:nvSpPr>
          <p:cNvPr id="4" name="Slide Number Placeholder 3"/>
          <p:cNvSpPr>
            <a:spLocks noGrp="1"/>
          </p:cNvSpPr>
          <p:nvPr>
            <p:ph type="sldNum" sz="quarter" idx="10"/>
          </p:nvPr>
        </p:nvSpPr>
        <p:spPr/>
        <p:txBody>
          <a:bodyPr/>
          <a:lstStyle/>
          <a:p>
            <a:fld id="{0F27F5C3-8412-45B5-A9CB-4A0EAE6A84CE}" type="slidenum">
              <a:rPr lang="en-US" smtClean="0"/>
              <a:t>34</a:t>
            </a:fld>
            <a:endParaRPr lang="en-US"/>
          </a:p>
        </p:txBody>
      </p:sp>
    </p:spTree>
    <p:extLst>
      <p:ext uri="{BB962C8B-B14F-4D97-AF65-F5344CB8AC3E}">
        <p14:creationId xmlns:p14="http://schemas.microsoft.com/office/powerpoint/2010/main" val="13379142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is field, the wind is out of the east.  The adjacent area to the west includes 60 feet of asphalt roadway and mowed ditches, which can be included in the buffer distance composition.  For open boom spray technology, the adjacent 180 feet of dicamba tolerant soybeans can comprise the remainder of the required 240 feet of downwind buffer.  If using Drift Reduction Technology, the adjacent 50 feet of dicamba tolerant soybeans can serve as the remainder of the required 110-foot downwind buff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F27F5C3-8412-45B5-A9CB-4A0EAE6A84CE}" type="slidenum">
              <a:rPr lang="en-US" smtClean="0"/>
              <a:t>35</a:t>
            </a:fld>
            <a:endParaRPr lang="en-US"/>
          </a:p>
        </p:txBody>
      </p:sp>
    </p:spTree>
    <p:extLst>
      <p:ext uri="{BB962C8B-B14F-4D97-AF65-F5344CB8AC3E}">
        <p14:creationId xmlns:p14="http://schemas.microsoft.com/office/powerpoint/2010/main" val="39878459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n important component of these product labels addresses the protection of endangered species. Use of these products in a manner inconsistent with their labeling may pose a hazard to endangered or threatened speci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reas of concern for endangered or threatened species are called Pesticide Use Limitation Areas.  When using these products within Pesticide Use Limitation Areas, the applicator must follow the measures contained in the EPA’s Endangered Species Protection Bulleti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lletins must be obtained no more than six months before using these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nsult the Bulletins Live Two website or call 1-844-447-3813.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applicator must use the Bulletin valid for the month and for the county in which the application will be made.</a:t>
            </a:r>
          </a:p>
          <a:p>
            <a:endParaRPr lang="en-US" dirty="0"/>
          </a:p>
        </p:txBody>
      </p:sp>
      <p:sp>
        <p:nvSpPr>
          <p:cNvPr id="4" name="Slide Number Placeholder 3"/>
          <p:cNvSpPr>
            <a:spLocks noGrp="1"/>
          </p:cNvSpPr>
          <p:nvPr>
            <p:ph type="sldNum" sz="quarter" idx="5"/>
          </p:nvPr>
        </p:nvSpPr>
        <p:spPr/>
        <p:txBody>
          <a:bodyPr/>
          <a:lstStyle/>
          <a:p>
            <a:fld id="{00D93D8F-09B4-4F4D-8A90-74FB0668E0A6}" type="slidenum">
              <a:rPr lang="en-US" smtClean="0"/>
              <a:t>36</a:t>
            </a:fld>
            <a:endParaRPr lang="en-US"/>
          </a:p>
        </p:txBody>
      </p:sp>
    </p:spTree>
    <p:extLst>
      <p:ext uri="{BB962C8B-B14F-4D97-AF65-F5344CB8AC3E}">
        <p14:creationId xmlns:p14="http://schemas.microsoft.com/office/powerpoint/2010/main" val="19612577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obtain a bulletin from the Bulletins Live Two website, begin by locating your field.  You can either manually zoom in to your field or search by entering the field street address or GPS coordinates.</a:t>
            </a:r>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37</a:t>
            </a:fld>
            <a:endParaRPr lang="en-US"/>
          </a:p>
        </p:txBody>
      </p:sp>
    </p:spTree>
    <p:extLst>
      <p:ext uri="{BB962C8B-B14F-4D97-AF65-F5344CB8AC3E}">
        <p14:creationId xmlns:p14="http://schemas.microsoft.com/office/powerpoint/2010/main" val="7169942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f your field is not colored pink, it is not within a Pesticide Use Limitation Area and no additional buffer requirements or application limitations exist with respect to endangered or threatened species.  You do not need to proceed any further on this website, but you must note on your record keeping form the date you consulted the Bulletins Live Two websit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your field is pink, it is within a Pesticide Use Limitation Area.  Click on the area.  </a:t>
            </a:r>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38</a:t>
            </a:fld>
            <a:endParaRPr lang="en-US"/>
          </a:p>
        </p:txBody>
      </p:sp>
    </p:spTree>
    <p:extLst>
      <p:ext uri="{BB962C8B-B14F-4D97-AF65-F5344CB8AC3E}">
        <p14:creationId xmlns:p14="http://schemas.microsoft.com/office/powerpoint/2010/main" val="37040903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 obtain the appropriate bulletin for the application, enter the month in which the application will be made and the product name or registration number. Under the Instructions tab, select the month and the name or registration number of the product you plan to apply. For XtendiMax herbicide with VaporGrip Technology, enter the name of the product or the registration number 264-1210.</a:t>
            </a:r>
            <a:r>
              <a:rPr lang="en-US" sz="1200" b="1"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elect search to proceed. </a:t>
            </a:r>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39</a:t>
            </a:fld>
            <a:endParaRPr lang="en-US"/>
          </a:p>
        </p:txBody>
      </p:sp>
    </p:spTree>
    <p:extLst>
      <p:ext uri="{BB962C8B-B14F-4D97-AF65-F5344CB8AC3E}">
        <p14:creationId xmlns:p14="http://schemas.microsoft.com/office/powerpoint/2010/main" val="1374721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highlight>
                  <a:srgbClr val="FFFF00"/>
                </a:highlight>
                <a:latin typeface="+mn-lt"/>
                <a:ea typeface="+mn-ea"/>
                <a:cs typeface="+mn-cs"/>
              </a:rPr>
              <a:t>This training is provided by Bayer and is designed to fulfill federal label application requirements for all uses of the following formulations of dicamba and any future dicamba products labeled for over the top use in the Roundup Ready Xtend Crop System:</a:t>
            </a:r>
          </a:p>
          <a:p>
            <a:endParaRPr lang="en-US" sz="1200" kern="1200" dirty="0">
              <a:solidFill>
                <a:schemeClr val="tx1"/>
              </a:solidFill>
              <a:effectLst/>
              <a:highlight>
                <a:srgbClr val="FFFF00"/>
              </a:highligh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highlight>
                  <a:srgbClr val="FFFF00"/>
                </a:highlight>
                <a:latin typeface="+mn-lt"/>
                <a:ea typeface="+mn-ea"/>
                <a:cs typeface="+mn-cs"/>
              </a:rPr>
              <a:t>Bayer’s XtendiMax herbicide with VaporGrip Technology</a:t>
            </a:r>
          </a:p>
          <a:p>
            <a:pPr marL="171450" indent="-171450">
              <a:buFont typeface="Arial" panose="020B0604020202020204" pitchFamily="34" charset="0"/>
              <a:buChar char="•"/>
            </a:pPr>
            <a:r>
              <a:rPr lang="en-US" sz="1200" kern="1200" dirty="0">
                <a:solidFill>
                  <a:schemeClr val="tx1"/>
                </a:solidFill>
                <a:effectLst/>
                <a:highlight>
                  <a:srgbClr val="FFFF00"/>
                </a:highlight>
                <a:latin typeface="+mn-lt"/>
                <a:ea typeface="+mn-ea"/>
                <a:cs typeface="+mn-cs"/>
              </a:rPr>
              <a:t>Syngenta’s Tavium Plus VaporGrip Technology herbicide</a:t>
            </a:r>
          </a:p>
          <a:p>
            <a:pPr marL="171450" indent="-171450">
              <a:buFont typeface="Arial" panose="020B0604020202020204" pitchFamily="34" charset="0"/>
              <a:buChar char="•"/>
            </a:pPr>
            <a:r>
              <a:rPr lang="en-US" sz="1200" kern="1200" dirty="0">
                <a:solidFill>
                  <a:schemeClr val="tx1"/>
                </a:solidFill>
                <a:effectLst/>
                <a:highlight>
                  <a:srgbClr val="FFFF00"/>
                </a:highlight>
                <a:latin typeface="+mn-lt"/>
                <a:ea typeface="+mn-ea"/>
                <a:cs typeface="+mn-cs"/>
              </a:rPr>
              <a:t>BASF’s Engenia Herbicide</a:t>
            </a:r>
          </a:p>
          <a:p>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The application requirements in this training apply to all labeled uses of these products. Some information in this training contains direct language from the XtendiMax label. Other product label language may vary. It is important to </a:t>
            </a:r>
            <a:r>
              <a:rPr lang="en-US" sz="1200" b="1" kern="1200" dirty="0">
                <a:solidFill>
                  <a:schemeClr val="tx1"/>
                </a:solidFill>
                <a:effectLst/>
                <a:highlight>
                  <a:srgbClr val="FFFF00"/>
                </a:highlight>
                <a:latin typeface="+mn-lt"/>
                <a:ea typeface="+mn-ea"/>
                <a:cs typeface="+mn-cs"/>
              </a:rPr>
              <a:t>always</a:t>
            </a:r>
            <a:r>
              <a:rPr lang="en-US" sz="1200" kern="1200" dirty="0">
                <a:solidFill>
                  <a:schemeClr val="tx1"/>
                </a:solidFill>
                <a:effectLst/>
                <a:highlight>
                  <a:srgbClr val="FFFF00"/>
                </a:highlight>
                <a:latin typeface="+mn-lt"/>
                <a:ea typeface="+mn-ea"/>
                <a:cs typeface="+mn-cs"/>
              </a:rPr>
              <a:t> read and follow the specific product label for the product you are applying.  Again, the operator of the sprayer applying these products must be a Certified Applicator and must have completed required dicamba applicator training.</a:t>
            </a:r>
          </a:p>
          <a:p>
            <a:endParaRPr lang="en-US" dirty="0">
              <a:solidFill>
                <a:srgbClr val="FF0000"/>
              </a:solidFill>
              <a:highlight>
                <a:srgbClr val="FFFF00"/>
              </a:highlight>
            </a:endParaRPr>
          </a:p>
        </p:txBody>
      </p:sp>
      <p:sp>
        <p:nvSpPr>
          <p:cNvPr id="4" name="Slide Number Placeholder 3"/>
          <p:cNvSpPr>
            <a:spLocks noGrp="1"/>
          </p:cNvSpPr>
          <p:nvPr>
            <p:ph type="sldNum" sz="quarter" idx="10"/>
          </p:nvPr>
        </p:nvSpPr>
        <p:spPr/>
        <p:txBody>
          <a:bodyPr/>
          <a:lstStyle/>
          <a:p>
            <a:fld id="{00D93D8F-09B4-4F4D-8A90-74FB0668E0A6}" type="slidenum">
              <a:rPr lang="en-US" smtClean="0"/>
              <a:t>4</a:t>
            </a:fld>
            <a:endParaRPr lang="en-US"/>
          </a:p>
        </p:txBody>
      </p:sp>
    </p:spTree>
    <p:extLst>
      <p:ext uri="{BB962C8B-B14F-4D97-AF65-F5344CB8AC3E}">
        <p14:creationId xmlns:p14="http://schemas.microsoft.com/office/powerpoint/2010/main" val="25274827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lick the “results” tab and product information and uses will be displayed along with codes and limitations tabl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f your field is within a Pesticide Use Limitation Area, you must follow all the requirements and use limitations lis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website will be updated as additional information is provided to the EPA, and use limitations may change, so it is required that the site be consulted no more than six months before application of these dicamba products.</a:t>
            </a:r>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40</a:t>
            </a:fld>
            <a:endParaRPr lang="en-US"/>
          </a:p>
        </p:txBody>
      </p:sp>
    </p:spTree>
    <p:extLst>
      <p:ext uri="{BB962C8B-B14F-4D97-AF65-F5344CB8AC3E}">
        <p14:creationId xmlns:p14="http://schemas.microsoft.com/office/powerpoint/2010/main" val="1756708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Pesticide Use Limitation Areas require that fields include a 310-foot downwind buffer and a 57-foot omnidirectional buffer on the remaining sides of the field.  If applying these products to dicamba-tolerant soybeans with qualified drift reduction technology, including qualified hooded sprayer, the downwind buffer may be reduced to 240 fee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ertain areas directly adjacent to the treated field exist may be included as part of the buffer distance composition, including the following: </a:t>
            </a:r>
          </a:p>
          <a:p>
            <a:r>
              <a:rPr lang="en-US" sz="1200" kern="1200" dirty="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oads, paved or gravel surfaces, mowed grassy areas adjacent to the field and areas of bare ground from recent plowing or grading that are contiguous with the treated field.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lanted agricultural fields containing dicamba-resistant plantings of cotton and soybea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reas covered by the footprint of a building, silo, or other man-made structure with walls  or a roof.</a:t>
            </a:r>
          </a:p>
          <a:p>
            <a:pPr marL="171450" indent="-171450">
              <a:buFont typeface="Arial"/>
              <a:buChar char="•"/>
            </a:pPr>
            <a:endParaRPr lang="en-US" dirty="0">
              <a:cs typeface="Calibri"/>
            </a:endParaRPr>
          </a:p>
        </p:txBody>
      </p:sp>
      <p:sp>
        <p:nvSpPr>
          <p:cNvPr id="4" name="Slide Number Placeholder 3"/>
          <p:cNvSpPr>
            <a:spLocks noGrp="1"/>
          </p:cNvSpPr>
          <p:nvPr>
            <p:ph type="sldNum" sz="quarter" idx="10"/>
          </p:nvPr>
        </p:nvSpPr>
        <p:spPr/>
        <p:txBody>
          <a:bodyPr/>
          <a:lstStyle/>
          <a:p>
            <a:pPr defTabSz="931774">
              <a:defRPr/>
            </a:pPr>
            <a:fld id="{33C111E1-28BA-4130-B856-7DAB84702943}" type="slidenum">
              <a:rPr lang="en-US" sz="1800" kern="0">
                <a:solidFill>
                  <a:prstClr val="black"/>
                </a:solidFill>
              </a:rPr>
              <a:pPr defTabSz="931774">
                <a:defRPr/>
              </a:pPr>
              <a:t>41</a:t>
            </a:fld>
            <a:endParaRPr lang="en-US" sz="1800" kern="0">
              <a:solidFill>
                <a:prstClr val="black"/>
              </a:solidFill>
            </a:endParaRPr>
          </a:p>
        </p:txBody>
      </p:sp>
    </p:spTree>
    <p:extLst>
      <p:ext uri="{BB962C8B-B14F-4D97-AF65-F5344CB8AC3E}">
        <p14:creationId xmlns:p14="http://schemas.microsoft.com/office/powerpoint/2010/main" val="15573514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kern="1200" dirty="0">
                <a:solidFill>
                  <a:schemeClr val="tx1"/>
                </a:solidFill>
                <a:effectLst/>
                <a:latin typeface="+mn-lt"/>
                <a:ea typeface="+mn-ea"/>
                <a:cs typeface="+mn-cs"/>
              </a:rPr>
              <a:t>This is an example of required buffers where the field is in a county with a Pesticide Use Limitation Area for the use of these products.  The wind is out of the east, so a 310-foot downwind buffer is required on the west side of the sprayed field.  In addition, the omnidirectional 57-foot buffer is required on the remaining sides of the field. </a:t>
            </a:r>
          </a:p>
          <a:p>
            <a:pPr fontAlgn="base"/>
            <a:endParaRPr lang="en-US" sz="1200" kern="1200" dirty="0">
              <a:solidFill>
                <a:schemeClr val="tx1"/>
              </a:solidFill>
              <a:effectLst/>
              <a:latin typeface="+mn-lt"/>
              <a:ea typeface="+mn-ea"/>
              <a:cs typeface="+mn-cs"/>
            </a:endParaRPr>
          </a:p>
          <a:p>
            <a:pPr fontAlgn="base"/>
            <a:r>
              <a:rPr lang="en-US" sz="1200" kern="1200" dirty="0">
                <a:solidFill>
                  <a:schemeClr val="tx1"/>
                </a:solidFill>
                <a:effectLst/>
                <a:latin typeface="+mn-lt"/>
                <a:ea typeface="+mn-ea"/>
                <a:cs typeface="+mn-cs"/>
              </a:rPr>
              <a:t>The downwind buffer is in the adjacent field of Roundup Ready 2 Xtend Soybeans, which is an area that can be used as buffer.  The remaining omnidirectional buffers are within the sprayed field since the adjacent fields do not contain crops that can be used as buffer in a Pesticide Use Limitation Area.  </a:t>
            </a:r>
          </a:p>
          <a:p>
            <a:endParaRPr lang="en-US" dirty="0"/>
          </a:p>
        </p:txBody>
      </p:sp>
      <p:sp>
        <p:nvSpPr>
          <p:cNvPr id="4" name="Slide Number Placeholder 3"/>
          <p:cNvSpPr>
            <a:spLocks noGrp="1"/>
          </p:cNvSpPr>
          <p:nvPr>
            <p:ph type="sldNum" sz="quarter" idx="10"/>
          </p:nvPr>
        </p:nvSpPr>
        <p:spPr/>
        <p:txBody>
          <a:bodyPr/>
          <a:lstStyle/>
          <a:p>
            <a:fld id="{0F27F5C3-8412-45B5-A9CB-4A0EAE6A84CE}" type="slidenum">
              <a:rPr lang="en-US" smtClean="0"/>
              <a:t>42</a:t>
            </a:fld>
            <a:endParaRPr lang="en-US"/>
          </a:p>
        </p:txBody>
      </p:sp>
    </p:spTree>
    <p:extLst>
      <p:ext uri="{BB962C8B-B14F-4D97-AF65-F5344CB8AC3E}">
        <p14:creationId xmlns:p14="http://schemas.microsoft.com/office/powerpoint/2010/main" val="8348102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kern="1200" dirty="0">
                <a:solidFill>
                  <a:schemeClr val="tx1"/>
                </a:solidFill>
                <a:effectLst/>
                <a:latin typeface="+mn-lt"/>
                <a:ea typeface="+mn-ea"/>
                <a:cs typeface="+mn-cs"/>
              </a:rPr>
              <a:t>In this example, the wind is out of the north, so a 310-foot downwind buffer is required on the south side of the field with 57-foot omnidirectional buffers required on the remaining sides.  </a:t>
            </a:r>
          </a:p>
          <a:p>
            <a:pPr fontAlgn="base"/>
            <a:endParaRPr lang="en-US" sz="1200" kern="1200" dirty="0">
              <a:solidFill>
                <a:schemeClr val="tx1"/>
              </a:solidFill>
              <a:effectLst/>
              <a:latin typeface="+mn-lt"/>
              <a:ea typeface="+mn-ea"/>
              <a:cs typeface="+mn-cs"/>
            </a:endParaRPr>
          </a:p>
          <a:p>
            <a:pPr fontAlgn="base"/>
            <a:r>
              <a:rPr lang="en-US" sz="1200" kern="1200" dirty="0">
                <a:solidFill>
                  <a:schemeClr val="tx1"/>
                </a:solidFill>
                <a:effectLst/>
                <a:latin typeface="+mn-lt"/>
                <a:ea typeface="+mn-ea"/>
                <a:cs typeface="+mn-cs"/>
              </a:rPr>
              <a:t>To the west, the neighboring Roundup Ready 2 Xtend Soybean field can be used for the  buffer. The buffers on the remaining sides of the field must be in the sprayed field.</a:t>
            </a:r>
          </a:p>
          <a:p>
            <a:endParaRPr lang="en-US" dirty="0"/>
          </a:p>
        </p:txBody>
      </p:sp>
      <p:sp>
        <p:nvSpPr>
          <p:cNvPr id="4" name="Slide Number Placeholder 3"/>
          <p:cNvSpPr>
            <a:spLocks noGrp="1"/>
          </p:cNvSpPr>
          <p:nvPr>
            <p:ph type="sldNum" sz="quarter" idx="10"/>
          </p:nvPr>
        </p:nvSpPr>
        <p:spPr/>
        <p:txBody>
          <a:bodyPr/>
          <a:lstStyle/>
          <a:p>
            <a:fld id="{0F27F5C3-8412-45B5-A9CB-4A0EAE6A84CE}" type="slidenum">
              <a:rPr lang="en-US" smtClean="0"/>
              <a:t>43</a:t>
            </a:fld>
            <a:endParaRPr lang="en-US"/>
          </a:p>
        </p:txBody>
      </p:sp>
    </p:spTree>
    <p:extLst>
      <p:ext uri="{BB962C8B-B14F-4D97-AF65-F5344CB8AC3E}">
        <p14:creationId xmlns:p14="http://schemas.microsoft.com/office/powerpoint/2010/main" val="4651384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As cases of weed resistance to herbicides continue to escalate, it is critical that strategies be implemented to delay further resistance development.  Effective strategies will extend the usefulness of currently effective herbicides and extend options for effective weed control program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F27F5C3-8412-45B5-A9CB-4A0EAE6A84C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420636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hile dicamba provides excellent broadleaf weed control, a long-term strategy is required for effective weed resistance management.  This includes a multi-year approach that encompasses knowing existing resistance and the inclusion of crop rotation so that alternative herbicide programs are used. </a:t>
            </a:r>
          </a:p>
          <a:p>
            <a:r>
              <a:rPr lang="en-US" sz="1200" b="0" kern="1200" dirty="0">
                <a:solidFill>
                  <a:schemeClr val="tx1"/>
                </a:solidFill>
                <a:effectLst/>
                <a:latin typeface="+mn-lt"/>
                <a:ea typeface="+mn-ea"/>
                <a:cs typeface="+mn-cs"/>
              </a:rPr>
              <a:t> </a:t>
            </a:r>
          </a:p>
          <a:p>
            <a:r>
              <a:rPr lang="en-US" sz="1200" b="0" kern="1200" dirty="0">
                <a:solidFill>
                  <a:schemeClr val="tx1"/>
                </a:solidFill>
                <a:effectLst/>
                <a:latin typeface="+mn-lt"/>
                <a:ea typeface="+mn-ea"/>
                <a:cs typeface="+mn-cs"/>
              </a:rPr>
              <a:t>Effective herbicide resistance management combines both cultural and herbicide options for weed control and include the following actions:</a:t>
            </a:r>
          </a:p>
          <a:p>
            <a:r>
              <a:rPr lang="en-US" sz="1200" b="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Proper scouting before application is needed to identify weeds present and to time treatments when weeds are at the appropriate size.  Scout after application to determine the effectiveness of the treatment and plan mitigating measures for any uncontrolled weed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rbicide programs need to include multiple sites of action and timely overlapping residuals used at the recommended rat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stemergence herbicides like dicamba are most effective when applied at the recommended rate to weeds that are 4-inches tall or les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67629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doption of certain cultural practices may enhance weed managemen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rop rotation provides increased herbicide options.  In addition, alternative crops may provide increased competition for light and moisture, reducing weed pressur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use of cover crops and crop residue has been shown to be effective for delaying the emergence of weeds while improving soil health.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arrower row spacings can provide more rapid canopy closure, shading the soil and increasing crop competi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effective pest management aids in healthy crop growth, which enables better crop competition that suppresses weed growth.</a:t>
            </a:r>
          </a:p>
          <a:p>
            <a:r>
              <a:rPr lang="en-US" sz="1200" kern="1200" dirty="0">
                <a:effectLst/>
                <a:latin typeface="+mn-lt"/>
                <a:ea typeface="+mn-ea"/>
                <a:cs typeface="+mn-cs"/>
              </a:rPr>
              <a:t> </a:t>
            </a:r>
            <a:endParaRPr lang="en-US" sz="1200" kern="1200" dirty="0">
              <a:latin typeface="+mn-lt"/>
              <a:cs typeface="Calibri"/>
            </a:endParaRPr>
          </a:p>
          <a:p>
            <a:r>
              <a:rPr lang="en-US" sz="1200" kern="1200" dirty="0">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2482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Proactively implementing diversified weed control strategies to minimize selection for weed populations resistant to one or more herbicides is a best practice. A diversified weed management program should include the use of herbicides with different sites of action that are all effective against the most troublesome weed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hen practical, multiple sites of action should be used in both the pre and post herbicide application timing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For more information and educational resources designed to help manage herbicide resistance and adopt good weed management practices, go to the United Soybean Board’s Take Action Herbicide-Resistance Management website at iwilltakeaction.com</a:t>
            </a:r>
          </a:p>
          <a:p>
            <a:endParaRPr lang="en-US"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149170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y is it so critical to have a diversified weed management program?  Many weed species have become resistant to multiple sites of action, as shown in this common waterhemp example. Not only is common waterhemp a prolific seed producer, but it has shown resistance to six sites of action. This leaves only a few herbicides that will control this weed speci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resistance to dicamba is suspected, weed escapes should be treated with an herbicide having a site of action other than Group 4, removed using non-chemical methods, or both to remove the escapes.  The goal is to prevent reproduction of the escaped weeds to mitigate the spread of herbicide-resistant weed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dditionally, the use of cultural control methods is important in a weed management program to delay development or spread of resistant weed biotype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b="1" dirty="0"/>
              <a:t>NOTE:  hide this slide if presenting is an area where Palmer amaranth is prominent.  </a:t>
            </a:r>
          </a:p>
        </p:txBody>
      </p:sp>
      <p:sp>
        <p:nvSpPr>
          <p:cNvPr id="4" name="Slide Number Placeholder 3"/>
          <p:cNvSpPr>
            <a:spLocks noGrp="1"/>
          </p:cNvSpPr>
          <p:nvPr>
            <p:ph type="sldNum" sz="quarter" idx="5"/>
          </p:nvPr>
        </p:nvSpPr>
        <p:spPr/>
        <p:txBody>
          <a:bodyPr/>
          <a:lstStyle/>
          <a:p>
            <a:fld id="{00D93D8F-09B4-4F4D-8A90-74FB0668E0A6}" type="slidenum">
              <a:rPr lang="en-US" smtClean="0"/>
              <a:t>48</a:t>
            </a:fld>
            <a:endParaRPr lang="en-US"/>
          </a:p>
        </p:txBody>
      </p:sp>
    </p:spTree>
    <p:extLst>
      <p:ext uri="{BB962C8B-B14F-4D97-AF65-F5344CB8AC3E}">
        <p14:creationId xmlns:p14="http://schemas.microsoft.com/office/powerpoint/2010/main" val="19767062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y is it so critical to have a diversified weed management program?  Many weed species have become resistant to multiple sites of action, as shown in this Palmer amaranth example. Not only is Palmer amaranth a prolific seed producer, but it has shown resistance to six sites of action. This leaves only a few herbicides that will control this speci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resistance to dicamba is suspected, weed escapes should be treated with an herbicide having a site of action other than Group 4, removed using non-chemical methods, or both.  The goal is to prevent reproduction of the escaped weeds to mitigate the spread of herbicide-resistant weed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OTE:  hide this slide if presenting is an area where common waterhemp is prominent.  </a:t>
            </a:r>
          </a:p>
          <a:p>
            <a:endParaRPr lang="en-US" b="1" dirty="0"/>
          </a:p>
          <a:p>
            <a:endParaRPr lang="en-US" b="1" dirty="0"/>
          </a:p>
          <a:p>
            <a:endParaRPr lang="en-US" b="1" dirty="0"/>
          </a:p>
          <a:p>
            <a:endParaRPr lang="en-US" b="1" dirty="0"/>
          </a:p>
          <a:p>
            <a:endParaRPr lang="en-US" b="1" dirty="0"/>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49</a:t>
            </a:fld>
            <a:endParaRPr lang="en-US"/>
          </a:p>
        </p:txBody>
      </p:sp>
    </p:spTree>
    <p:extLst>
      <p:ext uri="{BB962C8B-B14F-4D97-AF65-F5344CB8AC3E}">
        <p14:creationId xmlns:p14="http://schemas.microsoft.com/office/powerpoint/2010/main" val="4111360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F27F5C3-8412-45B5-A9CB-4A0EAE6A84CE}" type="slidenum">
              <a:rPr lang="en-US" smtClean="0"/>
              <a:t>5</a:t>
            </a:fld>
            <a:endParaRPr lang="en-US"/>
          </a:p>
        </p:txBody>
      </p:sp>
    </p:spTree>
    <p:extLst>
      <p:ext uri="{BB962C8B-B14F-4D97-AF65-F5344CB8AC3E}">
        <p14:creationId xmlns:p14="http://schemas.microsoft.com/office/powerpoint/2010/main" val="7487024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Dicamba has both pre and post weed control activity, but the primary use is as a postemergence treatment. For these dicamba products, post applications should be made when the weeds are 4 inches or less in size.  For optimum effectiveness of any herbicide, applications should follow label recommendations for weed height. </a:t>
            </a:r>
            <a:endParaRPr lang="en-US" dirty="0"/>
          </a:p>
        </p:txBody>
      </p:sp>
      <p:sp>
        <p:nvSpPr>
          <p:cNvPr id="4" name="Slide Number Placeholder 3"/>
          <p:cNvSpPr>
            <a:spLocks noGrp="1"/>
          </p:cNvSpPr>
          <p:nvPr>
            <p:ph type="sldNum" sz="quarter" idx="10"/>
          </p:nvPr>
        </p:nvSpPr>
        <p:spPr/>
        <p:txBody>
          <a:bodyPr/>
          <a:lstStyle/>
          <a:p>
            <a:fld id="{C5D1FF63-8501-404E-B5FF-01858AFDFCFA}" type="slidenum">
              <a:rPr lang="en-US" smtClean="0"/>
              <a:t>50</a:t>
            </a:fld>
            <a:endParaRPr lang="en-US"/>
          </a:p>
        </p:txBody>
      </p:sp>
    </p:spTree>
    <p:extLst>
      <p:ext uri="{BB962C8B-B14F-4D97-AF65-F5344CB8AC3E}">
        <p14:creationId xmlns:p14="http://schemas.microsoft.com/office/powerpoint/2010/main" val="35662874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pplications of these dicamba products provide best performance when used at the labeled rate of one-half pound acid equivalent per acre. Consult the specific product label for the product volume that will deliver this rat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ll of these products require the addition of an approved VRA. An approved DRA is also required unless otherwise indicated on the product application websit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Weeds are best controlled when they are actively growing, less than 4-iches tall and not under drought or cold stress. Rainfall within 4 hours of application may reduce effectiveness by washing the herbicide off the weed foliage.</a:t>
            </a:r>
            <a:endParaRPr lang="en-US" dirty="0"/>
          </a:p>
        </p:txBody>
      </p:sp>
      <p:sp>
        <p:nvSpPr>
          <p:cNvPr id="4" name="Slide Number Placeholder 3"/>
          <p:cNvSpPr>
            <a:spLocks noGrp="1"/>
          </p:cNvSpPr>
          <p:nvPr>
            <p:ph type="sldNum" sz="quarter" idx="10"/>
          </p:nvPr>
        </p:nvSpPr>
        <p:spPr/>
        <p:txBody>
          <a:bodyPr/>
          <a:lstStyle/>
          <a:p>
            <a:fld id="{33C111E1-28BA-4130-B856-7DAB84702943}" type="slidenum">
              <a:rPr lang="en-US" smtClean="0"/>
              <a:t>51</a:t>
            </a:fld>
            <a:endParaRPr lang="en-US"/>
          </a:p>
        </p:txBody>
      </p:sp>
    </p:spTree>
    <p:extLst>
      <p:ext uri="{BB962C8B-B14F-4D97-AF65-F5344CB8AC3E}">
        <p14:creationId xmlns:p14="http://schemas.microsoft.com/office/powerpoint/2010/main" val="42262630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pplication pressure influences both the spray droplet size and the spray pattern. It is recommended that a higher pressure within the recommended range be used when spraying dicamba to get full coverage of the herbicide on weeds.   </a:t>
            </a:r>
          </a:p>
          <a:p>
            <a:pPr marL="0" indent="0">
              <a:buFont typeface="Arial"/>
              <a:buNone/>
            </a:pPr>
            <a:r>
              <a:rPr lang="en-US" dirty="0">
                <a:cs typeface="Calibri"/>
              </a:rPr>
              <a:t> </a:t>
            </a:r>
          </a:p>
        </p:txBody>
      </p:sp>
      <p:sp>
        <p:nvSpPr>
          <p:cNvPr id="4" name="Slide Number Placeholder 3"/>
          <p:cNvSpPr>
            <a:spLocks noGrp="1"/>
          </p:cNvSpPr>
          <p:nvPr>
            <p:ph type="sldNum" sz="quarter" idx="10"/>
          </p:nvPr>
        </p:nvSpPr>
        <p:spPr/>
        <p:txBody>
          <a:bodyPr/>
          <a:lstStyle/>
          <a:p>
            <a:pPr defTabSz="949478">
              <a:defRPr/>
            </a:pPr>
            <a:fld id="{33C111E1-28BA-4130-B856-7DAB84702943}" type="slidenum">
              <a:rPr lang="en-US" sz="1800" kern="0">
                <a:solidFill>
                  <a:sysClr val="windowText" lastClr="000000"/>
                </a:solidFill>
                <a:latin typeface="Calibri" panose="020F0502020204030204"/>
              </a:rPr>
              <a:pPr defTabSz="949478">
                <a:defRPr/>
              </a:pPr>
              <a:t>52</a:t>
            </a:fld>
            <a:endParaRPr lang="en-US" sz="1800" kern="0">
              <a:solidFill>
                <a:sysClr val="windowText" lastClr="000000"/>
              </a:solidFill>
              <a:latin typeface="Calibri" panose="020F0502020204030204"/>
            </a:endParaRPr>
          </a:p>
        </p:txBody>
      </p:sp>
    </p:spTree>
    <p:extLst>
      <p:ext uri="{BB962C8B-B14F-4D97-AF65-F5344CB8AC3E}">
        <p14:creationId xmlns:p14="http://schemas.microsoft.com/office/powerpoint/2010/main" val="40891901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ew for 2021, the cutoff dates for making approved dicamba applications on Roundup Ready 2 Xtend Technology or XtendFlex Technology are June 30 for soybeans and July 30 for cott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use rate for a single application is 0.5 pounds acid equivalent per acre for both pre and post emergence applications. A maximum of two applications can be used pre and two applications post emergence with a maximum seasonal use rate of 2 pounds acid equivalent per acr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fer to specific product labels for rates and growth-stage limit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9942197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at might an effective weed management program look like?  This example demonstrates the principles of effective weed management in soybea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art with a weed-free field at planting, which can be achieved using tillage or burndown herbicides, such as Roundup </a:t>
            </a:r>
            <a:r>
              <a:rPr lang="en-US" sz="1200" kern="1200" dirty="0" err="1">
                <a:solidFill>
                  <a:schemeClr val="tx1"/>
                </a:solidFill>
                <a:effectLst/>
                <a:latin typeface="+mn-lt"/>
                <a:ea typeface="+mn-ea"/>
                <a:cs typeface="+mn-cs"/>
              </a:rPr>
              <a:t>PowerMAX</a:t>
            </a:r>
            <a:r>
              <a:rPr lang="en-US" sz="1200" kern="1200" dirty="0">
                <a:solidFill>
                  <a:schemeClr val="tx1"/>
                </a:solidFill>
                <a:effectLst/>
                <a:latin typeface="+mn-lt"/>
                <a:ea typeface="+mn-ea"/>
                <a:cs typeface="+mn-cs"/>
              </a:rPr>
              <a:t> and one of the approved dicamba forma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se a residual herbicides such as Warrant, Valor or Fierce applied preemergence to the crop and weed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irst postemergence treatment of Roundup PowerMax and an approved dicamba formulation should be applied no later than 20 to 30 days after the pre-treatment to control weeds that are 4 inches or less in size. A second overlapping residual herbicide should also be applied at this time.</a:t>
            </a:r>
          </a:p>
          <a:p>
            <a:endParaRPr lang="en-US" sz="1200" kern="1200" dirty="0">
              <a:solidFill>
                <a:schemeClr val="tx1"/>
              </a:solidFill>
              <a:effectLst/>
              <a:latin typeface="+mn-lt"/>
              <a:ea typeface="+mn-ea"/>
              <a:cs typeface="+mn-cs"/>
            </a:endParaRPr>
          </a:p>
          <a:p>
            <a:r>
              <a:rPr lang="en-US" b="1" dirty="0"/>
              <a:t>Hide this slide if not in a soybean growing region</a:t>
            </a:r>
          </a:p>
          <a:p>
            <a:endParaRPr lang="en-US" dirty="0">
              <a:cs typeface="Calibri"/>
            </a:endParaRPr>
          </a:p>
          <a:p>
            <a:r>
              <a:rPr lang="en-US" dirty="0"/>
              <a:t> </a:t>
            </a:r>
            <a:endParaRPr lang="en-US" dirty="0">
              <a:cs typeface="Calibri"/>
            </a:endParaRPr>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54</a:t>
            </a:fld>
            <a:endParaRPr lang="en-US"/>
          </a:p>
        </p:txBody>
      </p:sp>
    </p:spTree>
    <p:extLst>
      <p:ext uri="{BB962C8B-B14F-4D97-AF65-F5344CB8AC3E}">
        <p14:creationId xmlns:p14="http://schemas.microsoft.com/office/powerpoint/2010/main" val="18914065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at might an effective weed management program look like in XtendFlex Soybeans?  This example demonstrates the principles of effective weed management in soybea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art with a weed-free field at planting, which can be achieved using tillage or burndown herbicides, such as Roundup </a:t>
            </a:r>
            <a:r>
              <a:rPr lang="en-US" sz="1200" kern="1200" dirty="0" err="1">
                <a:solidFill>
                  <a:schemeClr val="tx1"/>
                </a:solidFill>
                <a:effectLst/>
                <a:latin typeface="+mn-lt"/>
                <a:ea typeface="+mn-ea"/>
                <a:cs typeface="+mn-cs"/>
              </a:rPr>
              <a:t>PowerMAX</a:t>
            </a:r>
            <a:r>
              <a:rPr lang="en-US" sz="1200" kern="1200" dirty="0">
                <a:solidFill>
                  <a:schemeClr val="tx1"/>
                </a:solidFill>
                <a:effectLst/>
                <a:latin typeface="+mn-lt"/>
                <a:ea typeface="+mn-ea"/>
                <a:cs typeface="+mn-cs"/>
              </a:rPr>
              <a:t> and one of the approved dicamba forma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se a residual herbicides such as Warrant, Valor or Fierce applied preemergence to the crop and weed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irst postemergence treatment of Roundup PowerMax and an approved dicamba formulation should be applied no later than 20 to 30 days after the pre-treatment to control weeds that are 4 inches or less in size. A second overlapping residual herbicide should also be applied at this tim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iberty herbicide is an option for post control in XtendFlex soybeans and cotton.</a:t>
            </a:r>
          </a:p>
          <a:p>
            <a:endParaRPr lang="en-US" sz="1200" kern="1200" dirty="0">
              <a:solidFill>
                <a:schemeClr val="tx1"/>
              </a:solidFill>
              <a:effectLst/>
              <a:latin typeface="+mn-lt"/>
              <a:ea typeface="+mn-ea"/>
              <a:cs typeface="+mn-cs"/>
            </a:endParaRPr>
          </a:p>
          <a:p>
            <a:r>
              <a:rPr lang="en-US" b="1" dirty="0"/>
              <a:t>Hide this slide if not in a soybean growing region</a:t>
            </a:r>
          </a:p>
          <a:p>
            <a:endParaRPr lang="en-US" dirty="0">
              <a:cs typeface="Calibri"/>
            </a:endParaRPr>
          </a:p>
          <a:p>
            <a:r>
              <a:rPr lang="en-US" dirty="0"/>
              <a:t> </a:t>
            </a:r>
            <a:endParaRPr lang="en-US" dirty="0">
              <a:cs typeface="Calibri"/>
            </a:endParaRPr>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55</a:t>
            </a:fld>
            <a:endParaRPr lang="en-US"/>
          </a:p>
        </p:txBody>
      </p:sp>
    </p:spTree>
    <p:extLst>
      <p:ext uri="{BB962C8B-B14F-4D97-AF65-F5344CB8AC3E}">
        <p14:creationId xmlns:p14="http://schemas.microsoft.com/office/powerpoint/2010/main" val="331167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de if not in a cotton growing region</a:t>
            </a:r>
          </a:p>
          <a:p>
            <a:endParaRPr lang="en-US" dirty="0">
              <a:cs typeface="Calibri"/>
            </a:endParaRPr>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56</a:t>
            </a:fld>
            <a:endParaRPr lang="en-US"/>
          </a:p>
        </p:txBody>
      </p:sp>
    </p:spTree>
    <p:extLst>
      <p:ext uri="{BB962C8B-B14F-4D97-AF65-F5344CB8AC3E}">
        <p14:creationId xmlns:p14="http://schemas.microsoft.com/office/powerpoint/2010/main" val="11722819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ed control in the in-field buffer areas are unique to each situation depending on the crop, adjacent crops and surrounding non-crop area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lufosinate is an option in XtendFlex cotton or XtendFlex soybea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sing higher labeled rates of residual herbicides with multiple sites of action could provide weed control</a:t>
            </a:r>
            <a:r>
              <a:rPr lang="en-US" sz="1200" u="sng"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but must be implemented early in the seas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other option might be to wait until wind direction changes for XtendiMax herbicide with VaporGrip Technology application in the downwind buffer area.</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recommend contacting your technical or sales representatives for local recommendations specific to your situation.</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66804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you have weed escapes, off target movement or a crop response after an application of these dicamba products, contact the appropriate company for follow-up action. An example would be the 1-844-RRXTEND number for XtendiMax herbicide with VaporGrip Technology from Bayer. If you have questions about the buffer requirement or need information about the sensitive crop registries, you can get that information at these same number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C111E1-28BA-4130-B856-7DAB8470294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9922965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FINAL SLIDE – Slide that allows user to enter name, state of application and email address and click send</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completes the Bayer-provided dicamba application requirements training.  Follow the instructions on the screen to print the documentation that you have completed this training.  Please retain your documentation with your spray record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nk you for your time and dedication to the proper application and stewardship of these and all agricultural technologies.</a:t>
            </a:r>
          </a:p>
          <a:p>
            <a:endParaRPr lang="en-US" dirty="0"/>
          </a:p>
        </p:txBody>
      </p:sp>
      <p:sp>
        <p:nvSpPr>
          <p:cNvPr id="4" name="Slide Number Placeholder 3"/>
          <p:cNvSpPr>
            <a:spLocks noGrp="1"/>
          </p:cNvSpPr>
          <p:nvPr>
            <p:ph type="sldNum" sz="quarter" idx="5"/>
          </p:nvPr>
        </p:nvSpPr>
        <p:spPr/>
        <p:txBody>
          <a:bodyPr/>
          <a:lstStyle/>
          <a:p>
            <a:fld id="{00D93D8F-09B4-4F4D-8A90-74FB0668E0A6}" type="slidenum">
              <a:rPr lang="en-US" smtClean="0"/>
              <a:t>59</a:t>
            </a:fld>
            <a:endParaRPr lang="en-US"/>
          </a:p>
        </p:txBody>
      </p:sp>
    </p:spTree>
    <p:extLst>
      <p:ext uri="{BB962C8B-B14F-4D97-AF65-F5344CB8AC3E}">
        <p14:creationId xmlns:p14="http://schemas.microsoft.com/office/powerpoint/2010/main" val="2338239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pic areas within this training include:</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Label Requirements</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Keeping Pesticides on-target</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Weed Resistance Management</a:t>
            </a:r>
            <a:endParaRPr lang="en-US" sz="11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0D93D8F-09B4-4F4D-8A90-74FB0668E0A6}" type="slidenum">
              <a:rPr lang="en-US" smtClean="0"/>
              <a:t>6</a:t>
            </a:fld>
            <a:endParaRPr lang="en-US"/>
          </a:p>
        </p:txBody>
      </p:sp>
    </p:spTree>
    <p:extLst>
      <p:ext uri="{BB962C8B-B14F-4D97-AF65-F5344CB8AC3E}">
        <p14:creationId xmlns:p14="http://schemas.microsoft.com/office/powerpoint/2010/main" val="278781583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D93D8F-09B4-4F4D-8A90-74FB0668E0A6}" type="slidenum">
              <a:rPr lang="en-US" smtClean="0"/>
              <a:t>61</a:t>
            </a:fld>
            <a:endParaRPr lang="en-US"/>
          </a:p>
        </p:txBody>
      </p:sp>
    </p:spTree>
    <p:extLst>
      <p:ext uri="{BB962C8B-B14F-4D97-AF65-F5344CB8AC3E}">
        <p14:creationId xmlns:p14="http://schemas.microsoft.com/office/powerpoint/2010/main" val="5116938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D93D8F-09B4-4F4D-8A90-74FB0668E0A6}" type="slidenum">
              <a:rPr lang="en-US" smtClean="0"/>
              <a:t>90</a:t>
            </a:fld>
            <a:endParaRPr lang="en-US"/>
          </a:p>
        </p:txBody>
      </p:sp>
    </p:spTree>
    <p:extLst>
      <p:ext uri="{BB962C8B-B14F-4D97-AF65-F5344CB8AC3E}">
        <p14:creationId xmlns:p14="http://schemas.microsoft.com/office/powerpoint/2010/main" val="2453575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following highlighted restrictions are requirements of the label:</a:t>
            </a: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o not apply these products aerially.</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o not apply through any type of irrigation equipment.  Do not treat irrigation ditches or water used for crop irrigation or domestic purpos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o not apply to crops under stress due to lack of moisture, hail damage, flooding, herbicide injury, mechanical injury, insects, or widely fluctuating temperatures, as crop injury may resul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o not tank mix with products not found on the application requirements websit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o not apply without including a required drift reduction adjuvant (DRA) and volatility reduction adjuvant (VRA) as listed on the application requirements website.</a:t>
            </a:r>
          </a:p>
          <a:p>
            <a:pPr marL="171450" indent="-171450" fontAlgn="base">
              <a:buFont typeface="Arial" panose="020B0604020202020204" pitchFamily="34" charset="0"/>
              <a:buChar char="•"/>
            </a:pPr>
            <a:r>
              <a:rPr lang="en-US" sz="1200" kern="1200" dirty="0">
                <a:solidFill>
                  <a:schemeClr val="tx1"/>
                </a:solidFill>
                <a:effectLst/>
                <a:latin typeface="+mn-lt"/>
                <a:ea typeface="+mn-ea"/>
                <a:cs typeface="+mn-cs"/>
              </a:rPr>
              <a:t>Do not tank mix with products containing ammonium sulfate (AMS).  AMS can greatly increase the volatility potential of dicamba, even in small quantiti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o not make applications of these products if rain that may exceed soil field capacity and may result in soil runoff is expected within 48 hours.  This restriction is to avoid potential dicamba runoff when excessive rain may occur.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o not apply these products after June 30 in dicamba-tolerant soybeans or July 30 in dicamba-tolerant cotton.  </a:t>
            </a:r>
          </a:p>
          <a:p>
            <a:endParaRPr lang="en-US" dirty="0"/>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E4473D6B-3915-4F2B-8BE6-176CEDAAC9DD}" type="slidenum">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07409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F27F5C3-8412-45B5-A9CB-4A0EAE6A84C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57618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D93D8F-09B4-4F4D-8A90-74FB0668E0A6}" type="slidenum">
              <a:rPr lang="en-US" smtClean="0"/>
              <a:t>9</a:t>
            </a:fld>
            <a:endParaRPr lang="en-US"/>
          </a:p>
        </p:txBody>
      </p:sp>
    </p:spTree>
    <p:extLst>
      <p:ext uri="{BB962C8B-B14F-4D97-AF65-F5344CB8AC3E}">
        <p14:creationId xmlns:p14="http://schemas.microsoft.com/office/powerpoint/2010/main" val="38709124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chart" Target="../charts/chart1.xml"/><Relationship Id="rId1" Type="http://schemas.openxmlformats.org/officeDocument/2006/relationships/slideMaster" Target="../slideMasters/slideMaster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1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5.emf"/><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C2968A9-0D6D-412B-93F6-3D74AF94AC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57"/>
            <a:ext cx="12192000" cy="6856286"/>
          </a:xfrm>
          <a:prstGeom prst="rect">
            <a:avLst/>
          </a:prstGeom>
        </p:spPr>
      </p:pic>
      <p:sp>
        <p:nvSpPr>
          <p:cNvPr id="9" name="Rectangle 8">
            <a:extLst>
              <a:ext uri="{FF2B5EF4-FFF2-40B4-BE49-F238E27FC236}">
                <a16:creationId xmlns:a16="http://schemas.microsoft.com/office/drawing/2014/main" id="{C7626B45-61FA-48C3-AC00-6968D97BD562}"/>
              </a:ext>
            </a:extLst>
          </p:cNvPr>
          <p:cNvSpPr/>
          <p:nvPr/>
        </p:nvSpPr>
        <p:spPr>
          <a:xfrm>
            <a:off x="-1" y="2655218"/>
            <a:ext cx="12191204" cy="4202782"/>
          </a:xfrm>
          <a:prstGeom prst="rect">
            <a:avLst/>
          </a:prstGeom>
          <a:gradFill>
            <a:gsLst>
              <a:gs pos="0">
                <a:schemeClr val="tx1">
                  <a:alpha val="0"/>
                </a:schemeClr>
              </a:gs>
              <a:gs pos="100000">
                <a:schemeClr val="tx1">
                  <a:alpha val="6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10" name="Rectangle 9">
            <a:extLst>
              <a:ext uri="{FF2B5EF4-FFF2-40B4-BE49-F238E27FC236}">
                <a16:creationId xmlns:a16="http://schemas.microsoft.com/office/drawing/2014/main" id="{1ACF09F9-0883-45CA-8585-5A252A805EAF}"/>
              </a:ext>
            </a:extLst>
          </p:cNvPr>
          <p:cNvSpPr/>
          <p:nvPr/>
        </p:nvSpPr>
        <p:spPr>
          <a:xfrm>
            <a:off x="2301789" y="3143202"/>
            <a:ext cx="7150683" cy="2671735"/>
          </a:xfrm>
          <a:prstGeom prst="rect">
            <a:avLst/>
          </a:prstGeom>
          <a:solidFill>
            <a:srgbClr val="4B1D3F">
              <a:alpha val="65000"/>
            </a:srgb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11" name="Rectangle 10">
            <a:extLst>
              <a:ext uri="{FF2B5EF4-FFF2-40B4-BE49-F238E27FC236}">
                <a16:creationId xmlns:a16="http://schemas.microsoft.com/office/drawing/2014/main" id="{3BE3840F-7595-4709-9E2C-B707F62D9FEE}"/>
              </a:ext>
            </a:extLst>
          </p:cNvPr>
          <p:cNvSpPr/>
          <p:nvPr/>
        </p:nvSpPr>
        <p:spPr>
          <a:xfrm>
            <a:off x="963529" y="3143202"/>
            <a:ext cx="1338260" cy="2671735"/>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24" name="Text Placeholder 23">
            <a:extLst>
              <a:ext uri="{FF2B5EF4-FFF2-40B4-BE49-F238E27FC236}">
                <a16:creationId xmlns:a16="http://schemas.microsoft.com/office/drawing/2014/main" id="{D416CFF0-3192-4F93-BBE3-F363763F8097}"/>
              </a:ext>
            </a:extLst>
          </p:cNvPr>
          <p:cNvSpPr>
            <a:spLocks noGrp="1"/>
          </p:cNvSpPr>
          <p:nvPr>
            <p:ph type="body" sz="quarter" idx="13" hasCustomPrompt="1"/>
          </p:nvPr>
        </p:nvSpPr>
        <p:spPr>
          <a:xfrm>
            <a:off x="838200" y="318014"/>
            <a:ext cx="10515600" cy="590931"/>
          </a:xfrm>
        </p:spPr>
        <p:txBody>
          <a:bodyPr anchor="b">
            <a:spAutoFit/>
          </a:bodyPr>
          <a:lstStyle>
            <a:lvl1pPr marL="0" indent="0">
              <a:buNone/>
              <a:defRPr kumimoji="0" lang="en-US" sz="3600" b="0" i="0" u="none" strike="noStrike" kern="1200" cap="all" spc="0" normalizeH="0" baseline="0" dirty="0" smtClean="0">
                <a:ln>
                  <a:noFill/>
                </a:ln>
                <a:solidFill>
                  <a:prstClr val="black"/>
                </a:solidFill>
                <a:effectLst/>
                <a:uLnTx/>
                <a:uFillTx/>
                <a:latin typeface="Arial Black" panose="020B0A04020102020204" pitchFamily="34" charset="0"/>
                <a:ea typeface="+mj-ea"/>
                <a:cs typeface="+mj-cs"/>
              </a:defRPr>
            </a:lvl1pPr>
            <a:lvl2pPr marL="457200" indent="0">
              <a:buNone/>
              <a:defRPr/>
            </a:lvl2pPr>
          </a:lstStyle>
          <a:p>
            <a:pPr lvl="0"/>
            <a:r>
              <a:rPr lang="en-US"/>
              <a:t>EDIT MASTER TEXT STYLES</a:t>
            </a:r>
          </a:p>
        </p:txBody>
      </p:sp>
      <p:sp>
        <p:nvSpPr>
          <p:cNvPr id="25" name="Text Placeholder 23">
            <a:extLst>
              <a:ext uri="{FF2B5EF4-FFF2-40B4-BE49-F238E27FC236}">
                <a16:creationId xmlns:a16="http://schemas.microsoft.com/office/drawing/2014/main" id="{52C2D88E-FED3-42E4-98F3-FAB2DD820509}"/>
              </a:ext>
            </a:extLst>
          </p:cNvPr>
          <p:cNvSpPr>
            <a:spLocks noGrp="1"/>
          </p:cNvSpPr>
          <p:nvPr>
            <p:ph type="body" sz="quarter" idx="14" hasCustomPrompt="1"/>
          </p:nvPr>
        </p:nvSpPr>
        <p:spPr>
          <a:xfrm>
            <a:off x="838200" y="870295"/>
            <a:ext cx="10515600" cy="341632"/>
          </a:xfrm>
        </p:spPr>
        <p:txBody>
          <a:bodyPr anchor="t">
            <a:spAutoFit/>
          </a:bodyPr>
          <a:lstStyle>
            <a:lvl1pPr marL="0" indent="0">
              <a:buNone/>
              <a:tabLst>
                <a:tab pos="57150" algn="l"/>
                <a:tab pos="114300" algn="l"/>
              </a:tabLst>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13" name="Rectangle 12">
            <a:extLst>
              <a:ext uri="{FF2B5EF4-FFF2-40B4-BE49-F238E27FC236}">
                <a16:creationId xmlns:a16="http://schemas.microsoft.com/office/drawing/2014/main" id="{2A361910-3D92-4382-AADC-7D51C0396B9F}"/>
              </a:ext>
            </a:extLst>
          </p:cNvPr>
          <p:cNvSpPr/>
          <p:nvPr userDrawn="1"/>
        </p:nvSpPr>
        <p:spPr>
          <a:xfrm>
            <a:off x="-1" y="2655218"/>
            <a:ext cx="12191204" cy="4202782"/>
          </a:xfrm>
          <a:prstGeom prst="rect">
            <a:avLst/>
          </a:prstGeom>
          <a:gradFill>
            <a:gsLst>
              <a:gs pos="0">
                <a:schemeClr val="tx1">
                  <a:alpha val="0"/>
                </a:schemeClr>
              </a:gs>
              <a:gs pos="100000">
                <a:schemeClr val="tx1">
                  <a:alpha val="6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14" name="Rectangle 13">
            <a:extLst>
              <a:ext uri="{FF2B5EF4-FFF2-40B4-BE49-F238E27FC236}">
                <a16:creationId xmlns:a16="http://schemas.microsoft.com/office/drawing/2014/main" id="{BDD5A827-008A-4D72-A2D7-1B4AE7154632}"/>
              </a:ext>
            </a:extLst>
          </p:cNvPr>
          <p:cNvSpPr/>
          <p:nvPr userDrawn="1"/>
        </p:nvSpPr>
        <p:spPr>
          <a:xfrm>
            <a:off x="2301789" y="3143202"/>
            <a:ext cx="7150683" cy="2671735"/>
          </a:xfrm>
          <a:prstGeom prst="rect">
            <a:avLst/>
          </a:prstGeom>
          <a:solidFill>
            <a:schemeClr val="tx2">
              <a:alpha val="6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15" name="Rectangle 14">
            <a:extLst>
              <a:ext uri="{FF2B5EF4-FFF2-40B4-BE49-F238E27FC236}">
                <a16:creationId xmlns:a16="http://schemas.microsoft.com/office/drawing/2014/main" id="{1E0BEFB3-6F8F-4861-A2F0-A80279A469F0}"/>
              </a:ext>
            </a:extLst>
          </p:cNvPr>
          <p:cNvSpPr/>
          <p:nvPr userDrawn="1"/>
        </p:nvSpPr>
        <p:spPr>
          <a:xfrm>
            <a:off x="963529" y="3143202"/>
            <a:ext cx="1338260" cy="2671735"/>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17" name="Text Placeholder 16">
            <a:extLst>
              <a:ext uri="{FF2B5EF4-FFF2-40B4-BE49-F238E27FC236}">
                <a16:creationId xmlns:a16="http://schemas.microsoft.com/office/drawing/2014/main" id="{D7B5D76C-33AA-4DBB-A34C-4296A262553E}"/>
              </a:ext>
            </a:extLst>
          </p:cNvPr>
          <p:cNvSpPr>
            <a:spLocks noGrp="1"/>
          </p:cNvSpPr>
          <p:nvPr>
            <p:ph type="body" sz="quarter" idx="10" hasCustomPrompt="1"/>
          </p:nvPr>
        </p:nvSpPr>
        <p:spPr>
          <a:xfrm>
            <a:off x="2709646" y="3511740"/>
            <a:ext cx="6772275" cy="1582737"/>
          </a:xfrm>
        </p:spPr>
        <p:txBody>
          <a:bodyPr anchor="b">
            <a:normAutofit/>
          </a:bodyPr>
          <a:lstStyle>
            <a:lvl1pPr marL="0" indent="0">
              <a:spcBef>
                <a:spcPts val="0"/>
              </a:spcBef>
              <a:buNone/>
              <a:defRPr lang="en-US" sz="5400" kern="1200" cap="all" baseline="0" dirty="0" smtClean="0">
                <a:solidFill>
                  <a:schemeClr val="bg1"/>
                </a:solidFill>
                <a:latin typeface="Arial Black" panose="020B0A04020102020204" pitchFamily="34" charset="0"/>
                <a:ea typeface="+mj-ea"/>
                <a:cs typeface="+mj-cs"/>
              </a:defRPr>
            </a:lvl1pPr>
            <a:lvl2pPr>
              <a:defRPr lang="en-US" sz="5400" kern="1200" dirty="0" smtClean="0">
                <a:solidFill>
                  <a:schemeClr val="bg1"/>
                </a:solidFill>
                <a:latin typeface="Arial Black" panose="020B0A04020102020204" pitchFamily="34" charset="0"/>
                <a:ea typeface="+mj-ea"/>
                <a:cs typeface="+mj-cs"/>
              </a:defRPr>
            </a:lvl2pPr>
            <a:lvl3pPr>
              <a:defRPr lang="en-US" sz="5400" kern="1200" dirty="0" smtClean="0">
                <a:solidFill>
                  <a:schemeClr val="bg1"/>
                </a:solidFill>
                <a:latin typeface="Arial Black" panose="020B0A04020102020204" pitchFamily="34" charset="0"/>
                <a:ea typeface="+mj-ea"/>
                <a:cs typeface="+mj-cs"/>
              </a:defRPr>
            </a:lvl3pPr>
            <a:lvl4pPr>
              <a:defRPr lang="en-US" sz="5400" kern="1200" dirty="0" smtClean="0">
                <a:solidFill>
                  <a:schemeClr val="bg1"/>
                </a:solidFill>
                <a:latin typeface="Arial Black" panose="020B0A04020102020204" pitchFamily="34" charset="0"/>
                <a:ea typeface="+mj-ea"/>
                <a:cs typeface="+mj-cs"/>
              </a:defRPr>
            </a:lvl4pPr>
            <a:lvl5pPr>
              <a:defRPr lang="en-US" sz="5400" kern="1200" dirty="0">
                <a:solidFill>
                  <a:schemeClr val="bg1"/>
                </a:solidFill>
                <a:latin typeface="Arial Black" panose="020B0A04020102020204" pitchFamily="34" charset="0"/>
                <a:ea typeface="+mj-ea"/>
                <a:cs typeface="+mj-cs"/>
              </a:defRPr>
            </a:lvl5pPr>
          </a:lstStyle>
          <a:p>
            <a:pPr lvl="0"/>
            <a:r>
              <a:rPr lang="en-US"/>
              <a:t>EDIT MASTER TEXT STYLES</a:t>
            </a:r>
          </a:p>
        </p:txBody>
      </p:sp>
      <p:sp>
        <p:nvSpPr>
          <p:cNvPr id="19" name="Text Placeholder 18">
            <a:extLst>
              <a:ext uri="{FF2B5EF4-FFF2-40B4-BE49-F238E27FC236}">
                <a16:creationId xmlns:a16="http://schemas.microsoft.com/office/drawing/2014/main" id="{0C0331F5-4950-467E-BD31-31B233369EEB}"/>
              </a:ext>
            </a:extLst>
          </p:cNvPr>
          <p:cNvSpPr>
            <a:spLocks noGrp="1"/>
          </p:cNvSpPr>
          <p:nvPr>
            <p:ph type="body" sz="quarter" idx="11" hasCustomPrompt="1"/>
          </p:nvPr>
        </p:nvSpPr>
        <p:spPr>
          <a:xfrm>
            <a:off x="2709646" y="5005907"/>
            <a:ext cx="6743700" cy="457108"/>
          </a:xfrm>
        </p:spPr>
        <p:txBody>
          <a:bodyPr>
            <a:normAutofit/>
          </a:bodyPr>
          <a:lstStyle>
            <a:lvl1pPr marL="0" indent="0">
              <a:buNone/>
              <a:defRPr lang="en-US" sz="2400" kern="1200" cap="all" spc="600" baseline="0" dirty="0" smtClean="0">
                <a:solidFill>
                  <a:schemeClr val="bg1"/>
                </a:solidFill>
                <a:latin typeface="+mn-lt"/>
                <a:ea typeface="+mj-ea"/>
                <a:cs typeface="+mj-cs"/>
              </a:defRPr>
            </a:lvl1pPr>
            <a:lvl2pPr marL="457200" indent="0">
              <a:buNone/>
              <a:defRPr/>
            </a:lvl2pPr>
          </a:lstStyle>
          <a:p>
            <a:pPr lvl="0"/>
            <a:r>
              <a:rPr lang="en-US"/>
              <a:t>EDIT MASTER TEXT STYLES</a:t>
            </a:r>
          </a:p>
        </p:txBody>
      </p:sp>
      <p:sp>
        <p:nvSpPr>
          <p:cNvPr id="21" name="Text Placeholder 20">
            <a:extLst>
              <a:ext uri="{FF2B5EF4-FFF2-40B4-BE49-F238E27FC236}">
                <a16:creationId xmlns:a16="http://schemas.microsoft.com/office/drawing/2014/main" id="{D02259DF-4ECC-4D2B-8D87-0F24D675D854}"/>
              </a:ext>
            </a:extLst>
          </p:cNvPr>
          <p:cNvSpPr>
            <a:spLocks noGrp="1"/>
          </p:cNvSpPr>
          <p:nvPr>
            <p:ph type="body" sz="quarter" idx="12" hasCustomPrompt="1"/>
          </p:nvPr>
        </p:nvSpPr>
        <p:spPr>
          <a:xfrm>
            <a:off x="1229961" y="3144890"/>
            <a:ext cx="841248" cy="2670048"/>
          </a:xfrm>
        </p:spPr>
        <p:txBody>
          <a:bodyPr vert="vert270" anchor="ctr">
            <a:normAutofit/>
          </a:bodyPr>
          <a:lstStyle>
            <a:lvl1pPr marL="0" indent="0" algn="ctr">
              <a:buNone/>
              <a:defRPr kumimoji="0" lang="en-US" sz="5200" b="0" i="0" u="none" strike="noStrike" kern="1200" cap="none" spc="0" normalizeH="0" baseline="0" dirty="0">
                <a:ln>
                  <a:noFill/>
                </a:ln>
                <a:solidFill>
                  <a:prstClr val="white"/>
                </a:solidFill>
                <a:effectLst/>
                <a:uLnTx/>
                <a:uFillTx/>
                <a:latin typeface="Arial Black" panose="020B0A04020102020204" pitchFamily="34" charset="0"/>
                <a:ea typeface="+mj-ea"/>
                <a:cs typeface="+mj-cs"/>
              </a:defRPr>
            </a:lvl1pPr>
          </a:lstStyle>
          <a:p>
            <a:pPr lvl="0"/>
            <a:r>
              <a:rPr lang="en-US"/>
              <a:t>2019</a:t>
            </a:r>
          </a:p>
        </p:txBody>
      </p:sp>
    </p:spTree>
    <p:extLst>
      <p:ext uri="{BB962C8B-B14F-4D97-AF65-F5344CB8AC3E}">
        <p14:creationId xmlns:p14="http://schemas.microsoft.com/office/powerpoint/2010/main" val="42592351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_2_Column_Heading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9E518EA-7744-4DA3-90F2-697891BF4C63}"/>
              </a:ext>
            </a:extLst>
          </p:cNvPr>
          <p:cNvSpPr/>
          <p:nvPr userDrawn="1"/>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2ACE95-819F-44DD-88E5-9F12333B02FB}"/>
              </a:ext>
            </a:extLst>
          </p:cNvPr>
          <p:cNvSpPr/>
          <p:nvPr userDrawn="1"/>
        </p:nvSpPr>
        <p:spPr>
          <a:xfrm>
            <a:off x="9664068" y="6314739"/>
            <a:ext cx="2100712" cy="543261"/>
          </a:xfrm>
          <a:prstGeom prst="rect">
            <a:avLst/>
          </a:prstGeom>
          <a:gradFill flip="none" rotWithShape="1">
            <a:gsLst>
              <a:gs pos="0">
                <a:schemeClr val="tx1"/>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66BFE55-BD97-40D2-881E-849B8B965486}"/>
              </a:ext>
            </a:extLst>
          </p:cNvPr>
          <p:cNvSpPr>
            <a:spLocks noGrp="1"/>
          </p:cNvSpPr>
          <p:nvPr>
            <p:ph type="body" idx="1" hasCustomPrompt="1"/>
          </p:nvPr>
        </p:nvSpPr>
        <p:spPr>
          <a:xfrm>
            <a:off x="839788" y="1681163"/>
            <a:ext cx="5157787" cy="823912"/>
          </a:xfrm>
        </p:spPr>
        <p:txBody>
          <a:bodyPr anchor="b">
            <a:normAutofit/>
          </a:bodyPr>
          <a:lstStyle>
            <a:lvl1pPr marL="0" indent="0">
              <a:buNone/>
              <a:defRPr lang="en-US" sz="2400" kern="1200" cap="all" baseline="0" dirty="0">
                <a:solidFill>
                  <a:schemeClr val="tx1"/>
                </a:solidFill>
                <a:latin typeface="Arial Black" panose="020B0A04020102020204" pitchFamily="34" charset="0"/>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AAA8F1D-9DF6-44E1-8095-EF504C74B4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DB530F-C89C-40F3-8D4D-BC132C56379C}"/>
              </a:ext>
            </a:extLst>
          </p:cNvPr>
          <p:cNvSpPr>
            <a:spLocks noGrp="1"/>
          </p:cNvSpPr>
          <p:nvPr>
            <p:ph type="body" sz="quarter" idx="3" hasCustomPrompt="1"/>
          </p:nvPr>
        </p:nvSpPr>
        <p:spPr>
          <a:xfrm>
            <a:off x="6172200" y="1681163"/>
            <a:ext cx="5183188" cy="823912"/>
          </a:xfrm>
        </p:spPr>
        <p:txBody>
          <a:bodyPr anchor="b">
            <a:normAutofit/>
          </a:bodyPr>
          <a:lstStyle>
            <a:lvl1pPr marL="0" indent="0">
              <a:buNone/>
              <a:defRPr lang="en-US" sz="2400" kern="1200" cap="all" baseline="0" dirty="0">
                <a:solidFill>
                  <a:schemeClr val="tx1"/>
                </a:solidFill>
                <a:latin typeface="Arial Black" panose="020B0A04020102020204" pitchFamily="34" charset="0"/>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a:extLst>
              <a:ext uri="{FF2B5EF4-FFF2-40B4-BE49-F238E27FC236}">
                <a16:creationId xmlns:a16="http://schemas.microsoft.com/office/drawing/2014/main" id="{DEA8C6DD-00F1-45A4-9D15-5F3C5C0C8C4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15">
            <a:extLst>
              <a:ext uri="{FF2B5EF4-FFF2-40B4-BE49-F238E27FC236}">
                <a16:creationId xmlns:a16="http://schemas.microsoft.com/office/drawing/2014/main" id="{7CF08CC5-4317-4B96-AB60-41B5AB266DD1}"/>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7" name="Slide Number Placeholder 16">
            <a:extLst>
              <a:ext uri="{FF2B5EF4-FFF2-40B4-BE49-F238E27FC236}">
                <a16:creationId xmlns:a16="http://schemas.microsoft.com/office/drawing/2014/main" id="{79824AA5-B383-4B53-B673-42127E9B38AD}"/>
              </a:ext>
            </a:extLst>
          </p:cNvPr>
          <p:cNvSpPr>
            <a:spLocks noGrp="1"/>
          </p:cNvSpPr>
          <p:nvPr>
            <p:ph type="sldNum" sz="quarter" idx="11"/>
          </p:nvPr>
        </p:nvSpPr>
        <p:spPr/>
        <p:txBody>
          <a:bodyPr/>
          <a:lstStyle/>
          <a:p>
            <a:fld id="{5382645D-9DD6-408C-B0EA-C65795F9B1DE}" type="slidenum">
              <a:rPr lang="en-US" smtClean="0"/>
              <a:pPr/>
              <a:t>‹#›</a:t>
            </a:fld>
            <a:endParaRPr lang="en-US"/>
          </a:p>
        </p:txBody>
      </p:sp>
      <p:sp>
        <p:nvSpPr>
          <p:cNvPr id="19" name="Text Placeholder 23">
            <a:extLst>
              <a:ext uri="{FF2B5EF4-FFF2-40B4-BE49-F238E27FC236}">
                <a16:creationId xmlns:a16="http://schemas.microsoft.com/office/drawing/2014/main" id="{B5992E84-7496-4E84-8165-1FDA57624280}"/>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21" name="Title 20">
            <a:extLst>
              <a:ext uri="{FF2B5EF4-FFF2-40B4-BE49-F238E27FC236}">
                <a16:creationId xmlns:a16="http://schemas.microsoft.com/office/drawing/2014/main" id="{7C756DD1-9C68-4B89-9C91-D71AAFB52ECC}"/>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8" name="Group 17">
            <a:extLst>
              <a:ext uri="{FF2B5EF4-FFF2-40B4-BE49-F238E27FC236}">
                <a16:creationId xmlns:a16="http://schemas.microsoft.com/office/drawing/2014/main" id="{0737355D-F0C0-46B2-961F-502B7D75C1C2}"/>
              </a:ext>
            </a:extLst>
          </p:cNvPr>
          <p:cNvGrpSpPr/>
          <p:nvPr userDrawn="1"/>
        </p:nvGrpSpPr>
        <p:grpSpPr>
          <a:xfrm>
            <a:off x="950173" y="6425309"/>
            <a:ext cx="1075910" cy="230941"/>
            <a:chOff x="201074" y="6425309"/>
            <a:chExt cx="1075910" cy="230941"/>
          </a:xfrm>
        </p:grpSpPr>
        <p:sp>
          <p:nvSpPr>
            <p:cNvPr id="20" name="Rectangle 19">
              <a:extLst>
                <a:ext uri="{FF2B5EF4-FFF2-40B4-BE49-F238E27FC236}">
                  <a16:creationId xmlns:a16="http://schemas.microsoft.com/office/drawing/2014/main" id="{E83670C1-9BE3-4064-872E-11080CF4B03D}"/>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2" name="Straight Connector 21">
              <a:extLst>
                <a:ext uri="{FF2B5EF4-FFF2-40B4-BE49-F238E27FC236}">
                  <a16:creationId xmlns:a16="http://schemas.microsoft.com/office/drawing/2014/main" id="{270FEA4E-A799-46A1-B9FB-7508BA455714}"/>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1F305F6-1880-4C9F-8A85-F7F9D4170A12}"/>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4" name="Title 1">
              <a:extLst>
                <a:ext uri="{FF2B5EF4-FFF2-40B4-BE49-F238E27FC236}">
                  <a16:creationId xmlns:a16="http://schemas.microsoft.com/office/drawing/2014/main" id="{6E982D79-A958-4164-A481-FA5A9B190B16}"/>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5" name="Group 24">
            <a:extLst>
              <a:ext uri="{FF2B5EF4-FFF2-40B4-BE49-F238E27FC236}">
                <a16:creationId xmlns:a16="http://schemas.microsoft.com/office/drawing/2014/main" id="{89A7DB8A-E023-43E5-AEE4-3E3782DB463C}"/>
              </a:ext>
            </a:extLst>
          </p:cNvPr>
          <p:cNvGrpSpPr/>
          <p:nvPr userDrawn="1"/>
        </p:nvGrpSpPr>
        <p:grpSpPr>
          <a:xfrm>
            <a:off x="950173" y="6425309"/>
            <a:ext cx="1075910" cy="230941"/>
            <a:chOff x="201074" y="6425309"/>
            <a:chExt cx="1075910" cy="230941"/>
          </a:xfrm>
        </p:grpSpPr>
        <p:sp>
          <p:nvSpPr>
            <p:cNvPr id="27" name="Rectangle 26">
              <a:extLst>
                <a:ext uri="{FF2B5EF4-FFF2-40B4-BE49-F238E27FC236}">
                  <a16:creationId xmlns:a16="http://schemas.microsoft.com/office/drawing/2014/main" id="{1F5AB982-495B-413B-9C37-F1A02F6F534B}"/>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9" name="Straight Connector 28">
              <a:extLst>
                <a:ext uri="{FF2B5EF4-FFF2-40B4-BE49-F238E27FC236}">
                  <a16:creationId xmlns:a16="http://schemas.microsoft.com/office/drawing/2014/main" id="{8C63C390-6F8B-4E61-8FC3-87F3D44441AD}"/>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61AE4F44-A914-4CE4-B472-249CF4B2DF88}"/>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31" name="Title 1">
              <a:extLst>
                <a:ext uri="{FF2B5EF4-FFF2-40B4-BE49-F238E27FC236}">
                  <a16:creationId xmlns:a16="http://schemas.microsoft.com/office/drawing/2014/main" id="{2681E831-7F08-4CFA-8B1C-C73D9E65314D}"/>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25052431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ontent_Title_Only">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F63AC65-D279-42F7-8286-7ED8C41D6175}"/>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DDC6B2A9-BA62-44D3-ABB2-3831C93FBF4B}"/>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89D824B6-EF8B-4921-87BB-E03AE3EC8776}"/>
              </a:ext>
            </a:extLst>
          </p:cNvPr>
          <p:cNvSpPr>
            <a:spLocks noGrp="1"/>
          </p:cNvSpPr>
          <p:nvPr>
            <p:ph type="sldNum" sz="quarter" idx="11"/>
          </p:nvPr>
        </p:nvSpPr>
        <p:spPr/>
        <p:txBody>
          <a:bodyPr/>
          <a:lstStyle/>
          <a:p>
            <a:fld id="{5382645D-9DD6-408C-B0EA-C65795F9B1DE}" type="slidenum">
              <a:rPr lang="en-US" smtClean="0"/>
              <a:pPr/>
              <a:t>‹#›</a:t>
            </a:fld>
            <a:endParaRPr lang="en-US"/>
          </a:p>
        </p:txBody>
      </p:sp>
      <p:sp>
        <p:nvSpPr>
          <p:cNvPr id="8" name="Title 7">
            <a:extLst>
              <a:ext uri="{FF2B5EF4-FFF2-40B4-BE49-F238E27FC236}">
                <a16:creationId xmlns:a16="http://schemas.microsoft.com/office/drawing/2014/main" id="{CC23BA5B-4BFD-416D-9BF9-6FFFE38FB94B}"/>
              </a:ext>
            </a:extLst>
          </p:cNvPr>
          <p:cNvSpPr>
            <a:spLocks noGrp="1"/>
          </p:cNvSpPr>
          <p:nvPr>
            <p:ph type="title" hasCustomPrompt="1"/>
          </p:nvPr>
        </p:nvSpPr>
        <p:spPr>
          <a:xfrm>
            <a:off x="838200" y="318014"/>
            <a:ext cx="10515600" cy="590931"/>
          </a:xfrm>
        </p:spPr>
        <p:txBody>
          <a:bodyPr>
            <a:spAutoFit/>
          </a:bodyPr>
          <a:lstStyle>
            <a:lvl1pPr>
              <a:defRPr sz="3600" baseline="0"/>
            </a:lvl1pPr>
          </a:lstStyle>
          <a:p>
            <a:r>
              <a:rPr lang="en-US"/>
              <a:t>CLICK TO EDIT MASTER TITLE STYLE</a:t>
            </a:r>
          </a:p>
        </p:txBody>
      </p:sp>
      <p:grpSp>
        <p:nvGrpSpPr>
          <p:cNvPr id="15" name="Group 14">
            <a:extLst>
              <a:ext uri="{FF2B5EF4-FFF2-40B4-BE49-F238E27FC236}">
                <a16:creationId xmlns:a16="http://schemas.microsoft.com/office/drawing/2014/main" id="{38D3186B-F06A-41DB-AB2D-3A31E1A47DD5}"/>
              </a:ext>
            </a:extLst>
          </p:cNvPr>
          <p:cNvGrpSpPr/>
          <p:nvPr userDrawn="1"/>
        </p:nvGrpSpPr>
        <p:grpSpPr>
          <a:xfrm>
            <a:off x="950173" y="6425309"/>
            <a:ext cx="1075910" cy="230941"/>
            <a:chOff x="201074" y="6425309"/>
            <a:chExt cx="1075910" cy="230941"/>
          </a:xfrm>
        </p:grpSpPr>
        <p:sp>
          <p:nvSpPr>
            <p:cNvPr id="16" name="Rectangle 15">
              <a:extLst>
                <a:ext uri="{FF2B5EF4-FFF2-40B4-BE49-F238E27FC236}">
                  <a16:creationId xmlns:a16="http://schemas.microsoft.com/office/drawing/2014/main" id="{DD17461F-FD3B-4EF6-BF1F-532E5D66F844}"/>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17" name="Straight Connector 16">
              <a:extLst>
                <a:ext uri="{FF2B5EF4-FFF2-40B4-BE49-F238E27FC236}">
                  <a16:creationId xmlns:a16="http://schemas.microsoft.com/office/drawing/2014/main" id="{9710B00E-7C58-40BD-AEA3-1D016B6D4382}"/>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04BED4B6-37A3-4B9D-8151-73E8705DEA32}"/>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19" name="Title 1">
              <a:extLst>
                <a:ext uri="{FF2B5EF4-FFF2-40B4-BE49-F238E27FC236}">
                  <a16:creationId xmlns:a16="http://schemas.microsoft.com/office/drawing/2014/main" id="{B2291B75-3384-47BF-9F23-08B18A44D848}"/>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0" name="Group 19">
            <a:extLst>
              <a:ext uri="{FF2B5EF4-FFF2-40B4-BE49-F238E27FC236}">
                <a16:creationId xmlns:a16="http://schemas.microsoft.com/office/drawing/2014/main" id="{24B8BB45-E172-42C0-BB21-D2ADBDD1E49B}"/>
              </a:ext>
            </a:extLst>
          </p:cNvPr>
          <p:cNvGrpSpPr/>
          <p:nvPr userDrawn="1"/>
        </p:nvGrpSpPr>
        <p:grpSpPr>
          <a:xfrm>
            <a:off x="950173" y="6425309"/>
            <a:ext cx="1075910" cy="230941"/>
            <a:chOff x="201074" y="6425309"/>
            <a:chExt cx="1075910" cy="230941"/>
          </a:xfrm>
        </p:grpSpPr>
        <p:sp>
          <p:nvSpPr>
            <p:cNvPr id="22" name="Rectangle 21">
              <a:extLst>
                <a:ext uri="{FF2B5EF4-FFF2-40B4-BE49-F238E27FC236}">
                  <a16:creationId xmlns:a16="http://schemas.microsoft.com/office/drawing/2014/main" id="{A476583A-C6AE-4A6C-AEA5-A288AD7E7449}"/>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3" name="Straight Connector 22">
              <a:extLst>
                <a:ext uri="{FF2B5EF4-FFF2-40B4-BE49-F238E27FC236}">
                  <a16:creationId xmlns:a16="http://schemas.microsoft.com/office/drawing/2014/main" id="{ADC6F4E3-F96D-44B9-81F4-0E554EA8A3B5}"/>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A55725D9-7C18-480E-8E4B-84A50D47C69C}"/>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5" name="Title 1">
              <a:extLst>
                <a:ext uri="{FF2B5EF4-FFF2-40B4-BE49-F238E27FC236}">
                  <a16:creationId xmlns:a16="http://schemas.microsoft.com/office/drawing/2014/main" id="{276754D0-C977-4154-95EC-97F9B4E479EA}"/>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2931291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_2_Break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491DE-1532-4341-AFE5-25F9F316048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857"/>
            <a:ext cx="12192000" cy="6856286"/>
          </a:xfrm>
          <a:prstGeom prst="rect">
            <a:avLst/>
          </a:prstGeom>
        </p:spPr>
      </p:pic>
      <p:sp>
        <p:nvSpPr>
          <p:cNvPr id="3" name="Text Placeholder 2">
            <a:extLst>
              <a:ext uri="{FF2B5EF4-FFF2-40B4-BE49-F238E27FC236}">
                <a16:creationId xmlns:a16="http://schemas.microsoft.com/office/drawing/2014/main" id="{134A2926-AB14-4821-BE70-31A39598F6A1}"/>
              </a:ext>
            </a:extLst>
          </p:cNvPr>
          <p:cNvSpPr>
            <a:spLocks noGrp="1"/>
          </p:cNvSpPr>
          <p:nvPr>
            <p:ph type="body" idx="1" hasCustomPrompt="1"/>
          </p:nvPr>
        </p:nvSpPr>
        <p:spPr>
          <a:xfrm>
            <a:off x="1093918" y="5587301"/>
            <a:ext cx="2148840" cy="429768"/>
          </a:xfrm>
        </p:spPr>
        <p:txBody>
          <a:bodyPr anchor="ctr" anchorCtr="0">
            <a:noAutofit/>
          </a:bodyPr>
          <a:lstStyle>
            <a:lvl1pPr marL="0" indent="0" algn="ctr">
              <a:lnSpc>
                <a:spcPct val="100000"/>
              </a:lnSpc>
              <a:spcBef>
                <a:spcPts val="0"/>
              </a:spcBef>
              <a:buNone/>
              <a:defRPr lang="en-US" sz="1800" kern="1200" cap="all" spc="120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1" name="Text Placeholder 2">
            <a:extLst>
              <a:ext uri="{FF2B5EF4-FFF2-40B4-BE49-F238E27FC236}">
                <a16:creationId xmlns:a16="http://schemas.microsoft.com/office/drawing/2014/main" id="{4044E1A4-BC47-44B0-9A87-791F99BA9027}"/>
              </a:ext>
            </a:extLst>
          </p:cNvPr>
          <p:cNvSpPr>
            <a:spLocks noGrp="1"/>
          </p:cNvSpPr>
          <p:nvPr>
            <p:ph type="body" idx="11" hasCustomPrompt="1"/>
          </p:nvPr>
        </p:nvSpPr>
        <p:spPr>
          <a:xfrm>
            <a:off x="3262278" y="5587301"/>
            <a:ext cx="429768" cy="429768"/>
          </a:xfrm>
        </p:spPr>
        <p:txBody>
          <a:bodyPr anchor="ctr" anchorCtr="0">
            <a:noAutofit/>
          </a:bodyPr>
          <a:lstStyle>
            <a:lvl1pPr marL="0" indent="0" algn="ctr">
              <a:lnSpc>
                <a:spcPct val="100000"/>
              </a:lnSpc>
              <a:spcBef>
                <a:spcPts val="0"/>
              </a:spcBef>
              <a:buNone/>
              <a:defRPr lang="en-US" sz="1800" kern="1200" spc="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2" name="Title 1">
            <a:extLst>
              <a:ext uri="{FF2B5EF4-FFF2-40B4-BE49-F238E27FC236}">
                <a16:creationId xmlns:a16="http://schemas.microsoft.com/office/drawing/2014/main" id="{B22F253F-0581-42C4-9545-79F835C800F5}"/>
              </a:ext>
            </a:extLst>
          </p:cNvPr>
          <p:cNvSpPr>
            <a:spLocks noGrp="1"/>
          </p:cNvSpPr>
          <p:nvPr>
            <p:ph type="title" hasCustomPrompt="1"/>
          </p:nvPr>
        </p:nvSpPr>
        <p:spPr>
          <a:xfrm>
            <a:off x="838200" y="1282437"/>
            <a:ext cx="10515600" cy="2773195"/>
          </a:xfrm>
          <a:prstGeom prst="rect">
            <a:avLst/>
          </a:prstGeom>
        </p:spPr>
        <p:txBody>
          <a:bodyPr anchor="b">
            <a:spAutoFit/>
          </a:bodyPr>
          <a:lstStyle>
            <a:lvl1pPr>
              <a:lnSpc>
                <a:spcPct val="80000"/>
              </a:lnSpc>
              <a:defRPr sz="7200" cap="all" baseline="0"/>
            </a:lvl1pPr>
          </a:lstStyle>
          <a:p>
            <a:r>
              <a:rPr lang="en-US"/>
              <a:t>CLICK TO EDIT MASTER TITLE STYLE</a:t>
            </a:r>
          </a:p>
        </p:txBody>
      </p:sp>
      <p:pic>
        <p:nvPicPr>
          <p:cNvPr id="6" name="Picture 5">
            <a:extLst>
              <a:ext uri="{FF2B5EF4-FFF2-40B4-BE49-F238E27FC236}">
                <a16:creationId xmlns:a16="http://schemas.microsoft.com/office/drawing/2014/main" id="{1D81597C-2591-464F-A655-D0A15E3F01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57"/>
            <a:ext cx="12192000" cy="6856286"/>
          </a:xfrm>
          <a:prstGeom prst="rect">
            <a:avLst/>
          </a:prstGeom>
        </p:spPr>
      </p:pic>
    </p:spTree>
    <p:extLst>
      <p:ext uri="{BB962C8B-B14F-4D97-AF65-F5344CB8AC3E}">
        <p14:creationId xmlns:p14="http://schemas.microsoft.com/office/powerpoint/2010/main" val="1978029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Content_1_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21CA9F-890A-4ED8-9865-24863BB3C715}"/>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46F5B75-90F3-4861-9F74-99F9CC2F12DF}"/>
              </a:ext>
            </a:extLst>
          </p:cNvPr>
          <p:cNvSpPr>
            <a:spLocks noGrp="1"/>
          </p:cNvSpPr>
          <p:nvPr>
            <p:ph idx="1"/>
          </p:nvPr>
        </p:nvSpPr>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3">
            <a:extLst>
              <a:ext uri="{FF2B5EF4-FFF2-40B4-BE49-F238E27FC236}">
                <a16:creationId xmlns:a16="http://schemas.microsoft.com/office/drawing/2014/main" id="{CEAE037A-B5F2-4867-9063-4303218A5148}"/>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9" name="Footer Placeholder 8">
            <a:extLst>
              <a:ext uri="{FF2B5EF4-FFF2-40B4-BE49-F238E27FC236}">
                <a16:creationId xmlns:a16="http://schemas.microsoft.com/office/drawing/2014/main" id="{CF267629-D067-4223-9005-C3D7505F9AE6}"/>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0" name="Slide Number Placeholder 9">
            <a:extLst>
              <a:ext uri="{FF2B5EF4-FFF2-40B4-BE49-F238E27FC236}">
                <a16:creationId xmlns:a16="http://schemas.microsoft.com/office/drawing/2014/main" id="{6C5FE39E-A144-4C58-8271-DC7EC19A003F}"/>
              </a:ext>
            </a:extLst>
          </p:cNvPr>
          <p:cNvSpPr>
            <a:spLocks noGrp="1"/>
          </p:cNvSpPr>
          <p:nvPr>
            <p:ph type="sldNum" sz="quarter" idx="16"/>
          </p:nvPr>
        </p:nvSpPr>
        <p:spPr/>
        <p:txBody>
          <a:bodyPr/>
          <a:lstStyle/>
          <a:p>
            <a:fld id="{5382645D-9DD6-408C-B0EA-C65795F9B1DE}" type="slidenum">
              <a:rPr lang="en-US" smtClean="0"/>
              <a:pPr/>
              <a:t>‹#›</a:t>
            </a:fld>
            <a:endParaRPr lang="en-US"/>
          </a:p>
        </p:txBody>
      </p:sp>
      <p:sp>
        <p:nvSpPr>
          <p:cNvPr id="17" name="Title 16">
            <a:extLst>
              <a:ext uri="{FF2B5EF4-FFF2-40B4-BE49-F238E27FC236}">
                <a16:creationId xmlns:a16="http://schemas.microsoft.com/office/drawing/2014/main" id="{20C6F5A7-4B7F-4611-934E-EA60A8E621F4}"/>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8" name="Group 17">
            <a:extLst>
              <a:ext uri="{FF2B5EF4-FFF2-40B4-BE49-F238E27FC236}">
                <a16:creationId xmlns:a16="http://schemas.microsoft.com/office/drawing/2014/main" id="{65A81656-3128-493F-AA88-65A4A6BA4B0A}"/>
              </a:ext>
            </a:extLst>
          </p:cNvPr>
          <p:cNvGrpSpPr/>
          <p:nvPr userDrawn="1"/>
        </p:nvGrpSpPr>
        <p:grpSpPr>
          <a:xfrm>
            <a:off x="950173" y="6425309"/>
            <a:ext cx="1075910" cy="230941"/>
            <a:chOff x="201074" y="6425309"/>
            <a:chExt cx="1075910" cy="230941"/>
          </a:xfrm>
        </p:grpSpPr>
        <p:sp>
          <p:nvSpPr>
            <p:cNvPr id="19" name="Rectangle 18">
              <a:extLst>
                <a:ext uri="{FF2B5EF4-FFF2-40B4-BE49-F238E27FC236}">
                  <a16:creationId xmlns:a16="http://schemas.microsoft.com/office/drawing/2014/main" id="{7108600C-B2C1-4DB4-A850-B7F9BC308855}"/>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3F899B92-DF6B-477D-B4DF-E85E328B9C10}"/>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F896F072-3B02-492E-BF17-22F85A9D2BB7}"/>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2" name="Title 1">
              <a:extLst>
                <a:ext uri="{FF2B5EF4-FFF2-40B4-BE49-F238E27FC236}">
                  <a16:creationId xmlns:a16="http://schemas.microsoft.com/office/drawing/2014/main" id="{38FD7BF1-D62F-488C-AFC0-8479BA4167EF}"/>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3" name="Group 22">
            <a:extLst>
              <a:ext uri="{FF2B5EF4-FFF2-40B4-BE49-F238E27FC236}">
                <a16:creationId xmlns:a16="http://schemas.microsoft.com/office/drawing/2014/main" id="{888FB372-6E50-4FDF-A046-5F515B647617}"/>
              </a:ext>
            </a:extLst>
          </p:cNvPr>
          <p:cNvGrpSpPr/>
          <p:nvPr userDrawn="1"/>
        </p:nvGrpSpPr>
        <p:grpSpPr>
          <a:xfrm>
            <a:off x="950173" y="6425309"/>
            <a:ext cx="1075910" cy="230941"/>
            <a:chOff x="201074" y="6425309"/>
            <a:chExt cx="1075910" cy="230941"/>
          </a:xfrm>
        </p:grpSpPr>
        <p:sp>
          <p:nvSpPr>
            <p:cNvPr id="24" name="Rectangle 23">
              <a:extLst>
                <a:ext uri="{FF2B5EF4-FFF2-40B4-BE49-F238E27FC236}">
                  <a16:creationId xmlns:a16="http://schemas.microsoft.com/office/drawing/2014/main" id="{E5C7CB17-A391-401F-8EA9-130D30C66BD9}"/>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5" name="Straight Connector 24">
              <a:extLst>
                <a:ext uri="{FF2B5EF4-FFF2-40B4-BE49-F238E27FC236}">
                  <a16:creationId xmlns:a16="http://schemas.microsoft.com/office/drawing/2014/main" id="{83AD8E92-52BC-47DB-87E2-F79801B2AAC3}"/>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CE916F44-7AB2-47EB-86EC-957ABB4BC42F}"/>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7" name="Title 1">
              <a:extLst>
                <a:ext uri="{FF2B5EF4-FFF2-40B4-BE49-F238E27FC236}">
                  <a16:creationId xmlns:a16="http://schemas.microsoft.com/office/drawing/2014/main" id="{565B973A-6634-4AC5-B4BC-0F3425966E2B}"/>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9641674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Content_2_Column">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4CF8726-E051-4745-A803-640FFCC54AC3}"/>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6AB1576-A66D-4B20-A58C-B10B7A0CFCAC}"/>
              </a:ext>
            </a:extLst>
          </p:cNvPr>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A9119D-3B4E-4F09-BA89-FE6FA0BEB078}"/>
              </a:ext>
            </a:extLst>
          </p:cNvPr>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3">
            <a:extLst>
              <a:ext uri="{FF2B5EF4-FFF2-40B4-BE49-F238E27FC236}">
                <a16:creationId xmlns:a16="http://schemas.microsoft.com/office/drawing/2014/main" id="{59E2301F-79F9-43CC-80C2-F3A2C84CC1E9}"/>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16" name="Footer Placeholder 15">
            <a:extLst>
              <a:ext uri="{FF2B5EF4-FFF2-40B4-BE49-F238E27FC236}">
                <a16:creationId xmlns:a16="http://schemas.microsoft.com/office/drawing/2014/main" id="{09C7B212-9F48-4939-8A51-4F4E18B7DE95}"/>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7" name="Slide Number Placeholder 16">
            <a:extLst>
              <a:ext uri="{FF2B5EF4-FFF2-40B4-BE49-F238E27FC236}">
                <a16:creationId xmlns:a16="http://schemas.microsoft.com/office/drawing/2014/main" id="{8A751409-4E43-4149-B163-2804714D76C9}"/>
              </a:ext>
            </a:extLst>
          </p:cNvPr>
          <p:cNvSpPr>
            <a:spLocks noGrp="1"/>
          </p:cNvSpPr>
          <p:nvPr>
            <p:ph type="sldNum" sz="quarter" idx="16"/>
          </p:nvPr>
        </p:nvSpPr>
        <p:spPr/>
        <p:txBody>
          <a:bodyPr/>
          <a:lstStyle/>
          <a:p>
            <a:fld id="{5382645D-9DD6-408C-B0EA-C65795F9B1DE}" type="slidenum">
              <a:rPr lang="en-US" smtClean="0"/>
              <a:pPr/>
              <a:t>‹#›</a:t>
            </a:fld>
            <a:endParaRPr lang="en-US"/>
          </a:p>
        </p:txBody>
      </p:sp>
      <p:sp>
        <p:nvSpPr>
          <p:cNvPr id="18" name="Title 17">
            <a:extLst>
              <a:ext uri="{FF2B5EF4-FFF2-40B4-BE49-F238E27FC236}">
                <a16:creationId xmlns:a16="http://schemas.microsoft.com/office/drawing/2014/main" id="{5E34604D-0E22-4D09-B3E8-640A440AD175}"/>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9" name="Group 18">
            <a:extLst>
              <a:ext uri="{FF2B5EF4-FFF2-40B4-BE49-F238E27FC236}">
                <a16:creationId xmlns:a16="http://schemas.microsoft.com/office/drawing/2014/main" id="{DE0D0BA5-213D-4650-BB20-6E0DB633EFF0}"/>
              </a:ext>
            </a:extLst>
          </p:cNvPr>
          <p:cNvGrpSpPr/>
          <p:nvPr userDrawn="1"/>
        </p:nvGrpSpPr>
        <p:grpSpPr>
          <a:xfrm>
            <a:off x="950173" y="6425309"/>
            <a:ext cx="1075910" cy="230941"/>
            <a:chOff x="201074" y="6425309"/>
            <a:chExt cx="1075910" cy="230941"/>
          </a:xfrm>
        </p:grpSpPr>
        <p:sp>
          <p:nvSpPr>
            <p:cNvPr id="20" name="Rectangle 19">
              <a:extLst>
                <a:ext uri="{FF2B5EF4-FFF2-40B4-BE49-F238E27FC236}">
                  <a16:creationId xmlns:a16="http://schemas.microsoft.com/office/drawing/2014/main" id="{72C8F871-5361-4BA4-8636-9CC5F5360878}"/>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1" name="Straight Connector 20">
              <a:extLst>
                <a:ext uri="{FF2B5EF4-FFF2-40B4-BE49-F238E27FC236}">
                  <a16:creationId xmlns:a16="http://schemas.microsoft.com/office/drawing/2014/main" id="{8DC1086B-73C2-4C37-9634-7743AB2803F3}"/>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94802B91-6A50-47B2-8429-E0EB3E9FE55C}"/>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4" name="Title 1">
              <a:extLst>
                <a:ext uri="{FF2B5EF4-FFF2-40B4-BE49-F238E27FC236}">
                  <a16:creationId xmlns:a16="http://schemas.microsoft.com/office/drawing/2014/main" id="{C629B025-5CEA-4077-AFEF-A64FDC788DD5}"/>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5" name="Group 24">
            <a:extLst>
              <a:ext uri="{FF2B5EF4-FFF2-40B4-BE49-F238E27FC236}">
                <a16:creationId xmlns:a16="http://schemas.microsoft.com/office/drawing/2014/main" id="{81EA828A-64E4-44AA-A55F-67C9FA338118}"/>
              </a:ext>
            </a:extLst>
          </p:cNvPr>
          <p:cNvGrpSpPr/>
          <p:nvPr userDrawn="1"/>
        </p:nvGrpSpPr>
        <p:grpSpPr>
          <a:xfrm>
            <a:off x="950173" y="6425309"/>
            <a:ext cx="1075910" cy="230941"/>
            <a:chOff x="201074" y="6425309"/>
            <a:chExt cx="1075910" cy="230941"/>
          </a:xfrm>
        </p:grpSpPr>
        <p:sp>
          <p:nvSpPr>
            <p:cNvPr id="26" name="Rectangle 25">
              <a:extLst>
                <a:ext uri="{FF2B5EF4-FFF2-40B4-BE49-F238E27FC236}">
                  <a16:creationId xmlns:a16="http://schemas.microsoft.com/office/drawing/2014/main" id="{CBB563E3-BFF7-43A5-AC6B-145C65F8841B}"/>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7" name="Straight Connector 26">
              <a:extLst>
                <a:ext uri="{FF2B5EF4-FFF2-40B4-BE49-F238E27FC236}">
                  <a16:creationId xmlns:a16="http://schemas.microsoft.com/office/drawing/2014/main" id="{3E8D49B0-6E6B-475D-BC2F-7320FDBA9FD9}"/>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2E4AB9D8-0D5A-4285-9E9E-6DC9A67FBE28}"/>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9" name="Title 1">
              <a:extLst>
                <a:ext uri="{FF2B5EF4-FFF2-40B4-BE49-F238E27FC236}">
                  <a16:creationId xmlns:a16="http://schemas.microsoft.com/office/drawing/2014/main" id="{F4DAC2C2-7B5B-439D-8144-05B59F6FD1AB}"/>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2000351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ontent_2_Column_Heading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A52A5B65-6C77-45BB-8DFB-820CE127FFE0}"/>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66BFE55-BD97-40D2-881E-849B8B965486}"/>
              </a:ext>
            </a:extLst>
          </p:cNvPr>
          <p:cNvSpPr>
            <a:spLocks noGrp="1"/>
          </p:cNvSpPr>
          <p:nvPr>
            <p:ph type="body" idx="1" hasCustomPrompt="1"/>
          </p:nvPr>
        </p:nvSpPr>
        <p:spPr>
          <a:xfrm>
            <a:off x="839788" y="1681163"/>
            <a:ext cx="5157787" cy="823912"/>
          </a:xfrm>
        </p:spPr>
        <p:txBody>
          <a:bodyPr anchor="b">
            <a:normAutofit/>
          </a:bodyPr>
          <a:lstStyle>
            <a:lvl1pPr marL="0" indent="0">
              <a:buNone/>
              <a:defRPr lang="en-US" sz="2400" kern="1200" cap="all" baseline="0" dirty="0">
                <a:solidFill>
                  <a:schemeClr val="tx1"/>
                </a:solidFill>
                <a:latin typeface="Arial Black" panose="020B0A04020102020204" pitchFamily="34" charset="0"/>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AAA8F1D-9DF6-44E1-8095-EF504C74B4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DB530F-C89C-40F3-8D4D-BC132C56379C}"/>
              </a:ext>
            </a:extLst>
          </p:cNvPr>
          <p:cNvSpPr>
            <a:spLocks noGrp="1"/>
          </p:cNvSpPr>
          <p:nvPr>
            <p:ph type="body" sz="quarter" idx="3" hasCustomPrompt="1"/>
          </p:nvPr>
        </p:nvSpPr>
        <p:spPr>
          <a:xfrm>
            <a:off x="6172200" y="1681163"/>
            <a:ext cx="5183188" cy="823912"/>
          </a:xfrm>
        </p:spPr>
        <p:txBody>
          <a:bodyPr anchor="b">
            <a:normAutofit/>
          </a:bodyPr>
          <a:lstStyle>
            <a:lvl1pPr marL="0" indent="0">
              <a:buNone/>
              <a:defRPr lang="en-US" sz="2400" kern="1200" cap="all" baseline="0" dirty="0">
                <a:solidFill>
                  <a:schemeClr val="tx1"/>
                </a:solidFill>
                <a:latin typeface="Arial Black" panose="020B0A04020102020204" pitchFamily="34" charset="0"/>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a:extLst>
              <a:ext uri="{FF2B5EF4-FFF2-40B4-BE49-F238E27FC236}">
                <a16:creationId xmlns:a16="http://schemas.microsoft.com/office/drawing/2014/main" id="{DEA8C6DD-00F1-45A4-9D15-5F3C5C0C8C4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15">
            <a:extLst>
              <a:ext uri="{FF2B5EF4-FFF2-40B4-BE49-F238E27FC236}">
                <a16:creationId xmlns:a16="http://schemas.microsoft.com/office/drawing/2014/main" id="{7CF08CC5-4317-4B96-AB60-41B5AB266DD1}"/>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7" name="Slide Number Placeholder 16">
            <a:extLst>
              <a:ext uri="{FF2B5EF4-FFF2-40B4-BE49-F238E27FC236}">
                <a16:creationId xmlns:a16="http://schemas.microsoft.com/office/drawing/2014/main" id="{79824AA5-B383-4B53-B673-42127E9B38AD}"/>
              </a:ext>
            </a:extLst>
          </p:cNvPr>
          <p:cNvSpPr>
            <a:spLocks noGrp="1"/>
          </p:cNvSpPr>
          <p:nvPr>
            <p:ph type="sldNum" sz="quarter" idx="11"/>
          </p:nvPr>
        </p:nvSpPr>
        <p:spPr/>
        <p:txBody>
          <a:bodyPr/>
          <a:lstStyle/>
          <a:p>
            <a:fld id="{5382645D-9DD6-408C-B0EA-C65795F9B1DE}" type="slidenum">
              <a:rPr lang="en-US" smtClean="0"/>
              <a:pPr/>
              <a:t>‹#›</a:t>
            </a:fld>
            <a:endParaRPr lang="en-US"/>
          </a:p>
        </p:txBody>
      </p:sp>
      <p:sp>
        <p:nvSpPr>
          <p:cNvPr id="19" name="Text Placeholder 23">
            <a:extLst>
              <a:ext uri="{FF2B5EF4-FFF2-40B4-BE49-F238E27FC236}">
                <a16:creationId xmlns:a16="http://schemas.microsoft.com/office/drawing/2014/main" id="{B5992E84-7496-4E84-8165-1FDA57624280}"/>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21" name="Title 20">
            <a:extLst>
              <a:ext uri="{FF2B5EF4-FFF2-40B4-BE49-F238E27FC236}">
                <a16:creationId xmlns:a16="http://schemas.microsoft.com/office/drawing/2014/main" id="{7C756DD1-9C68-4B89-9C91-D71AAFB52ECC}"/>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8" name="Group 17">
            <a:extLst>
              <a:ext uri="{FF2B5EF4-FFF2-40B4-BE49-F238E27FC236}">
                <a16:creationId xmlns:a16="http://schemas.microsoft.com/office/drawing/2014/main" id="{BFAA26E2-278F-44AA-96DD-4E13B3AB4B68}"/>
              </a:ext>
            </a:extLst>
          </p:cNvPr>
          <p:cNvGrpSpPr/>
          <p:nvPr userDrawn="1"/>
        </p:nvGrpSpPr>
        <p:grpSpPr>
          <a:xfrm>
            <a:off x="950173" y="6425309"/>
            <a:ext cx="1075910" cy="230941"/>
            <a:chOff x="201074" y="6425309"/>
            <a:chExt cx="1075910" cy="230941"/>
          </a:xfrm>
        </p:grpSpPr>
        <p:sp>
          <p:nvSpPr>
            <p:cNvPr id="20" name="Rectangle 19">
              <a:extLst>
                <a:ext uri="{FF2B5EF4-FFF2-40B4-BE49-F238E27FC236}">
                  <a16:creationId xmlns:a16="http://schemas.microsoft.com/office/drawing/2014/main" id="{A0B558FB-5D76-4F6B-9ED7-9257CFE8F428}"/>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2" name="Straight Connector 21">
              <a:extLst>
                <a:ext uri="{FF2B5EF4-FFF2-40B4-BE49-F238E27FC236}">
                  <a16:creationId xmlns:a16="http://schemas.microsoft.com/office/drawing/2014/main" id="{68DB5C2B-C59A-4745-8AB7-34C0E1037306}"/>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834A3F22-99E9-4242-B120-527EED7E268A}"/>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5" name="Title 1">
              <a:extLst>
                <a:ext uri="{FF2B5EF4-FFF2-40B4-BE49-F238E27FC236}">
                  <a16:creationId xmlns:a16="http://schemas.microsoft.com/office/drawing/2014/main" id="{9304EE9C-C237-4F70-B227-65A811187AEA}"/>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6" name="Group 25">
            <a:extLst>
              <a:ext uri="{FF2B5EF4-FFF2-40B4-BE49-F238E27FC236}">
                <a16:creationId xmlns:a16="http://schemas.microsoft.com/office/drawing/2014/main" id="{848FA4BB-B7C5-4923-B242-160161B8E8FB}"/>
              </a:ext>
            </a:extLst>
          </p:cNvPr>
          <p:cNvGrpSpPr/>
          <p:nvPr userDrawn="1"/>
        </p:nvGrpSpPr>
        <p:grpSpPr>
          <a:xfrm>
            <a:off x="950173" y="6425309"/>
            <a:ext cx="1075910" cy="230941"/>
            <a:chOff x="201074" y="6425309"/>
            <a:chExt cx="1075910" cy="230941"/>
          </a:xfrm>
        </p:grpSpPr>
        <p:sp>
          <p:nvSpPr>
            <p:cNvPr id="27" name="Rectangle 26">
              <a:extLst>
                <a:ext uri="{FF2B5EF4-FFF2-40B4-BE49-F238E27FC236}">
                  <a16:creationId xmlns:a16="http://schemas.microsoft.com/office/drawing/2014/main" id="{5F91AA5D-5E26-4664-85C7-B6D012503642}"/>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8" name="Straight Connector 27">
              <a:extLst>
                <a:ext uri="{FF2B5EF4-FFF2-40B4-BE49-F238E27FC236}">
                  <a16:creationId xmlns:a16="http://schemas.microsoft.com/office/drawing/2014/main" id="{4580EDC5-25C4-4052-A981-357F4FF0993B}"/>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00F2511F-3F00-46DC-9521-7DB714A6ECD3}"/>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30" name="Title 1">
              <a:extLst>
                <a:ext uri="{FF2B5EF4-FFF2-40B4-BE49-F238E27FC236}">
                  <a16:creationId xmlns:a16="http://schemas.microsoft.com/office/drawing/2014/main" id="{151A0F39-669B-4301-9D62-F3DA2355D014}"/>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32547787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Content_Title_Onl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82D5EAC-EA7E-41D1-B041-A726B5686591}"/>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DDC6B2A9-BA62-44D3-ABB2-3831C93FBF4B}"/>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89D824B6-EF8B-4921-87BB-E03AE3EC8776}"/>
              </a:ext>
            </a:extLst>
          </p:cNvPr>
          <p:cNvSpPr>
            <a:spLocks noGrp="1"/>
          </p:cNvSpPr>
          <p:nvPr>
            <p:ph type="sldNum" sz="quarter" idx="11"/>
          </p:nvPr>
        </p:nvSpPr>
        <p:spPr/>
        <p:txBody>
          <a:bodyPr/>
          <a:lstStyle/>
          <a:p>
            <a:fld id="{5382645D-9DD6-408C-B0EA-C65795F9B1DE}" type="slidenum">
              <a:rPr lang="en-US" smtClean="0"/>
              <a:pPr/>
              <a:t>‹#›</a:t>
            </a:fld>
            <a:endParaRPr lang="en-US"/>
          </a:p>
        </p:txBody>
      </p:sp>
      <p:sp>
        <p:nvSpPr>
          <p:cNvPr id="8" name="Title 7">
            <a:extLst>
              <a:ext uri="{FF2B5EF4-FFF2-40B4-BE49-F238E27FC236}">
                <a16:creationId xmlns:a16="http://schemas.microsoft.com/office/drawing/2014/main" id="{CC23BA5B-4BFD-416D-9BF9-6FFFE38FB94B}"/>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5" name="Group 14">
            <a:extLst>
              <a:ext uri="{FF2B5EF4-FFF2-40B4-BE49-F238E27FC236}">
                <a16:creationId xmlns:a16="http://schemas.microsoft.com/office/drawing/2014/main" id="{19D2BB02-10A3-4910-AE5A-DD7BFB4534FC}"/>
              </a:ext>
            </a:extLst>
          </p:cNvPr>
          <p:cNvGrpSpPr/>
          <p:nvPr userDrawn="1"/>
        </p:nvGrpSpPr>
        <p:grpSpPr>
          <a:xfrm>
            <a:off x="950173" y="6425309"/>
            <a:ext cx="1075910" cy="230941"/>
            <a:chOff x="201074" y="6425309"/>
            <a:chExt cx="1075910" cy="230941"/>
          </a:xfrm>
        </p:grpSpPr>
        <p:sp>
          <p:nvSpPr>
            <p:cNvPr id="16" name="Rectangle 15">
              <a:extLst>
                <a:ext uri="{FF2B5EF4-FFF2-40B4-BE49-F238E27FC236}">
                  <a16:creationId xmlns:a16="http://schemas.microsoft.com/office/drawing/2014/main" id="{4D9C4B31-EF94-4B45-BB8B-1A3EDF3D7764}"/>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17" name="Straight Connector 16">
              <a:extLst>
                <a:ext uri="{FF2B5EF4-FFF2-40B4-BE49-F238E27FC236}">
                  <a16:creationId xmlns:a16="http://schemas.microsoft.com/office/drawing/2014/main" id="{57FD8E0D-4F77-4A6A-9F92-9EF9CA02BAEB}"/>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98D2B046-A6F6-4A2A-9E8C-24556245334C}"/>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0" name="Title 1">
              <a:extLst>
                <a:ext uri="{FF2B5EF4-FFF2-40B4-BE49-F238E27FC236}">
                  <a16:creationId xmlns:a16="http://schemas.microsoft.com/office/drawing/2014/main" id="{A2F41922-6C8D-434E-8270-F3F61A051D3E}"/>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1" name="Group 20">
            <a:extLst>
              <a:ext uri="{FF2B5EF4-FFF2-40B4-BE49-F238E27FC236}">
                <a16:creationId xmlns:a16="http://schemas.microsoft.com/office/drawing/2014/main" id="{9C4179CB-D3F6-456C-B186-677E034410FD}"/>
              </a:ext>
            </a:extLst>
          </p:cNvPr>
          <p:cNvGrpSpPr/>
          <p:nvPr userDrawn="1"/>
        </p:nvGrpSpPr>
        <p:grpSpPr>
          <a:xfrm>
            <a:off x="950173" y="6425309"/>
            <a:ext cx="1075910" cy="230941"/>
            <a:chOff x="201074" y="6425309"/>
            <a:chExt cx="1075910" cy="230941"/>
          </a:xfrm>
        </p:grpSpPr>
        <p:sp>
          <p:nvSpPr>
            <p:cNvPr id="22" name="Rectangle 21">
              <a:extLst>
                <a:ext uri="{FF2B5EF4-FFF2-40B4-BE49-F238E27FC236}">
                  <a16:creationId xmlns:a16="http://schemas.microsoft.com/office/drawing/2014/main" id="{DC5D9D0A-5267-4F58-96E2-81B34FC505EE}"/>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3" name="Straight Connector 22">
              <a:extLst>
                <a:ext uri="{FF2B5EF4-FFF2-40B4-BE49-F238E27FC236}">
                  <a16:creationId xmlns:a16="http://schemas.microsoft.com/office/drawing/2014/main" id="{ED2EB5B4-DCA9-4F77-8C57-C92159687E00}"/>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2FD62290-DB98-44EB-A97A-ADC8812A65D1}"/>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5" name="Title 1">
              <a:extLst>
                <a:ext uri="{FF2B5EF4-FFF2-40B4-BE49-F238E27FC236}">
                  <a16:creationId xmlns:a16="http://schemas.microsoft.com/office/drawing/2014/main" id="{17577510-8EEA-4D0F-B3D6-3B439BCB7647}"/>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14525897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_3_Break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52A2F77-FB08-49A1-8BF3-1C437F333D3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857"/>
            <a:ext cx="12192000" cy="6856286"/>
          </a:xfrm>
          <a:prstGeom prst="rect">
            <a:avLst/>
          </a:prstGeom>
        </p:spPr>
      </p:pic>
      <p:sp>
        <p:nvSpPr>
          <p:cNvPr id="3" name="Text Placeholder 2">
            <a:extLst>
              <a:ext uri="{FF2B5EF4-FFF2-40B4-BE49-F238E27FC236}">
                <a16:creationId xmlns:a16="http://schemas.microsoft.com/office/drawing/2014/main" id="{134A2926-AB14-4821-BE70-31A39598F6A1}"/>
              </a:ext>
            </a:extLst>
          </p:cNvPr>
          <p:cNvSpPr>
            <a:spLocks noGrp="1"/>
          </p:cNvSpPr>
          <p:nvPr>
            <p:ph type="body" idx="1" hasCustomPrompt="1"/>
          </p:nvPr>
        </p:nvSpPr>
        <p:spPr>
          <a:xfrm>
            <a:off x="1093918" y="5587301"/>
            <a:ext cx="2148840" cy="429768"/>
          </a:xfrm>
        </p:spPr>
        <p:txBody>
          <a:bodyPr anchor="ctr" anchorCtr="0">
            <a:noAutofit/>
          </a:bodyPr>
          <a:lstStyle>
            <a:lvl1pPr marL="0" indent="0" algn="ctr">
              <a:lnSpc>
                <a:spcPct val="100000"/>
              </a:lnSpc>
              <a:spcBef>
                <a:spcPts val="0"/>
              </a:spcBef>
              <a:buNone/>
              <a:defRPr lang="en-US" sz="1800" kern="1200" cap="all" spc="120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1" name="Text Placeholder 2">
            <a:extLst>
              <a:ext uri="{FF2B5EF4-FFF2-40B4-BE49-F238E27FC236}">
                <a16:creationId xmlns:a16="http://schemas.microsoft.com/office/drawing/2014/main" id="{4044E1A4-BC47-44B0-9A87-791F99BA9027}"/>
              </a:ext>
            </a:extLst>
          </p:cNvPr>
          <p:cNvSpPr>
            <a:spLocks noGrp="1"/>
          </p:cNvSpPr>
          <p:nvPr>
            <p:ph type="body" idx="11" hasCustomPrompt="1"/>
          </p:nvPr>
        </p:nvSpPr>
        <p:spPr>
          <a:xfrm>
            <a:off x="3262278" y="5587301"/>
            <a:ext cx="429768" cy="429768"/>
          </a:xfrm>
        </p:spPr>
        <p:txBody>
          <a:bodyPr anchor="ctr" anchorCtr="0">
            <a:noAutofit/>
          </a:bodyPr>
          <a:lstStyle>
            <a:lvl1pPr marL="0" indent="0" algn="ctr">
              <a:lnSpc>
                <a:spcPct val="100000"/>
              </a:lnSpc>
              <a:spcBef>
                <a:spcPts val="0"/>
              </a:spcBef>
              <a:buNone/>
              <a:defRPr lang="en-US" sz="1800" kern="1200" spc="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2" name="Title 1">
            <a:extLst>
              <a:ext uri="{FF2B5EF4-FFF2-40B4-BE49-F238E27FC236}">
                <a16:creationId xmlns:a16="http://schemas.microsoft.com/office/drawing/2014/main" id="{B22F253F-0581-42C4-9545-79F835C800F5}"/>
              </a:ext>
            </a:extLst>
          </p:cNvPr>
          <p:cNvSpPr>
            <a:spLocks noGrp="1"/>
          </p:cNvSpPr>
          <p:nvPr>
            <p:ph type="title" hasCustomPrompt="1"/>
          </p:nvPr>
        </p:nvSpPr>
        <p:spPr>
          <a:xfrm>
            <a:off x="838200" y="1282437"/>
            <a:ext cx="10515600" cy="2773195"/>
          </a:xfrm>
          <a:prstGeom prst="rect">
            <a:avLst/>
          </a:prstGeom>
        </p:spPr>
        <p:txBody>
          <a:bodyPr anchor="b">
            <a:spAutoFit/>
          </a:bodyPr>
          <a:lstStyle>
            <a:lvl1pPr>
              <a:lnSpc>
                <a:spcPct val="80000"/>
              </a:lnSpc>
              <a:defRPr sz="7200" cap="all" baseline="0"/>
            </a:lvl1pPr>
          </a:lstStyle>
          <a:p>
            <a:r>
              <a:rPr lang="en-US"/>
              <a:t>CLICK TO EDIT MASTER TITLE STYLE</a:t>
            </a:r>
          </a:p>
        </p:txBody>
      </p:sp>
      <p:pic>
        <p:nvPicPr>
          <p:cNvPr id="7" name="Picture 6">
            <a:extLst>
              <a:ext uri="{FF2B5EF4-FFF2-40B4-BE49-F238E27FC236}">
                <a16:creationId xmlns:a16="http://schemas.microsoft.com/office/drawing/2014/main" id="{F295B888-5D04-4EC1-82B9-705CF55962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57"/>
            <a:ext cx="12192000" cy="6856286"/>
          </a:xfrm>
          <a:prstGeom prst="rect">
            <a:avLst/>
          </a:prstGeom>
        </p:spPr>
      </p:pic>
    </p:spTree>
    <p:extLst>
      <p:ext uri="{BB962C8B-B14F-4D97-AF65-F5344CB8AC3E}">
        <p14:creationId xmlns:p14="http://schemas.microsoft.com/office/powerpoint/2010/main" val="19167871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Content_1_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21CA9F-890A-4ED8-9865-24863BB3C715}"/>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46F5B75-90F3-4861-9F74-99F9CC2F12DF}"/>
              </a:ext>
            </a:extLst>
          </p:cNvPr>
          <p:cNvSpPr>
            <a:spLocks noGrp="1"/>
          </p:cNvSpPr>
          <p:nvPr>
            <p:ph idx="1"/>
          </p:nvPr>
        </p:nvSpPr>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3">
            <a:extLst>
              <a:ext uri="{FF2B5EF4-FFF2-40B4-BE49-F238E27FC236}">
                <a16:creationId xmlns:a16="http://schemas.microsoft.com/office/drawing/2014/main" id="{CEAE037A-B5F2-4867-9063-4303218A5148}"/>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9" name="Footer Placeholder 8">
            <a:extLst>
              <a:ext uri="{FF2B5EF4-FFF2-40B4-BE49-F238E27FC236}">
                <a16:creationId xmlns:a16="http://schemas.microsoft.com/office/drawing/2014/main" id="{CF267629-D067-4223-9005-C3D7505F9AE6}"/>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0" name="Slide Number Placeholder 9">
            <a:extLst>
              <a:ext uri="{FF2B5EF4-FFF2-40B4-BE49-F238E27FC236}">
                <a16:creationId xmlns:a16="http://schemas.microsoft.com/office/drawing/2014/main" id="{6C5FE39E-A144-4C58-8271-DC7EC19A003F}"/>
              </a:ext>
            </a:extLst>
          </p:cNvPr>
          <p:cNvSpPr>
            <a:spLocks noGrp="1"/>
          </p:cNvSpPr>
          <p:nvPr>
            <p:ph type="sldNum" sz="quarter" idx="16"/>
          </p:nvPr>
        </p:nvSpPr>
        <p:spPr/>
        <p:txBody>
          <a:bodyPr/>
          <a:lstStyle/>
          <a:p>
            <a:fld id="{5382645D-9DD6-408C-B0EA-C65795F9B1DE}" type="slidenum">
              <a:rPr lang="en-US" smtClean="0"/>
              <a:pPr/>
              <a:t>‹#›</a:t>
            </a:fld>
            <a:endParaRPr lang="en-US"/>
          </a:p>
        </p:txBody>
      </p:sp>
      <p:sp>
        <p:nvSpPr>
          <p:cNvPr id="17" name="Title 16">
            <a:extLst>
              <a:ext uri="{FF2B5EF4-FFF2-40B4-BE49-F238E27FC236}">
                <a16:creationId xmlns:a16="http://schemas.microsoft.com/office/drawing/2014/main" id="{20C6F5A7-4B7F-4611-934E-EA60A8E621F4}"/>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8" name="Group 17">
            <a:extLst>
              <a:ext uri="{FF2B5EF4-FFF2-40B4-BE49-F238E27FC236}">
                <a16:creationId xmlns:a16="http://schemas.microsoft.com/office/drawing/2014/main" id="{A7626BE7-6979-4586-A7FA-6A66FA60906B}"/>
              </a:ext>
            </a:extLst>
          </p:cNvPr>
          <p:cNvGrpSpPr/>
          <p:nvPr userDrawn="1"/>
        </p:nvGrpSpPr>
        <p:grpSpPr>
          <a:xfrm>
            <a:off x="950173" y="6425309"/>
            <a:ext cx="1075910" cy="230941"/>
            <a:chOff x="201074" y="6425309"/>
            <a:chExt cx="1075910" cy="230941"/>
          </a:xfrm>
        </p:grpSpPr>
        <p:sp>
          <p:nvSpPr>
            <p:cNvPr id="19" name="Rectangle 18">
              <a:extLst>
                <a:ext uri="{FF2B5EF4-FFF2-40B4-BE49-F238E27FC236}">
                  <a16:creationId xmlns:a16="http://schemas.microsoft.com/office/drawing/2014/main" id="{33FB178E-E739-49D0-AF95-4038ED7D772E}"/>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2E037CD2-BB09-471A-9E6A-E5485280F102}"/>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DF5AD04F-1091-40D8-8A20-1ED8D39D6977}"/>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2" name="Title 1">
              <a:extLst>
                <a:ext uri="{FF2B5EF4-FFF2-40B4-BE49-F238E27FC236}">
                  <a16:creationId xmlns:a16="http://schemas.microsoft.com/office/drawing/2014/main" id="{A47A8D0B-2536-43DF-BF48-895A2076D2D3}"/>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3" name="Group 22">
            <a:extLst>
              <a:ext uri="{FF2B5EF4-FFF2-40B4-BE49-F238E27FC236}">
                <a16:creationId xmlns:a16="http://schemas.microsoft.com/office/drawing/2014/main" id="{4DAB42CD-48A5-4114-8298-73DD6CFD5A21}"/>
              </a:ext>
            </a:extLst>
          </p:cNvPr>
          <p:cNvGrpSpPr/>
          <p:nvPr userDrawn="1"/>
        </p:nvGrpSpPr>
        <p:grpSpPr>
          <a:xfrm>
            <a:off x="950173" y="6425309"/>
            <a:ext cx="1075910" cy="230941"/>
            <a:chOff x="201074" y="6425309"/>
            <a:chExt cx="1075910" cy="230941"/>
          </a:xfrm>
        </p:grpSpPr>
        <p:sp>
          <p:nvSpPr>
            <p:cNvPr id="24" name="Rectangle 23">
              <a:extLst>
                <a:ext uri="{FF2B5EF4-FFF2-40B4-BE49-F238E27FC236}">
                  <a16:creationId xmlns:a16="http://schemas.microsoft.com/office/drawing/2014/main" id="{FFF04B77-8837-4549-8BE3-7B7BD3DD0FCC}"/>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5" name="Straight Connector 24">
              <a:extLst>
                <a:ext uri="{FF2B5EF4-FFF2-40B4-BE49-F238E27FC236}">
                  <a16:creationId xmlns:a16="http://schemas.microsoft.com/office/drawing/2014/main" id="{35DBFECB-3B99-4CC6-923A-3B6CB4F7214A}"/>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355A546F-D043-4ABD-BFCA-CDB591751982}"/>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7" name="Title 1">
              <a:extLst>
                <a:ext uri="{FF2B5EF4-FFF2-40B4-BE49-F238E27FC236}">
                  <a16:creationId xmlns:a16="http://schemas.microsoft.com/office/drawing/2014/main" id="{C857DEAA-0A81-4EF4-8B74-EC04DED90957}"/>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19208341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Content_2_Column">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3A672A1-6098-4F16-9F16-A50B2DDE9DC4}"/>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6AB1576-A66D-4B20-A58C-B10B7A0CFCAC}"/>
              </a:ext>
            </a:extLst>
          </p:cNvPr>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A9119D-3B4E-4F09-BA89-FE6FA0BEB078}"/>
              </a:ext>
            </a:extLst>
          </p:cNvPr>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3">
            <a:extLst>
              <a:ext uri="{FF2B5EF4-FFF2-40B4-BE49-F238E27FC236}">
                <a16:creationId xmlns:a16="http://schemas.microsoft.com/office/drawing/2014/main" id="{59E2301F-79F9-43CC-80C2-F3A2C84CC1E9}"/>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16" name="Footer Placeholder 15">
            <a:extLst>
              <a:ext uri="{FF2B5EF4-FFF2-40B4-BE49-F238E27FC236}">
                <a16:creationId xmlns:a16="http://schemas.microsoft.com/office/drawing/2014/main" id="{09C7B212-9F48-4939-8A51-4F4E18B7DE95}"/>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7" name="Slide Number Placeholder 16">
            <a:extLst>
              <a:ext uri="{FF2B5EF4-FFF2-40B4-BE49-F238E27FC236}">
                <a16:creationId xmlns:a16="http://schemas.microsoft.com/office/drawing/2014/main" id="{8A751409-4E43-4149-B163-2804714D76C9}"/>
              </a:ext>
            </a:extLst>
          </p:cNvPr>
          <p:cNvSpPr>
            <a:spLocks noGrp="1"/>
          </p:cNvSpPr>
          <p:nvPr>
            <p:ph type="sldNum" sz="quarter" idx="16"/>
          </p:nvPr>
        </p:nvSpPr>
        <p:spPr/>
        <p:txBody>
          <a:bodyPr/>
          <a:lstStyle/>
          <a:p>
            <a:fld id="{5382645D-9DD6-408C-B0EA-C65795F9B1DE}" type="slidenum">
              <a:rPr lang="en-US" smtClean="0"/>
              <a:pPr/>
              <a:t>‹#›</a:t>
            </a:fld>
            <a:endParaRPr lang="en-US"/>
          </a:p>
        </p:txBody>
      </p:sp>
      <p:sp>
        <p:nvSpPr>
          <p:cNvPr id="18" name="Title 17">
            <a:extLst>
              <a:ext uri="{FF2B5EF4-FFF2-40B4-BE49-F238E27FC236}">
                <a16:creationId xmlns:a16="http://schemas.microsoft.com/office/drawing/2014/main" id="{5E34604D-0E22-4D09-B3E8-640A440AD175}"/>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9" name="Group 18">
            <a:extLst>
              <a:ext uri="{FF2B5EF4-FFF2-40B4-BE49-F238E27FC236}">
                <a16:creationId xmlns:a16="http://schemas.microsoft.com/office/drawing/2014/main" id="{45930DCA-BAD3-45F4-BAA0-1224E5FDCC88}"/>
              </a:ext>
            </a:extLst>
          </p:cNvPr>
          <p:cNvGrpSpPr/>
          <p:nvPr userDrawn="1"/>
        </p:nvGrpSpPr>
        <p:grpSpPr>
          <a:xfrm>
            <a:off x="950173" y="6425309"/>
            <a:ext cx="1075910" cy="230941"/>
            <a:chOff x="201074" y="6425309"/>
            <a:chExt cx="1075910" cy="230941"/>
          </a:xfrm>
        </p:grpSpPr>
        <p:sp>
          <p:nvSpPr>
            <p:cNvPr id="20" name="Rectangle 19">
              <a:extLst>
                <a:ext uri="{FF2B5EF4-FFF2-40B4-BE49-F238E27FC236}">
                  <a16:creationId xmlns:a16="http://schemas.microsoft.com/office/drawing/2014/main" id="{A7FE1140-2F56-4559-BBA8-4E1C522D7DF7}"/>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1" name="Straight Connector 20">
              <a:extLst>
                <a:ext uri="{FF2B5EF4-FFF2-40B4-BE49-F238E27FC236}">
                  <a16:creationId xmlns:a16="http://schemas.microsoft.com/office/drawing/2014/main" id="{FF8D484C-7780-4C55-89BF-F3E9B841B2F1}"/>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C1AB05B4-DF24-4A34-9D64-AC461D5591FB}"/>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4" name="Title 1">
              <a:extLst>
                <a:ext uri="{FF2B5EF4-FFF2-40B4-BE49-F238E27FC236}">
                  <a16:creationId xmlns:a16="http://schemas.microsoft.com/office/drawing/2014/main" id="{4B1FA1A3-9D57-4620-8298-2A89B4911184}"/>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5" name="Group 24">
            <a:extLst>
              <a:ext uri="{FF2B5EF4-FFF2-40B4-BE49-F238E27FC236}">
                <a16:creationId xmlns:a16="http://schemas.microsoft.com/office/drawing/2014/main" id="{35E2F4D4-11C7-4023-9942-1D5FA6A9CDE9}"/>
              </a:ext>
            </a:extLst>
          </p:cNvPr>
          <p:cNvGrpSpPr/>
          <p:nvPr userDrawn="1"/>
        </p:nvGrpSpPr>
        <p:grpSpPr>
          <a:xfrm>
            <a:off x="950173" y="6425309"/>
            <a:ext cx="1075910" cy="230941"/>
            <a:chOff x="201074" y="6425309"/>
            <a:chExt cx="1075910" cy="230941"/>
          </a:xfrm>
        </p:grpSpPr>
        <p:sp>
          <p:nvSpPr>
            <p:cNvPr id="26" name="Rectangle 25">
              <a:extLst>
                <a:ext uri="{FF2B5EF4-FFF2-40B4-BE49-F238E27FC236}">
                  <a16:creationId xmlns:a16="http://schemas.microsoft.com/office/drawing/2014/main" id="{32825994-99D1-427C-BBD6-FD5DB3654FA0}"/>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7" name="Straight Connector 26">
              <a:extLst>
                <a:ext uri="{FF2B5EF4-FFF2-40B4-BE49-F238E27FC236}">
                  <a16:creationId xmlns:a16="http://schemas.microsoft.com/office/drawing/2014/main" id="{67202683-4AAF-4114-B008-B1FC70D9AD72}"/>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CA14BE64-FAB4-4E12-8AFF-09C418A93F49}"/>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9" name="Title 1">
              <a:extLst>
                <a:ext uri="{FF2B5EF4-FFF2-40B4-BE49-F238E27FC236}">
                  <a16:creationId xmlns:a16="http://schemas.microsoft.com/office/drawing/2014/main" id="{C4FB968E-9F0B-4395-B4EF-40898D609192}"/>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948225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5" name="Text Placeholder 23">
            <a:extLst>
              <a:ext uri="{FF2B5EF4-FFF2-40B4-BE49-F238E27FC236}">
                <a16:creationId xmlns:a16="http://schemas.microsoft.com/office/drawing/2014/main" id="{52C2D88E-FED3-42E4-98F3-FAB2DD820509}"/>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84" name="Rectangle 83">
            <a:extLst>
              <a:ext uri="{FF2B5EF4-FFF2-40B4-BE49-F238E27FC236}">
                <a16:creationId xmlns:a16="http://schemas.microsoft.com/office/drawing/2014/main" id="{CF2C97A6-FD4B-4F40-AC5E-26B47F61CC32}"/>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6" name="Group 85">
            <a:extLst>
              <a:ext uri="{FF2B5EF4-FFF2-40B4-BE49-F238E27FC236}">
                <a16:creationId xmlns:a16="http://schemas.microsoft.com/office/drawing/2014/main" id="{8635D3F6-61B7-4775-A3EF-A5B5C57A0D36}"/>
              </a:ext>
            </a:extLst>
          </p:cNvPr>
          <p:cNvGrpSpPr/>
          <p:nvPr/>
        </p:nvGrpSpPr>
        <p:grpSpPr>
          <a:xfrm>
            <a:off x="950173" y="6425309"/>
            <a:ext cx="1075910" cy="230941"/>
            <a:chOff x="201074" y="6425309"/>
            <a:chExt cx="1075910" cy="230941"/>
          </a:xfrm>
        </p:grpSpPr>
        <p:sp>
          <p:nvSpPr>
            <p:cNvPr id="87" name="Rectangle 86">
              <a:extLst>
                <a:ext uri="{FF2B5EF4-FFF2-40B4-BE49-F238E27FC236}">
                  <a16:creationId xmlns:a16="http://schemas.microsoft.com/office/drawing/2014/main" id="{9D530AC5-99EE-4D03-A27A-B758D688E366}"/>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88" name="Straight Connector 87">
              <a:extLst>
                <a:ext uri="{FF2B5EF4-FFF2-40B4-BE49-F238E27FC236}">
                  <a16:creationId xmlns:a16="http://schemas.microsoft.com/office/drawing/2014/main" id="{C1653980-E09B-486A-B211-86088B554889}"/>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Title 1">
              <a:extLst>
                <a:ext uri="{FF2B5EF4-FFF2-40B4-BE49-F238E27FC236}">
                  <a16:creationId xmlns:a16="http://schemas.microsoft.com/office/drawing/2014/main" id="{F6D2C11E-6E4C-4782-92EB-3614FEBD7B36}"/>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90" name="Title 1">
              <a:extLst>
                <a:ext uri="{FF2B5EF4-FFF2-40B4-BE49-F238E27FC236}">
                  <a16:creationId xmlns:a16="http://schemas.microsoft.com/office/drawing/2014/main" id="{6F6B4782-EA2D-40D5-96FA-9BC545DF8BDD}"/>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92" name="Footer Placeholder 91">
            <a:extLst>
              <a:ext uri="{FF2B5EF4-FFF2-40B4-BE49-F238E27FC236}">
                <a16:creationId xmlns:a16="http://schemas.microsoft.com/office/drawing/2014/main" id="{1CFFA88D-A307-475A-B425-C177E863421C}"/>
              </a:ext>
            </a:extLst>
          </p:cNvPr>
          <p:cNvSpPr>
            <a:spLocks noGrp="1"/>
          </p:cNvSpPr>
          <p:nvPr>
            <p:ph type="ftr" sz="quarter" idx="21"/>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93" name="Slide Number Placeholder 92">
            <a:extLst>
              <a:ext uri="{FF2B5EF4-FFF2-40B4-BE49-F238E27FC236}">
                <a16:creationId xmlns:a16="http://schemas.microsoft.com/office/drawing/2014/main" id="{C83F2565-42B2-44E1-8C7E-F5444CD96B72}"/>
              </a:ext>
            </a:extLst>
          </p:cNvPr>
          <p:cNvSpPr>
            <a:spLocks noGrp="1"/>
          </p:cNvSpPr>
          <p:nvPr>
            <p:ph type="sldNum" sz="quarter" idx="22"/>
          </p:nvPr>
        </p:nvSpPr>
        <p:spPr/>
        <p:txBody>
          <a:bodyPr/>
          <a:lstStyle/>
          <a:p>
            <a:fld id="{5382645D-9DD6-408C-B0EA-C65795F9B1DE}" type="slidenum">
              <a:rPr lang="en-US" smtClean="0"/>
              <a:pPr/>
              <a:t>‹#›</a:t>
            </a:fld>
            <a:endParaRPr lang="en-US"/>
          </a:p>
        </p:txBody>
      </p:sp>
      <p:sp>
        <p:nvSpPr>
          <p:cNvPr id="4" name="Text Placeholder 3">
            <a:extLst>
              <a:ext uri="{FF2B5EF4-FFF2-40B4-BE49-F238E27FC236}">
                <a16:creationId xmlns:a16="http://schemas.microsoft.com/office/drawing/2014/main" id="{0092BFF6-0035-433A-A61A-BD6A5E53120E}"/>
              </a:ext>
            </a:extLst>
          </p:cNvPr>
          <p:cNvSpPr>
            <a:spLocks noGrp="1"/>
          </p:cNvSpPr>
          <p:nvPr>
            <p:ph type="body" sz="quarter" idx="23" hasCustomPrompt="1"/>
          </p:nvPr>
        </p:nvSpPr>
        <p:spPr>
          <a:xfrm>
            <a:off x="838200" y="3407179"/>
            <a:ext cx="3110354" cy="790216"/>
          </a:xfrm>
        </p:spPr>
        <p:txBody>
          <a:bodyPr anchor="b" anchorCtr="0">
            <a:spAutoFit/>
          </a:bodyPr>
          <a:lstStyle>
            <a:lvl1pPr marL="0" indent="0">
              <a:lnSpc>
                <a:spcPct val="80000"/>
              </a:lnSpc>
              <a:spcBef>
                <a:spcPts val="0"/>
              </a:spcBef>
              <a:buNone/>
              <a:defRPr lang="en-US" sz="2800" kern="1200" dirty="0" smtClean="0">
                <a:solidFill>
                  <a:schemeClr val="bg1"/>
                </a:solidFill>
                <a:latin typeface="Arial Black" panose="020B0A04020102020204" pitchFamily="34" charset="0"/>
                <a:ea typeface="+mj-ea"/>
                <a:cs typeface="+mj-cs"/>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49" name="Text Placeholder 3">
            <a:extLst>
              <a:ext uri="{FF2B5EF4-FFF2-40B4-BE49-F238E27FC236}">
                <a16:creationId xmlns:a16="http://schemas.microsoft.com/office/drawing/2014/main" id="{BA35A6BD-1106-4C3F-BF57-8B7E9302FAA2}"/>
              </a:ext>
            </a:extLst>
          </p:cNvPr>
          <p:cNvSpPr>
            <a:spLocks noGrp="1"/>
          </p:cNvSpPr>
          <p:nvPr>
            <p:ph type="body" sz="quarter" idx="24" hasCustomPrompt="1"/>
          </p:nvPr>
        </p:nvSpPr>
        <p:spPr>
          <a:xfrm>
            <a:off x="838200" y="4660750"/>
            <a:ext cx="3110354" cy="1639421"/>
          </a:xfrm>
        </p:spPr>
        <p:txBody>
          <a:bodyPr anchor="t" anchorCtr="0">
            <a:normAutofit/>
          </a:bodyPr>
          <a:lstStyle>
            <a:lvl1pPr marL="0" indent="0">
              <a:lnSpc>
                <a:spcPct val="100000"/>
              </a:lnSpc>
              <a:spcBef>
                <a:spcPts val="600"/>
              </a:spcBef>
              <a:spcAft>
                <a:spcPts val="600"/>
              </a:spcAft>
              <a:buNone/>
              <a:defRPr lang="en-US" sz="1600" kern="1200" dirty="0" smtClean="0">
                <a:solidFill>
                  <a:schemeClr val="bg1"/>
                </a:solidFill>
                <a:latin typeface="Arial" panose="020B0604020202020204" pitchFamily="34" charset="0"/>
                <a:ea typeface="+mj-ea"/>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0" name="Text Placeholder 3">
            <a:extLst>
              <a:ext uri="{FF2B5EF4-FFF2-40B4-BE49-F238E27FC236}">
                <a16:creationId xmlns:a16="http://schemas.microsoft.com/office/drawing/2014/main" id="{6780F03D-12E5-44A8-AB61-783D35F4952B}"/>
              </a:ext>
            </a:extLst>
          </p:cNvPr>
          <p:cNvSpPr>
            <a:spLocks noGrp="1"/>
          </p:cNvSpPr>
          <p:nvPr>
            <p:ph type="body" sz="quarter" idx="25" hasCustomPrompt="1"/>
          </p:nvPr>
        </p:nvSpPr>
        <p:spPr>
          <a:xfrm>
            <a:off x="4562907" y="3407179"/>
            <a:ext cx="3110354" cy="790216"/>
          </a:xfrm>
        </p:spPr>
        <p:txBody>
          <a:bodyPr anchor="b" anchorCtr="0">
            <a:spAutoFit/>
          </a:bodyPr>
          <a:lstStyle>
            <a:lvl1pPr marL="0" indent="0">
              <a:lnSpc>
                <a:spcPct val="80000"/>
              </a:lnSpc>
              <a:spcBef>
                <a:spcPts val="0"/>
              </a:spcBef>
              <a:buNone/>
              <a:defRPr lang="en-US" sz="2800" kern="1200" dirty="0" smtClean="0">
                <a:solidFill>
                  <a:schemeClr val="bg1"/>
                </a:solidFill>
                <a:latin typeface="Arial Black" panose="020B0A04020102020204" pitchFamily="34" charset="0"/>
                <a:ea typeface="+mj-ea"/>
                <a:cs typeface="+mj-cs"/>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1" name="Text Placeholder 3">
            <a:extLst>
              <a:ext uri="{FF2B5EF4-FFF2-40B4-BE49-F238E27FC236}">
                <a16:creationId xmlns:a16="http://schemas.microsoft.com/office/drawing/2014/main" id="{86075632-1897-418B-9BA7-F5DB06618AC4}"/>
              </a:ext>
            </a:extLst>
          </p:cNvPr>
          <p:cNvSpPr>
            <a:spLocks noGrp="1"/>
          </p:cNvSpPr>
          <p:nvPr>
            <p:ph type="body" sz="quarter" idx="26" hasCustomPrompt="1"/>
          </p:nvPr>
        </p:nvSpPr>
        <p:spPr>
          <a:xfrm>
            <a:off x="4562906" y="4660750"/>
            <a:ext cx="3110354" cy="1639421"/>
          </a:xfrm>
        </p:spPr>
        <p:txBody>
          <a:bodyPr anchor="t" anchorCtr="0">
            <a:normAutofit/>
          </a:bodyPr>
          <a:lstStyle>
            <a:lvl1pPr marL="0" indent="0">
              <a:lnSpc>
                <a:spcPct val="100000"/>
              </a:lnSpc>
              <a:spcBef>
                <a:spcPts val="600"/>
              </a:spcBef>
              <a:spcAft>
                <a:spcPts val="600"/>
              </a:spcAft>
              <a:buNone/>
              <a:defRPr lang="en-US" sz="1600" kern="1200" dirty="0" smtClean="0">
                <a:solidFill>
                  <a:schemeClr val="bg1"/>
                </a:solidFill>
                <a:latin typeface="Arial" panose="020B0604020202020204" pitchFamily="34" charset="0"/>
                <a:ea typeface="+mj-ea"/>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5" name="Text Placeholder 3">
            <a:extLst>
              <a:ext uri="{FF2B5EF4-FFF2-40B4-BE49-F238E27FC236}">
                <a16:creationId xmlns:a16="http://schemas.microsoft.com/office/drawing/2014/main" id="{CAD48313-8398-490C-9E20-1B1FC4270D11}"/>
              </a:ext>
            </a:extLst>
          </p:cNvPr>
          <p:cNvSpPr>
            <a:spLocks noGrp="1"/>
          </p:cNvSpPr>
          <p:nvPr>
            <p:ph type="body" sz="quarter" idx="27" hasCustomPrompt="1"/>
          </p:nvPr>
        </p:nvSpPr>
        <p:spPr>
          <a:xfrm>
            <a:off x="8687232" y="3407179"/>
            <a:ext cx="3110354" cy="790216"/>
          </a:xfrm>
        </p:spPr>
        <p:txBody>
          <a:bodyPr anchor="b" anchorCtr="0">
            <a:spAutoFit/>
          </a:bodyPr>
          <a:lstStyle>
            <a:lvl1pPr marL="0" indent="0">
              <a:lnSpc>
                <a:spcPct val="80000"/>
              </a:lnSpc>
              <a:spcBef>
                <a:spcPts val="0"/>
              </a:spcBef>
              <a:buNone/>
              <a:defRPr lang="en-US" sz="2800" kern="1200" dirty="0" smtClean="0">
                <a:solidFill>
                  <a:schemeClr val="bg1"/>
                </a:solidFill>
                <a:latin typeface="Arial Black" panose="020B0A04020102020204" pitchFamily="34" charset="0"/>
                <a:ea typeface="+mj-ea"/>
                <a:cs typeface="+mj-cs"/>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56" name="Text Placeholder 3">
            <a:extLst>
              <a:ext uri="{FF2B5EF4-FFF2-40B4-BE49-F238E27FC236}">
                <a16:creationId xmlns:a16="http://schemas.microsoft.com/office/drawing/2014/main" id="{E164B317-7444-42E6-B2CC-6C4AB7288514}"/>
              </a:ext>
            </a:extLst>
          </p:cNvPr>
          <p:cNvSpPr>
            <a:spLocks noGrp="1"/>
          </p:cNvSpPr>
          <p:nvPr>
            <p:ph type="body" sz="quarter" idx="28" hasCustomPrompt="1"/>
          </p:nvPr>
        </p:nvSpPr>
        <p:spPr>
          <a:xfrm>
            <a:off x="8687231" y="4660750"/>
            <a:ext cx="3110354" cy="1639421"/>
          </a:xfrm>
        </p:spPr>
        <p:txBody>
          <a:bodyPr anchor="t" anchorCtr="0">
            <a:normAutofit/>
          </a:bodyPr>
          <a:lstStyle>
            <a:lvl1pPr marL="0" indent="0">
              <a:lnSpc>
                <a:spcPct val="100000"/>
              </a:lnSpc>
              <a:spcBef>
                <a:spcPts val="600"/>
              </a:spcBef>
              <a:spcAft>
                <a:spcPts val="600"/>
              </a:spcAft>
              <a:buNone/>
              <a:defRPr lang="en-US" sz="1600" kern="1200" dirty="0" smtClean="0">
                <a:solidFill>
                  <a:schemeClr val="bg1"/>
                </a:solidFill>
                <a:latin typeface="Arial" panose="020B0604020202020204" pitchFamily="34" charset="0"/>
                <a:ea typeface="+mj-ea"/>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3" name="Picture Placeholder 2">
            <a:extLst>
              <a:ext uri="{FF2B5EF4-FFF2-40B4-BE49-F238E27FC236}">
                <a16:creationId xmlns:a16="http://schemas.microsoft.com/office/drawing/2014/main" id="{A6D0DC0C-8273-45FF-BB5A-7552D3AC3113}"/>
              </a:ext>
            </a:extLst>
          </p:cNvPr>
          <p:cNvSpPr>
            <a:spLocks noGrp="1"/>
          </p:cNvSpPr>
          <p:nvPr>
            <p:ph type="pic" sz="quarter" idx="15" hasCustomPrompt="1"/>
          </p:nvPr>
        </p:nvSpPr>
        <p:spPr>
          <a:xfrm>
            <a:off x="-1" y="1458366"/>
            <a:ext cx="3948555" cy="4856373"/>
          </a:xfrm>
          <a:noFill/>
        </p:spPr>
        <p:txBody>
          <a:bodyPr/>
          <a:lstStyle>
            <a:lvl1pPr marL="0" indent="0">
              <a:buNone/>
              <a:defRPr/>
            </a:lvl1pPr>
          </a:lstStyle>
          <a:p>
            <a:r>
              <a:rPr lang="en-US"/>
              <a:t>Insert image and send to back </a:t>
            </a:r>
          </a:p>
        </p:txBody>
      </p:sp>
      <p:sp>
        <p:nvSpPr>
          <p:cNvPr id="71" name="Picture Placeholder 2">
            <a:extLst>
              <a:ext uri="{FF2B5EF4-FFF2-40B4-BE49-F238E27FC236}">
                <a16:creationId xmlns:a16="http://schemas.microsoft.com/office/drawing/2014/main" id="{6EAB7CA3-3029-4A06-B515-6C331CDB008C}"/>
              </a:ext>
            </a:extLst>
          </p:cNvPr>
          <p:cNvSpPr>
            <a:spLocks noGrp="1"/>
          </p:cNvSpPr>
          <p:nvPr>
            <p:ph type="pic" sz="quarter" idx="16" hasCustomPrompt="1"/>
          </p:nvPr>
        </p:nvSpPr>
        <p:spPr>
          <a:xfrm>
            <a:off x="4119378" y="1458366"/>
            <a:ext cx="3948555" cy="4856373"/>
          </a:xfrm>
          <a:no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Insert image and send to back</a:t>
            </a:r>
          </a:p>
        </p:txBody>
      </p:sp>
      <p:sp>
        <p:nvSpPr>
          <p:cNvPr id="72" name="Picture Placeholder 2">
            <a:extLst>
              <a:ext uri="{FF2B5EF4-FFF2-40B4-BE49-F238E27FC236}">
                <a16:creationId xmlns:a16="http://schemas.microsoft.com/office/drawing/2014/main" id="{4AD0012F-F544-44A7-87B5-40082A71AC66}"/>
              </a:ext>
            </a:extLst>
          </p:cNvPr>
          <p:cNvSpPr>
            <a:spLocks noGrp="1"/>
          </p:cNvSpPr>
          <p:nvPr>
            <p:ph type="pic" sz="quarter" idx="17" hasCustomPrompt="1"/>
          </p:nvPr>
        </p:nvSpPr>
        <p:spPr>
          <a:xfrm>
            <a:off x="8241137" y="1458366"/>
            <a:ext cx="3948555" cy="4856373"/>
          </a:xfrm>
          <a:noFill/>
        </p:spPr>
        <p:txBody>
          <a:bodyPr/>
          <a:lstStyle>
            <a:lvl1pPr marL="0" indent="0">
              <a:buNone/>
              <a:defRPr/>
            </a:lvl1pPr>
          </a:lstStyle>
          <a:p>
            <a:r>
              <a:rPr lang="en-US"/>
              <a:t>Insert image and send to back</a:t>
            </a:r>
          </a:p>
        </p:txBody>
      </p:sp>
      <p:sp>
        <p:nvSpPr>
          <p:cNvPr id="5" name="Title 4">
            <a:extLst>
              <a:ext uri="{FF2B5EF4-FFF2-40B4-BE49-F238E27FC236}">
                <a16:creationId xmlns:a16="http://schemas.microsoft.com/office/drawing/2014/main" id="{701C9170-EA91-4FF6-AD68-E226053624AD}"/>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sp>
        <p:nvSpPr>
          <p:cNvPr id="21" name="Rectangle 20">
            <a:extLst>
              <a:ext uri="{FF2B5EF4-FFF2-40B4-BE49-F238E27FC236}">
                <a16:creationId xmlns:a16="http://schemas.microsoft.com/office/drawing/2014/main" id="{2D1F1FF7-6761-478F-A4D1-DE1EED9CB2F2}"/>
              </a:ext>
            </a:extLst>
          </p:cNvPr>
          <p:cNvSpPr/>
          <p:nvPr userDrawn="1"/>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95639145-6AEC-47D2-88F9-50308F6BA810}"/>
              </a:ext>
            </a:extLst>
          </p:cNvPr>
          <p:cNvGrpSpPr/>
          <p:nvPr userDrawn="1"/>
        </p:nvGrpSpPr>
        <p:grpSpPr>
          <a:xfrm>
            <a:off x="950173" y="6425309"/>
            <a:ext cx="1075910" cy="230941"/>
            <a:chOff x="201074" y="6425309"/>
            <a:chExt cx="1075910" cy="230941"/>
          </a:xfrm>
        </p:grpSpPr>
        <p:sp>
          <p:nvSpPr>
            <p:cNvPr id="23" name="Rectangle 22">
              <a:extLst>
                <a:ext uri="{FF2B5EF4-FFF2-40B4-BE49-F238E27FC236}">
                  <a16:creationId xmlns:a16="http://schemas.microsoft.com/office/drawing/2014/main" id="{281E5FBB-C9F3-46FA-B67D-71A1459FB775}"/>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4" name="Straight Connector 23">
              <a:extLst>
                <a:ext uri="{FF2B5EF4-FFF2-40B4-BE49-F238E27FC236}">
                  <a16:creationId xmlns:a16="http://schemas.microsoft.com/office/drawing/2014/main" id="{CBC438F6-5D6E-483F-AE07-22D1CF26FA14}"/>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398C537D-40C6-41E7-883C-897323C2DFFB}"/>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7" name="Title 1">
              <a:extLst>
                <a:ext uri="{FF2B5EF4-FFF2-40B4-BE49-F238E27FC236}">
                  <a16:creationId xmlns:a16="http://schemas.microsoft.com/office/drawing/2014/main" id="{B709E0D1-5884-48FC-AB13-CB0FFAC6D763}"/>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26622087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Content_2_Column_Heading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0D9413E-D227-4FE2-BE0B-DA22343417E2}"/>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66BFE55-BD97-40D2-881E-849B8B965486}"/>
              </a:ext>
            </a:extLst>
          </p:cNvPr>
          <p:cNvSpPr>
            <a:spLocks noGrp="1"/>
          </p:cNvSpPr>
          <p:nvPr>
            <p:ph type="body" idx="1" hasCustomPrompt="1"/>
          </p:nvPr>
        </p:nvSpPr>
        <p:spPr>
          <a:xfrm>
            <a:off x="839788" y="1681163"/>
            <a:ext cx="5157787" cy="823912"/>
          </a:xfrm>
        </p:spPr>
        <p:txBody>
          <a:bodyPr anchor="b">
            <a:normAutofit/>
          </a:bodyPr>
          <a:lstStyle>
            <a:lvl1pPr marL="0" indent="0">
              <a:buNone/>
              <a:defRPr lang="en-US" sz="2400" kern="1200" dirty="0">
                <a:solidFill>
                  <a:schemeClr val="tx1"/>
                </a:solidFill>
                <a:latin typeface="Arial Black" panose="020B0A04020102020204" pitchFamily="34" charset="0"/>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AAA8F1D-9DF6-44E1-8095-EF504C74B4C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DB530F-C89C-40F3-8D4D-BC132C56379C}"/>
              </a:ext>
            </a:extLst>
          </p:cNvPr>
          <p:cNvSpPr>
            <a:spLocks noGrp="1"/>
          </p:cNvSpPr>
          <p:nvPr>
            <p:ph type="body" sz="quarter" idx="3" hasCustomPrompt="1"/>
          </p:nvPr>
        </p:nvSpPr>
        <p:spPr>
          <a:xfrm>
            <a:off x="6172200" y="1681163"/>
            <a:ext cx="5183188" cy="823912"/>
          </a:xfrm>
        </p:spPr>
        <p:txBody>
          <a:bodyPr anchor="b">
            <a:normAutofit/>
          </a:bodyPr>
          <a:lstStyle>
            <a:lvl1pPr marL="0" indent="0">
              <a:buNone/>
              <a:defRPr lang="en-US" sz="2400" kern="1200" dirty="0">
                <a:solidFill>
                  <a:schemeClr val="tx1"/>
                </a:solidFill>
                <a:latin typeface="Arial Black" panose="020B0A04020102020204" pitchFamily="34" charset="0"/>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a:extLst>
              <a:ext uri="{FF2B5EF4-FFF2-40B4-BE49-F238E27FC236}">
                <a16:creationId xmlns:a16="http://schemas.microsoft.com/office/drawing/2014/main" id="{DEA8C6DD-00F1-45A4-9D15-5F3C5C0C8C4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15">
            <a:extLst>
              <a:ext uri="{FF2B5EF4-FFF2-40B4-BE49-F238E27FC236}">
                <a16:creationId xmlns:a16="http://schemas.microsoft.com/office/drawing/2014/main" id="{7CF08CC5-4317-4B96-AB60-41B5AB266DD1}"/>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7" name="Slide Number Placeholder 16">
            <a:extLst>
              <a:ext uri="{FF2B5EF4-FFF2-40B4-BE49-F238E27FC236}">
                <a16:creationId xmlns:a16="http://schemas.microsoft.com/office/drawing/2014/main" id="{79824AA5-B383-4B53-B673-42127E9B38AD}"/>
              </a:ext>
            </a:extLst>
          </p:cNvPr>
          <p:cNvSpPr>
            <a:spLocks noGrp="1"/>
          </p:cNvSpPr>
          <p:nvPr>
            <p:ph type="sldNum" sz="quarter" idx="11"/>
          </p:nvPr>
        </p:nvSpPr>
        <p:spPr/>
        <p:txBody>
          <a:bodyPr/>
          <a:lstStyle/>
          <a:p>
            <a:fld id="{5382645D-9DD6-408C-B0EA-C65795F9B1DE}" type="slidenum">
              <a:rPr lang="en-US" smtClean="0"/>
              <a:pPr/>
              <a:t>‹#›</a:t>
            </a:fld>
            <a:endParaRPr lang="en-US"/>
          </a:p>
        </p:txBody>
      </p:sp>
      <p:sp>
        <p:nvSpPr>
          <p:cNvPr id="19" name="Text Placeholder 23">
            <a:extLst>
              <a:ext uri="{FF2B5EF4-FFF2-40B4-BE49-F238E27FC236}">
                <a16:creationId xmlns:a16="http://schemas.microsoft.com/office/drawing/2014/main" id="{B5992E84-7496-4E84-8165-1FDA57624280}"/>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21" name="Title 20">
            <a:extLst>
              <a:ext uri="{FF2B5EF4-FFF2-40B4-BE49-F238E27FC236}">
                <a16:creationId xmlns:a16="http://schemas.microsoft.com/office/drawing/2014/main" id="{7C756DD1-9C68-4B89-9C91-D71AAFB52ECC}"/>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8" name="Group 17">
            <a:extLst>
              <a:ext uri="{FF2B5EF4-FFF2-40B4-BE49-F238E27FC236}">
                <a16:creationId xmlns:a16="http://schemas.microsoft.com/office/drawing/2014/main" id="{459FB22C-9727-4CA1-B30F-FF476DD418E2}"/>
              </a:ext>
            </a:extLst>
          </p:cNvPr>
          <p:cNvGrpSpPr/>
          <p:nvPr userDrawn="1"/>
        </p:nvGrpSpPr>
        <p:grpSpPr>
          <a:xfrm>
            <a:off x="950173" y="6425309"/>
            <a:ext cx="1075910" cy="230941"/>
            <a:chOff x="201074" y="6425309"/>
            <a:chExt cx="1075910" cy="230941"/>
          </a:xfrm>
        </p:grpSpPr>
        <p:sp>
          <p:nvSpPr>
            <p:cNvPr id="20" name="Rectangle 19">
              <a:extLst>
                <a:ext uri="{FF2B5EF4-FFF2-40B4-BE49-F238E27FC236}">
                  <a16:creationId xmlns:a16="http://schemas.microsoft.com/office/drawing/2014/main" id="{37C4138E-7851-4B7C-A753-0181DAA12CCB}"/>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2" name="Straight Connector 21">
              <a:extLst>
                <a:ext uri="{FF2B5EF4-FFF2-40B4-BE49-F238E27FC236}">
                  <a16:creationId xmlns:a16="http://schemas.microsoft.com/office/drawing/2014/main" id="{4202214C-04DB-4E38-BDAB-C61DF674A7C9}"/>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D181167A-CB95-45A2-BCBE-B638986A451D}"/>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5" name="Title 1">
              <a:extLst>
                <a:ext uri="{FF2B5EF4-FFF2-40B4-BE49-F238E27FC236}">
                  <a16:creationId xmlns:a16="http://schemas.microsoft.com/office/drawing/2014/main" id="{71FED92C-D2B6-4200-9A4E-3101DE92B0D5}"/>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6" name="Group 25">
            <a:extLst>
              <a:ext uri="{FF2B5EF4-FFF2-40B4-BE49-F238E27FC236}">
                <a16:creationId xmlns:a16="http://schemas.microsoft.com/office/drawing/2014/main" id="{52231990-0A0F-4D70-815D-1F8A5D0524B1}"/>
              </a:ext>
            </a:extLst>
          </p:cNvPr>
          <p:cNvGrpSpPr/>
          <p:nvPr userDrawn="1"/>
        </p:nvGrpSpPr>
        <p:grpSpPr>
          <a:xfrm>
            <a:off x="950173" y="6425309"/>
            <a:ext cx="1075910" cy="230941"/>
            <a:chOff x="201074" y="6425309"/>
            <a:chExt cx="1075910" cy="230941"/>
          </a:xfrm>
        </p:grpSpPr>
        <p:sp>
          <p:nvSpPr>
            <p:cNvPr id="27" name="Rectangle 26">
              <a:extLst>
                <a:ext uri="{FF2B5EF4-FFF2-40B4-BE49-F238E27FC236}">
                  <a16:creationId xmlns:a16="http://schemas.microsoft.com/office/drawing/2014/main" id="{7C5083F1-F85E-4443-A37C-AF261C47747D}"/>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8" name="Straight Connector 27">
              <a:extLst>
                <a:ext uri="{FF2B5EF4-FFF2-40B4-BE49-F238E27FC236}">
                  <a16:creationId xmlns:a16="http://schemas.microsoft.com/office/drawing/2014/main" id="{7CAD50F0-73EF-4D91-B471-F784520CF723}"/>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94461150-DF90-45C1-B0D7-BE8C1E3B43F1}"/>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30" name="Title 1">
              <a:extLst>
                <a:ext uri="{FF2B5EF4-FFF2-40B4-BE49-F238E27FC236}">
                  <a16:creationId xmlns:a16="http://schemas.microsoft.com/office/drawing/2014/main" id="{CD391BCD-1594-483B-9158-B51CF54A2181}"/>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4053846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Content_Title_Onl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72D4CB7-B8FE-48FE-8110-E862E73784DC}"/>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DDC6B2A9-BA62-44D3-ABB2-3831C93FBF4B}"/>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89D824B6-EF8B-4921-87BB-E03AE3EC8776}"/>
              </a:ext>
            </a:extLst>
          </p:cNvPr>
          <p:cNvSpPr>
            <a:spLocks noGrp="1"/>
          </p:cNvSpPr>
          <p:nvPr>
            <p:ph type="sldNum" sz="quarter" idx="11"/>
          </p:nvPr>
        </p:nvSpPr>
        <p:spPr/>
        <p:txBody>
          <a:bodyPr/>
          <a:lstStyle/>
          <a:p>
            <a:fld id="{5382645D-9DD6-408C-B0EA-C65795F9B1DE}" type="slidenum">
              <a:rPr lang="en-US" smtClean="0"/>
              <a:pPr/>
              <a:t>‹#›</a:t>
            </a:fld>
            <a:endParaRPr lang="en-US"/>
          </a:p>
        </p:txBody>
      </p:sp>
      <p:sp>
        <p:nvSpPr>
          <p:cNvPr id="8" name="Title 7">
            <a:extLst>
              <a:ext uri="{FF2B5EF4-FFF2-40B4-BE49-F238E27FC236}">
                <a16:creationId xmlns:a16="http://schemas.microsoft.com/office/drawing/2014/main" id="{CC23BA5B-4BFD-416D-9BF9-6FFFE38FB94B}"/>
              </a:ext>
            </a:extLst>
          </p:cNvPr>
          <p:cNvSpPr>
            <a:spLocks noGrp="1"/>
          </p:cNvSpPr>
          <p:nvPr>
            <p:ph type="title" hasCustomPrompt="1"/>
          </p:nvPr>
        </p:nvSpPr>
        <p:spPr>
          <a:xfrm>
            <a:off x="838200" y="318014"/>
            <a:ext cx="10515600" cy="590931"/>
          </a:xfrm>
        </p:spPr>
        <p:txBody>
          <a:bodyPr>
            <a:spAutoFit/>
          </a:bodyPr>
          <a:lstStyle>
            <a:lvl1pPr>
              <a:defRPr sz="3600" baseline="0"/>
            </a:lvl1pPr>
          </a:lstStyle>
          <a:p>
            <a:r>
              <a:rPr lang="en-US"/>
              <a:t>CLICK TO EDIT MASTER TITLE STYLE</a:t>
            </a:r>
          </a:p>
        </p:txBody>
      </p:sp>
      <p:grpSp>
        <p:nvGrpSpPr>
          <p:cNvPr id="15" name="Group 14">
            <a:extLst>
              <a:ext uri="{FF2B5EF4-FFF2-40B4-BE49-F238E27FC236}">
                <a16:creationId xmlns:a16="http://schemas.microsoft.com/office/drawing/2014/main" id="{9FA1D4C8-A9F9-45CE-A0B5-E8404437D7D3}"/>
              </a:ext>
            </a:extLst>
          </p:cNvPr>
          <p:cNvGrpSpPr/>
          <p:nvPr userDrawn="1"/>
        </p:nvGrpSpPr>
        <p:grpSpPr>
          <a:xfrm>
            <a:off x="950173" y="6425309"/>
            <a:ext cx="1075910" cy="230941"/>
            <a:chOff x="201074" y="6425309"/>
            <a:chExt cx="1075910" cy="230941"/>
          </a:xfrm>
        </p:grpSpPr>
        <p:sp>
          <p:nvSpPr>
            <p:cNvPr id="16" name="Rectangle 15">
              <a:extLst>
                <a:ext uri="{FF2B5EF4-FFF2-40B4-BE49-F238E27FC236}">
                  <a16:creationId xmlns:a16="http://schemas.microsoft.com/office/drawing/2014/main" id="{B7D1B210-910A-40AB-9A20-7CC8F4602953}"/>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17" name="Straight Connector 16">
              <a:extLst>
                <a:ext uri="{FF2B5EF4-FFF2-40B4-BE49-F238E27FC236}">
                  <a16:creationId xmlns:a16="http://schemas.microsoft.com/office/drawing/2014/main" id="{38A735F3-A1A0-458D-9C1C-0A9C98032F2A}"/>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39F6F614-3E51-48C3-84BC-D03DC99B0F0F}"/>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0" name="Title 1">
              <a:extLst>
                <a:ext uri="{FF2B5EF4-FFF2-40B4-BE49-F238E27FC236}">
                  <a16:creationId xmlns:a16="http://schemas.microsoft.com/office/drawing/2014/main" id="{CA9777B9-46A9-469F-9AD0-7D0E2CAC9C2D}"/>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1" name="Group 20">
            <a:extLst>
              <a:ext uri="{FF2B5EF4-FFF2-40B4-BE49-F238E27FC236}">
                <a16:creationId xmlns:a16="http://schemas.microsoft.com/office/drawing/2014/main" id="{E3D1CC49-684B-4DE4-B7CC-3E5E8402B02A}"/>
              </a:ext>
            </a:extLst>
          </p:cNvPr>
          <p:cNvGrpSpPr/>
          <p:nvPr userDrawn="1"/>
        </p:nvGrpSpPr>
        <p:grpSpPr>
          <a:xfrm>
            <a:off x="950173" y="6425309"/>
            <a:ext cx="1075910" cy="230941"/>
            <a:chOff x="201074" y="6425309"/>
            <a:chExt cx="1075910" cy="230941"/>
          </a:xfrm>
        </p:grpSpPr>
        <p:sp>
          <p:nvSpPr>
            <p:cNvPr id="22" name="Rectangle 21">
              <a:extLst>
                <a:ext uri="{FF2B5EF4-FFF2-40B4-BE49-F238E27FC236}">
                  <a16:creationId xmlns:a16="http://schemas.microsoft.com/office/drawing/2014/main" id="{1853041B-1009-416B-99EA-40C55C35C806}"/>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3" name="Straight Connector 22">
              <a:extLst>
                <a:ext uri="{FF2B5EF4-FFF2-40B4-BE49-F238E27FC236}">
                  <a16:creationId xmlns:a16="http://schemas.microsoft.com/office/drawing/2014/main" id="{DF390014-0931-4B93-A659-1976CE0ED6AB}"/>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10138958-DA9C-492A-8251-5F57CC418ED2}"/>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5" name="Title 1">
              <a:extLst>
                <a:ext uri="{FF2B5EF4-FFF2-40B4-BE49-F238E27FC236}">
                  <a16:creationId xmlns:a16="http://schemas.microsoft.com/office/drawing/2014/main" id="{73A670A5-FAAF-4B98-B6CF-10A951EACB65}"/>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2964132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Chart_Table_Asse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C65A20D-5C93-4E38-8B85-427BDA50F545}"/>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Chart 6">
            <a:extLst>
              <a:ext uri="{FF2B5EF4-FFF2-40B4-BE49-F238E27FC236}">
                <a16:creationId xmlns:a16="http://schemas.microsoft.com/office/drawing/2014/main" id="{31EE8BFD-2B85-42EF-BAD3-E198DAED950E}"/>
              </a:ext>
            </a:extLst>
          </p:cNvPr>
          <p:cNvGraphicFramePr/>
          <p:nvPr>
            <p:extLst>
              <p:ext uri="{D42A27DB-BD31-4B8C-83A1-F6EECF244321}">
                <p14:modId xmlns:p14="http://schemas.microsoft.com/office/powerpoint/2010/main" val="559204443"/>
              </p:ext>
            </p:extLst>
          </p:nvPr>
        </p:nvGraphicFramePr>
        <p:xfrm>
          <a:off x="752230" y="485018"/>
          <a:ext cx="4240243" cy="28268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3A642E2F-C547-4BF9-925E-260AA7D41306}"/>
              </a:ext>
            </a:extLst>
          </p:cNvPr>
          <p:cNvGraphicFramePr/>
          <p:nvPr>
            <p:extLst>
              <p:ext uri="{D42A27DB-BD31-4B8C-83A1-F6EECF244321}">
                <p14:modId xmlns:p14="http://schemas.microsoft.com/office/powerpoint/2010/main" val="107276093"/>
              </p:ext>
            </p:extLst>
          </p:nvPr>
        </p:nvGraphicFramePr>
        <p:xfrm>
          <a:off x="1344456" y="4128052"/>
          <a:ext cx="3207304" cy="2138204"/>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1">
            <a:extLst>
              <a:ext uri="{FF2B5EF4-FFF2-40B4-BE49-F238E27FC236}">
                <a16:creationId xmlns:a16="http://schemas.microsoft.com/office/drawing/2014/main" id="{7BC30439-0AE6-4C1C-BBD5-2F14488ECCD5}"/>
              </a:ext>
            </a:extLst>
          </p:cNvPr>
          <p:cNvSpPr txBox="1">
            <a:spLocks/>
          </p:cNvSpPr>
          <p:nvPr/>
        </p:nvSpPr>
        <p:spPr>
          <a:xfrm>
            <a:off x="3736312" y="6085142"/>
            <a:ext cx="652355" cy="5166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a:latin typeface="Arial Black" panose="020B0A04020102020204" pitchFamily="34" charset="0"/>
              </a:rPr>
              <a:t>58</a:t>
            </a:r>
            <a:r>
              <a:rPr lang="en-US" sz="1800" baseline="30000">
                <a:latin typeface="Arial Black" panose="020B0A04020102020204" pitchFamily="34" charset="0"/>
              </a:rPr>
              <a:t>%</a:t>
            </a:r>
          </a:p>
          <a:p>
            <a:r>
              <a:rPr lang="en-US" sz="900">
                <a:latin typeface="Arial Narrow" panose="020B0606020202030204" pitchFamily="34" charset="0"/>
              </a:rPr>
              <a:t>COTTON</a:t>
            </a:r>
          </a:p>
        </p:txBody>
      </p:sp>
      <p:sp>
        <p:nvSpPr>
          <p:cNvPr id="10" name="Title 1">
            <a:extLst>
              <a:ext uri="{FF2B5EF4-FFF2-40B4-BE49-F238E27FC236}">
                <a16:creationId xmlns:a16="http://schemas.microsoft.com/office/drawing/2014/main" id="{723BA7C7-9393-4757-BD00-EBEB26B2677F}"/>
              </a:ext>
            </a:extLst>
          </p:cNvPr>
          <p:cNvSpPr txBox="1">
            <a:spLocks/>
          </p:cNvSpPr>
          <p:nvPr/>
        </p:nvSpPr>
        <p:spPr>
          <a:xfrm>
            <a:off x="1426687" y="4305480"/>
            <a:ext cx="1085923" cy="5166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a:latin typeface="Arial Black" panose="020B0A04020102020204" pitchFamily="34" charset="0"/>
              </a:rPr>
              <a:t>19</a:t>
            </a:r>
            <a:r>
              <a:rPr lang="en-US" sz="1800" baseline="30000">
                <a:latin typeface="Arial Black" panose="020B0A04020102020204" pitchFamily="34" charset="0"/>
              </a:rPr>
              <a:t>%</a:t>
            </a:r>
          </a:p>
          <a:p>
            <a:r>
              <a:rPr lang="en-US" sz="900">
                <a:latin typeface="Arial Narrow" panose="020B0606020202030204" pitchFamily="34" charset="0"/>
              </a:rPr>
              <a:t>COTTON</a:t>
            </a:r>
          </a:p>
        </p:txBody>
      </p:sp>
      <p:sp>
        <p:nvSpPr>
          <p:cNvPr id="11" name="Title 1">
            <a:extLst>
              <a:ext uri="{FF2B5EF4-FFF2-40B4-BE49-F238E27FC236}">
                <a16:creationId xmlns:a16="http://schemas.microsoft.com/office/drawing/2014/main" id="{BD3BB311-8FA9-41B6-990F-B6C181DCF800}"/>
              </a:ext>
            </a:extLst>
          </p:cNvPr>
          <p:cNvSpPr txBox="1">
            <a:spLocks/>
          </p:cNvSpPr>
          <p:nvPr/>
        </p:nvSpPr>
        <p:spPr>
          <a:xfrm>
            <a:off x="1130826" y="5482608"/>
            <a:ext cx="779828" cy="5166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a:latin typeface="Arial Black" panose="020B0A04020102020204" pitchFamily="34" charset="0"/>
              </a:rPr>
              <a:t>23</a:t>
            </a:r>
            <a:r>
              <a:rPr lang="en-US" sz="1800" baseline="30000">
                <a:latin typeface="Arial Black" panose="020B0A04020102020204" pitchFamily="34" charset="0"/>
              </a:rPr>
              <a:t>%</a:t>
            </a:r>
          </a:p>
          <a:p>
            <a:r>
              <a:rPr lang="en-US" sz="900">
                <a:latin typeface="Arial Narrow" panose="020B0606020202030204" pitchFamily="34" charset="0"/>
              </a:rPr>
              <a:t>COTTON</a:t>
            </a:r>
          </a:p>
        </p:txBody>
      </p:sp>
      <p:cxnSp>
        <p:nvCxnSpPr>
          <p:cNvPr id="12" name="Connector: Elbow 11">
            <a:extLst>
              <a:ext uri="{FF2B5EF4-FFF2-40B4-BE49-F238E27FC236}">
                <a16:creationId xmlns:a16="http://schemas.microsoft.com/office/drawing/2014/main" id="{0535FCF0-8174-487F-BDC1-5B5EDF137298}"/>
              </a:ext>
            </a:extLst>
          </p:cNvPr>
          <p:cNvCxnSpPr>
            <a:cxnSpLocks/>
          </p:cNvCxnSpPr>
          <p:nvPr/>
        </p:nvCxnSpPr>
        <p:spPr>
          <a:xfrm flipV="1">
            <a:off x="1538392" y="5496633"/>
            <a:ext cx="424916" cy="258338"/>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ight Triangle 12">
            <a:extLst>
              <a:ext uri="{FF2B5EF4-FFF2-40B4-BE49-F238E27FC236}">
                <a16:creationId xmlns:a16="http://schemas.microsoft.com/office/drawing/2014/main" id="{504893A2-F043-4134-8C54-8ABB24199818}"/>
              </a:ext>
            </a:extLst>
          </p:cNvPr>
          <p:cNvSpPr/>
          <p:nvPr/>
        </p:nvSpPr>
        <p:spPr>
          <a:xfrm>
            <a:off x="1810741" y="5437254"/>
            <a:ext cx="153461" cy="56250"/>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Connector: Elbow 13">
            <a:extLst>
              <a:ext uri="{FF2B5EF4-FFF2-40B4-BE49-F238E27FC236}">
                <a16:creationId xmlns:a16="http://schemas.microsoft.com/office/drawing/2014/main" id="{F04C9EF4-27E6-4D4B-B3FB-8867B233B7D2}"/>
              </a:ext>
            </a:extLst>
          </p:cNvPr>
          <p:cNvCxnSpPr/>
          <p:nvPr/>
        </p:nvCxnSpPr>
        <p:spPr>
          <a:xfrm flipV="1">
            <a:off x="1866933" y="4385215"/>
            <a:ext cx="436798" cy="168496"/>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ight Triangle 14">
            <a:extLst>
              <a:ext uri="{FF2B5EF4-FFF2-40B4-BE49-F238E27FC236}">
                <a16:creationId xmlns:a16="http://schemas.microsoft.com/office/drawing/2014/main" id="{8E54ABFB-41D8-4508-9A6F-9C06F49F1DF2}"/>
              </a:ext>
            </a:extLst>
          </p:cNvPr>
          <p:cNvSpPr/>
          <p:nvPr/>
        </p:nvSpPr>
        <p:spPr>
          <a:xfrm>
            <a:off x="2146665" y="4326507"/>
            <a:ext cx="153461" cy="56250"/>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Connector: Elbow 15">
            <a:extLst>
              <a:ext uri="{FF2B5EF4-FFF2-40B4-BE49-F238E27FC236}">
                <a16:creationId xmlns:a16="http://schemas.microsoft.com/office/drawing/2014/main" id="{B9F4A9DC-2CD9-49C7-9B97-5DA2707BA9CC}"/>
              </a:ext>
            </a:extLst>
          </p:cNvPr>
          <p:cNvCxnSpPr>
            <a:cxnSpLocks/>
            <a:stCxn id="9" idx="1"/>
          </p:cNvCxnSpPr>
          <p:nvPr/>
        </p:nvCxnSpPr>
        <p:spPr>
          <a:xfrm rot="10800000">
            <a:off x="3487779" y="6085142"/>
            <a:ext cx="248534" cy="258338"/>
          </a:xfrm>
          <a:prstGeom prst="bentConnector2">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Right Triangle 16">
            <a:extLst>
              <a:ext uri="{FF2B5EF4-FFF2-40B4-BE49-F238E27FC236}">
                <a16:creationId xmlns:a16="http://schemas.microsoft.com/office/drawing/2014/main" id="{8D238D57-1431-40E3-8413-12BF5BE2043C}"/>
              </a:ext>
            </a:extLst>
          </p:cNvPr>
          <p:cNvSpPr/>
          <p:nvPr/>
        </p:nvSpPr>
        <p:spPr>
          <a:xfrm rot="16200000">
            <a:off x="3379156" y="6133480"/>
            <a:ext cx="153461" cy="56250"/>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421E0E91-1653-40FD-A938-CD0925FB555E}"/>
              </a:ext>
            </a:extLst>
          </p:cNvPr>
          <p:cNvCxnSpPr>
            <a:cxnSpLocks/>
          </p:cNvCxnSpPr>
          <p:nvPr/>
        </p:nvCxnSpPr>
        <p:spPr>
          <a:xfrm>
            <a:off x="2949902" y="4140409"/>
            <a:ext cx="0" cy="489256"/>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AC139DF-E4B4-40DA-A6EB-90A4B4F1E965}"/>
              </a:ext>
            </a:extLst>
          </p:cNvPr>
          <p:cNvCxnSpPr>
            <a:cxnSpLocks/>
          </p:cNvCxnSpPr>
          <p:nvPr/>
        </p:nvCxnSpPr>
        <p:spPr>
          <a:xfrm>
            <a:off x="1981957" y="4782065"/>
            <a:ext cx="408171" cy="16990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48058D9-814C-4615-AEDF-256B7DC3BD0E}"/>
              </a:ext>
            </a:extLst>
          </p:cNvPr>
          <p:cNvCxnSpPr>
            <a:cxnSpLocks/>
          </p:cNvCxnSpPr>
          <p:nvPr/>
        </p:nvCxnSpPr>
        <p:spPr>
          <a:xfrm flipV="1">
            <a:off x="2430919" y="5720371"/>
            <a:ext cx="201827" cy="346797"/>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21" name="Chart 20">
            <a:extLst>
              <a:ext uri="{FF2B5EF4-FFF2-40B4-BE49-F238E27FC236}">
                <a16:creationId xmlns:a16="http://schemas.microsoft.com/office/drawing/2014/main" id="{D43D0D65-5A4A-481E-818B-DD4548FC848B}"/>
              </a:ext>
            </a:extLst>
          </p:cNvPr>
          <p:cNvGraphicFramePr>
            <a:graphicFrameLocks noChangeAspect="1"/>
          </p:cNvGraphicFramePr>
          <p:nvPr>
            <p:extLst>
              <p:ext uri="{D42A27DB-BD31-4B8C-83A1-F6EECF244321}">
                <p14:modId xmlns:p14="http://schemas.microsoft.com/office/powerpoint/2010/main" val="4002292548"/>
              </p:ext>
            </p:extLst>
          </p:nvPr>
        </p:nvGraphicFramePr>
        <p:xfrm>
          <a:off x="7193764" y="485018"/>
          <a:ext cx="4246006" cy="28306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Table 21">
            <a:extLst>
              <a:ext uri="{FF2B5EF4-FFF2-40B4-BE49-F238E27FC236}">
                <a16:creationId xmlns:a16="http://schemas.microsoft.com/office/drawing/2014/main" id="{5EA42C38-374B-457D-B30E-078F100DFE26}"/>
              </a:ext>
            </a:extLst>
          </p:cNvPr>
          <p:cNvGraphicFramePr>
            <a:graphicFrameLocks noGrp="1"/>
          </p:cNvGraphicFramePr>
          <p:nvPr>
            <p:extLst>
              <p:ext uri="{D42A27DB-BD31-4B8C-83A1-F6EECF244321}">
                <p14:modId xmlns:p14="http://schemas.microsoft.com/office/powerpoint/2010/main" val="718115062"/>
              </p:ext>
            </p:extLst>
          </p:nvPr>
        </p:nvGraphicFramePr>
        <p:xfrm>
          <a:off x="6497964" y="4294713"/>
          <a:ext cx="5292072" cy="1661160"/>
        </p:xfrm>
        <a:graphic>
          <a:graphicData uri="http://schemas.openxmlformats.org/drawingml/2006/table">
            <a:tbl>
              <a:tblPr firstRow="1" bandRow="1">
                <a:tableStyleId>{5C22544A-7EE6-4342-B048-85BDC9FD1C3A}</a:tableStyleId>
              </a:tblPr>
              <a:tblGrid>
                <a:gridCol w="4006206">
                  <a:extLst>
                    <a:ext uri="{9D8B030D-6E8A-4147-A177-3AD203B41FA5}">
                      <a16:colId xmlns:a16="http://schemas.microsoft.com/office/drawing/2014/main" val="2286531471"/>
                    </a:ext>
                  </a:extLst>
                </a:gridCol>
                <a:gridCol w="1285866">
                  <a:extLst>
                    <a:ext uri="{9D8B030D-6E8A-4147-A177-3AD203B41FA5}">
                      <a16:colId xmlns:a16="http://schemas.microsoft.com/office/drawing/2014/main" val="859317391"/>
                    </a:ext>
                  </a:extLst>
                </a:gridCol>
              </a:tblGrid>
              <a:tr h="548640">
                <a:tc>
                  <a:txBody>
                    <a:bodyPr/>
                    <a:lstStyle/>
                    <a:p>
                      <a:r>
                        <a:rPr lang="en-US" sz="1600" b="0" spc="600" baseline="0">
                          <a:latin typeface="Arial Narrow" panose="020B0606020202030204" pitchFamily="34" charset="0"/>
                        </a:rPr>
                        <a:t>CATEGORY TITLE</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600" b="0" spc="600" baseline="0">
                          <a:latin typeface="Arial Narrow" panose="020B0606020202030204" pitchFamily="34" charset="0"/>
                        </a:rPr>
                        <a:t>TITLE</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370840">
                <a:tc>
                  <a:txBody>
                    <a:bodyPr/>
                    <a:lstStyle/>
                    <a:p>
                      <a:r>
                        <a:rPr lang="en-US" sz="1200">
                          <a:latin typeface="Arial Narrow" panose="020B0606020202030204" pitchFamily="34" charset="0"/>
                        </a:rPr>
                        <a:t>Lorem ipsum dolor sit amet, consectetuer adipiscing elit.</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1400">
                          <a:solidFill>
                            <a:schemeClr val="bg1"/>
                          </a:solidFill>
                          <a:latin typeface="Arial Black" panose="020B0A04020102020204" pitchFamily="34" charset="0"/>
                        </a:rPr>
                        <a:t>100</a:t>
                      </a:r>
                      <a:r>
                        <a:rPr lang="en-US" sz="1400" baseline="30000">
                          <a:solidFill>
                            <a:schemeClr val="bg1"/>
                          </a:solidFill>
                          <a:latin typeface="Arial Black" panose="020B0A04020102020204" pitchFamily="34" charset="0"/>
                        </a:rPr>
                        <a:t>%</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92200886"/>
                  </a:ext>
                </a:extLst>
              </a:tr>
              <a:tr h="370840">
                <a:tc>
                  <a:txBody>
                    <a:bodyPr/>
                    <a:lstStyle/>
                    <a:p>
                      <a:r>
                        <a:rPr lang="en-US" sz="1200">
                          <a:solidFill>
                            <a:schemeClr val="bg1"/>
                          </a:solidFill>
                          <a:latin typeface="Arial Narrow" panose="020B0606020202030204" pitchFamily="34" charset="0"/>
                        </a:rPr>
                        <a:t>Lorem ipsum dolor sit amet, consectetuer adipiscing elit.</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bg1"/>
                          </a:solidFill>
                          <a:latin typeface="Arial Black" panose="020B0A04020102020204" pitchFamily="34" charset="0"/>
                        </a:rPr>
                        <a:t>100</a:t>
                      </a:r>
                      <a:r>
                        <a:rPr lang="en-US" sz="1400" baseline="30000">
                          <a:solidFill>
                            <a:schemeClr val="bg1"/>
                          </a:solidFill>
                          <a:latin typeface="Arial Black" panose="020B0A04020102020204" pitchFamily="34" charset="0"/>
                        </a:rPr>
                        <a:t>%</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08942739"/>
                  </a:ext>
                </a:extLst>
              </a:tr>
              <a:tr h="370840">
                <a:tc>
                  <a:txBody>
                    <a:bodyPr/>
                    <a:lstStyle/>
                    <a:p>
                      <a:r>
                        <a:rPr lang="en-US" sz="1200">
                          <a:latin typeface="Arial Narrow" panose="020B0606020202030204" pitchFamily="34" charset="0"/>
                        </a:rPr>
                        <a:t>Lorem ipsum dolor sit amet, consectetuer adipiscing elit.</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1400">
                          <a:solidFill>
                            <a:schemeClr val="bg1"/>
                          </a:solidFill>
                          <a:latin typeface="Arial Black" panose="020B0A04020102020204" pitchFamily="34" charset="0"/>
                        </a:rPr>
                        <a:t>100</a:t>
                      </a:r>
                      <a:r>
                        <a:rPr lang="en-US" sz="1400" baseline="30000">
                          <a:solidFill>
                            <a:schemeClr val="bg1"/>
                          </a:solidFill>
                          <a:latin typeface="Arial Black" panose="020B0A04020102020204" pitchFamily="34" charset="0"/>
                        </a:rPr>
                        <a:t>%</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19181117"/>
                  </a:ext>
                </a:extLst>
              </a:tr>
            </a:tbl>
          </a:graphicData>
        </a:graphic>
      </p:graphicFrame>
      <p:sp>
        <p:nvSpPr>
          <p:cNvPr id="23" name="Rectangle 22">
            <a:extLst>
              <a:ext uri="{FF2B5EF4-FFF2-40B4-BE49-F238E27FC236}">
                <a16:creationId xmlns:a16="http://schemas.microsoft.com/office/drawing/2014/main" id="{ADFD3EE1-E89E-4E02-BB64-6ABA003F5E5D}"/>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4" name="Chart 23">
            <a:extLst>
              <a:ext uri="{FF2B5EF4-FFF2-40B4-BE49-F238E27FC236}">
                <a16:creationId xmlns:a16="http://schemas.microsoft.com/office/drawing/2014/main" id="{C7DB7E69-C887-46DF-9B21-CC5E1CBC630F}"/>
              </a:ext>
            </a:extLst>
          </p:cNvPr>
          <p:cNvGraphicFramePr/>
          <p:nvPr userDrawn="1"/>
        </p:nvGraphicFramePr>
        <p:xfrm>
          <a:off x="752230" y="485018"/>
          <a:ext cx="4240243" cy="282682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Chart 24">
            <a:extLst>
              <a:ext uri="{FF2B5EF4-FFF2-40B4-BE49-F238E27FC236}">
                <a16:creationId xmlns:a16="http://schemas.microsoft.com/office/drawing/2014/main" id="{CF85A329-0DE0-404F-9AC4-03D8A2100AA7}"/>
              </a:ext>
            </a:extLst>
          </p:cNvPr>
          <p:cNvGraphicFramePr/>
          <p:nvPr userDrawn="1"/>
        </p:nvGraphicFramePr>
        <p:xfrm>
          <a:off x="1344456" y="4128052"/>
          <a:ext cx="3207304" cy="2138204"/>
        </p:xfrm>
        <a:graphic>
          <a:graphicData uri="http://schemas.openxmlformats.org/drawingml/2006/chart">
            <c:chart xmlns:c="http://schemas.openxmlformats.org/drawingml/2006/chart" xmlns:r="http://schemas.openxmlformats.org/officeDocument/2006/relationships" r:id="rId6"/>
          </a:graphicData>
        </a:graphic>
      </p:graphicFrame>
      <p:sp>
        <p:nvSpPr>
          <p:cNvPr id="26" name="Title 1">
            <a:extLst>
              <a:ext uri="{FF2B5EF4-FFF2-40B4-BE49-F238E27FC236}">
                <a16:creationId xmlns:a16="http://schemas.microsoft.com/office/drawing/2014/main" id="{60820A1D-9D13-4E1B-A22C-B894B062A353}"/>
              </a:ext>
            </a:extLst>
          </p:cNvPr>
          <p:cNvSpPr txBox="1">
            <a:spLocks/>
          </p:cNvSpPr>
          <p:nvPr userDrawn="1"/>
        </p:nvSpPr>
        <p:spPr>
          <a:xfrm>
            <a:off x="3736312" y="6085142"/>
            <a:ext cx="652355" cy="5166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a:latin typeface="Arial Black" panose="020B0A04020102020204" pitchFamily="34" charset="0"/>
              </a:rPr>
              <a:t>58</a:t>
            </a:r>
            <a:r>
              <a:rPr lang="en-US" sz="1800" baseline="30000">
                <a:latin typeface="Arial Black" panose="020B0A04020102020204" pitchFamily="34" charset="0"/>
              </a:rPr>
              <a:t>%</a:t>
            </a:r>
          </a:p>
          <a:p>
            <a:r>
              <a:rPr lang="en-US" sz="900">
                <a:latin typeface="Arial Narrow" panose="020B0606020202030204" pitchFamily="34" charset="0"/>
              </a:rPr>
              <a:t>COTTON</a:t>
            </a:r>
          </a:p>
        </p:txBody>
      </p:sp>
      <p:sp>
        <p:nvSpPr>
          <p:cNvPr id="27" name="Title 1">
            <a:extLst>
              <a:ext uri="{FF2B5EF4-FFF2-40B4-BE49-F238E27FC236}">
                <a16:creationId xmlns:a16="http://schemas.microsoft.com/office/drawing/2014/main" id="{13D04105-105B-48B0-BA19-7B77EAA5FF30}"/>
              </a:ext>
            </a:extLst>
          </p:cNvPr>
          <p:cNvSpPr txBox="1">
            <a:spLocks/>
          </p:cNvSpPr>
          <p:nvPr userDrawn="1"/>
        </p:nvSpPr>
        <p:spPr>
          <a:xfrm>
            <a:off x="1426687" y="4305480"/>
            <a:ext cx="1085923" cy="5166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a:latin typeface="Arial Black" panose="020B0A04020102020204" pitchFamily="34" charset="0"/>
              </a:rPr>
              <a:t>19</a:t>
            </a:r>
            <a:r>
              <a:rPr lang="en-US" sz="1800" baseline="30000">
                <a:latin typeface="Arial Black" panose="020B0A04020102020204" pitchFamily="34" charset="0"/>
              </a:rPr>
              <a:t>%</a:t>
            </a:r>
          </a:p>
          <a:p>
            <a:r>
              <a:rPr lang="en-US" sz="900">
                <a:latin typeface="Arial Narrow" panose="020B0606020202030204" pitchFamily="34" charset="0"/>
              </a:rPr>
              <a:t>COTTON</a:t>
            </a:r>
          </a:p>
        </p:txBody>
      </p:sp>
      <p:sp>
        <p:nvSpPr>
          <p:cNvPr id="28" name="Title 1">
            <a:extLst>
              <a:ext uri="{FF2B5EF4-FFF2-40B4-BE49-F238E27FC236}">
                <a16:creationId xmlns:a16="http://schemas.microsoft.com/office/drawing/2014/main" id="{343223E7-548B-4E0A-93AD-B56F9ABA9FAA}"/>
              </a:ext>
            </a:extLst>
          </p:cNvPr>
          <p:cNvSpPr txBox="1">
            <a:spLocks/>
          </p:cNvSpPr>
          <p:nvPr userDrawn="1"/>
        </p:nvSpPr>
        <p:spPr>
          <a:xfrm>
            <a:off x="1130826" y="5482608"/>
            <a:ext cx="779828" cy="5166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a:latin typeface="Arial Black" panose="020B0A04020102020204" pitchFamily="34" charset="0"/>
              </a:rPr>
              <a:t>23</a:t>
            </a:r>
            <a:r>
              <a:rPr lang="en-US" sz="1800" baseline="30000">
                <a:latin typeface="Arial Black" panose="020B0A04020102020204" pitchFamily="34" charset="0"/>
              </a:rPr>
              <a:t>%</a:t>
            </a:r>
          </a:p>
          <a:p>
            <a:r>
              <a:rPr lang="en-US" sz="900">
                <a:latin typeface="Arial Narrow" panose="020B0606020202030204" pitchFamily="34" charset="0"/>
              </a:rPr>
              <a:t>COTTON</a:t>
            </a:r>
          </a:p>
        </p:txBody>
      </p:sp>
      <p:cxnSp>
        <p:nvCxnSpPr>
          <p:cNvPr id="29" name="Connector: Elbow 28">
            <a:extLst>
              <a:ext uri="{FF2B5EF4-FFF2-40B4-BE49-F238E27FC236}">
                <a16:creationId xmlns:a16="http://schemas.microsoft.com/office/drawing/2014/main" id="{628376A3-B4D1-4023-9BD6-880FD8DD6235}"/>
              </a:ext>
            </a:extLst>
          </p:cNvPr>
          <p:cNvCxnSpPr>
            <a:cxnSpLocks/>
          </p:cNvCxnSpPr>
          <p:nvPr userDrawn="1"/>
        </p:nvCxnSpPr>
        <p:spPr>
          <a:xfrm flipV="1">
            <a:off x="1538392" y="5496633"/>
            <a:ext cx="424916" cy="258338"/>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ight Triangle 29">
            <a:extLst>
              <a:ext uri="{FF2B5EF4-FFF2-40B4-BE49-F238E27FC236}">
                <a16:creationId xmlns:a16="http://schemas.microsoft.com/office/drawing/2014/main" id="{CBDBDC2B-5CDE-4070-878A-0D2AA8D9035A}"/>
              </a:ext>
            </a:extLst>
          </p:cNvPr>
          <p:cNvSpPr/>
          <p:nvPr userDrawn="1"/>
        </p:nvSpPr>
        <p:spPr>
          <a:xfrm>
            <a:off x="1810741" y="5437254"/>
            <a:ext cx="153461" cy="56250"/>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Connector: Elbow 30">
            <a:extLst>
              <a:ext uri="{FF2B5EF4-FFF2-40B4-BE49-F238E27FC236}">
                <a16:creationId xmlns:a16="http://schemas.microsoft.com/office/drawing/2014/main" id="{0BCC7CAD-7F4F-43BF-BD7E-1CE01F268677}"/>
              </a:ext>
            </a:extLst>
          </p:cNvPr>
          <p:cNvCxnSpPr/>
          <p:nvPr userDrawn="1"/>
        </p:nvCxnSpPr>
        <p:spPr>
          <a:xfrm flipV="1">
            <a:off x="1866933" y="4385215"/>
            <a:ext cx="436798" cy="168496"/>
          </a:xfrm>
          <a:prstGeom prst="bentConnector3">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2" name="Right Triangle 31">
            <a:extLst>
              <a:ext uri="{FF2B5EF4-FFF2-40B4-BE49-F238E27FC236}">
                <a16:creationId xmlns:a16="http://schemas.microsoft.com/office/drawing/2014/main" id="{101DEDA5-865B-45AB-A5D6-94D53E02FADE}"/>
              </a:ext>
            </a:extLst>
          </p:cNvPr>
          <p:cNvSpPr/>
          <p:nvPr userDrawn="1"/>
        </p:nvSpPr>
        <p:spPr>
          <a:xfrm>
            <a:off x="2146665" y="4326507"/>
            <a:ext cx="153461" cy="56250"/>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Connector: Elbow 32">
            <a:extLst>
              <a:ext uri="{FF2B5EF4-FFF2-40B4-BE49-F238E27FC236}">
                <a16:creationId xmlns:a16="http://schemas.microsoft.com/office/drawing/2014/main" id="{0F9223DC-0D48-41FC-8D58-EAC89A9DD4AC}"/>
              </a:ext>
            </a:extLst>
          </p:cNvPr>
          <p:cNvCxnSpPr>
            <a:cxnSpLocks/>
            <a:stCxn id="9" idx="1"/>
          </p:cNvCxnSpPr>
          <p:nvPr userDrawn="1"/>
        </p:nvCxnSpPr>
        <p:spPr>
          <a:xfrm rot="10800000">
            <a:off x="3487779" y="6085142"/>
            <a:ext cx="248534" cy="258338"/>
          </a:xfrm>
          <a:prstGeom prst="bentConnector2">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4" name="Right Triangle 33">
            <a:extLst>
              <a:ext uri="{FF2B5EF4-FFF2-40B4-BE49-F238E27FC236}">
                <a16:creationId xmlns:a16="http://schemas.microsoft.com/office/drawing/2014/main" id="{DBEAA5D8-ECE0-4468-A748-2DD89582BD2B}"/>
              </a:ext>
            </a:extLst>
          </p:cNvPr>
          <p:cNvSpPr/>
          <p:nvPr userDrawn="1"/>
        </p:nvSpPr>
        <p:spPr>
          <a:xfrm rot="16200000">
            <a:off x="3379156" y="6133480"/>
            <a:ext cx="153461" cy="56250"/>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611AC30C-907B-4C3E-8F3C-F3209BE206BE}"/>
              </a:ext>
            </a:extLst>
          </p:cNvPr>
          <p:cNvCxnSpPr>
            <a:cxnSpLocks/>
          </p:cNvCxnSpPr>
          <p:nvPr userDrawn="1"/>
        </p:nvCxnSpPr>
        <p:spPr>
          <a:xfrm>
            <a:off x="2949902" y="4140409"/>
            <a:ext cx="0" cy="489256"/>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1F1365-F89A-4A0E-AF85-500D2C24C333}"/>
              </a:ext>
            </a:extLst>
          </p:cNvPr>
          <p:cNvCxnSpPr>
            <a:cxnSpLocks/>
          </p:cNvCxnSpPr>
          <p:nvPr userDrawn="1"/>
        </p:nvCxnSpPr>
        <p:spPr>
          <a:xfrm>
            <a:off x="1981957" y="4782065"/>
            <a:ext cx="408171" cy="16990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D2BEA90-EACA-439E-9A3E-04303ADB45A4}"/>
              </a:ext>
            </a:extLst>
          </p:cNvPr>
          <p:cNvCxnSpPr>
            <a:cxnSpLocks/>
          </p:cNvCxnSpPr>
          <p:nvPr userDrawn="1"/>
        </p:nvCxnSpPr>
        <p:spPr>
          <a:xfrm flipV="1">
            <a:off x="2430919" y="5720371"/>
            <a:ext cx="201827" cy="346797"/>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38" name="Chart 37">
            <a:extLst>
              <a:ext uri="{FF2B5EF4-FFF2-40B4-BE49-F238E27FC236}">
                <a16:creationId xmlns:a16="http://schemas.microsoft.com/office/drawing/2014/main" id="{2FC5C623-E6EA-4297-A5C1-F3DF894FD3E9}"/>
              </a:ext>
            </a:extLst>
          </p:cNvPr>
          <p:cNvGraphicFramePr>
            <a:graphicFrameLocks noChangeAspect="1"/>
          </p:cNvGraphicFramePr>
          <p:nvPr userDrawn="1"/>
        </p:nvGraphicFramePr>
        <p:xfrm>
          <a:off x="7193764" y="485018"/>
          <a:ext cx="4246006" cy="283067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Table 38">
            <a:extLst>
              <a:ext uri="{FF2B5EF4-FFF2-40B4-BE49-F238E27FC236}">
                <a16:creationId xmlns:a16="http://schemas.microsoft.com/office/drawing/2014/main" id="{3A4177A6-AE18-4622-8C8E-66E8249C3617}"/>
              </a:ext>
            </a:extLst>
          </p:cNvPr>
          <p:cNvGraphicFramePr>
            <a:graphicFrameLocks noGrp="1"/>
          </p:cNvGraphicFramePr>
          <p:nvPr userDrawn="1"/>
        </p:nvGraphicFramePr>
        <p:xfrm>
          <a:off x="6497964" y="4294713"/>
          <a:ext cx="5292072" cy="1661160"/>
        </p:xfrm>
        <a:graphic>
          <a:graphicData uri="http://schemas.openxmlformats.org/drawingml/2006/table">
            <a:tbl>
              <a:tblPr firstRow="1" bandRow="1">
                <a:tableStyleId>{5C22544A-7EE6-4342-B048-85BDC9FD1C3A}</a:tableStyleId>
              </a:tblPr>
              <a:tblGrid>
                <a:gridCol w="4006206">
                  <a:extLst>
                    <a:ext uri="{9D8B030D-6E8A-4147-A177-3AD203B41FA5}">
                      <a16:colId xmlns:a16="http://schemas.microsoft.com/office/drawing/2014/main" val="2286531471"/>
                    </a:ext>
                  </a:extLst>
                </a:gridCol>
                <a:gridCol w="1285866">
                  <a:extLst>
                    <a:ext uri="{9D8B030D-6E8A-4147-A177-3AD203B41FA5}">
                      <a16:colId xmlns:a16="http://schemas.microsoft.com/office/drawing/2014/main" val="859317391"/>
                    </a:ext>
                  </a:extLst>
                </a:gridCol>
              </a:tblGrid>
              <a:tr h="548640">
                <a:tc>
                  <a:txBody>
                    <a:bodyPr/>
                    <a:lstStyle/>
                    <a:p>
                      <a:r>
                        <a:rPr lang="en-US" sz="1600" b="0" spc="600" baseline="0">
                          <a:latin typeface="Arial Narrow" panose="020B0606020202030204" pitchFamily="34" charset="0"/>
                        </a:rPr>
                        <a:t>CATEGORY TITLE</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600" b="0" spc="600" baseline="0">
                          <a:latin typeface="Arial Narrow" panose="020B0606020202030204" pitchFamily="34" charset="0"/>
                        </a:rPr>
                        <a:t>TITLE</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370840">
                <a:tc>
                  <a:txBody>
                    <a:bodyPr/>
                    <a:lstStyle/>
                    <a:p>
                      <a:r>
                        <a:rPr lang="en-US" sz="1200">
                          <a:latin typeface="Arial Narrow" panose="020B0606020202030204" pitchFamily="34" charset="0"/>
                        </a:rPr>
                        <a:t>Lorem ipsum dolor sit amet, consectetuer adipiscing elit.</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1400">
                          <a:solidFill>
                            <a:schemeClr val="bg1"/>
                          </a:solidFill>
                          <a:latin typeface="Arial Black" panose="020B0A04020102020204" pitchFamily="34" charset="0"/>
                        </a:rPr>
                        <a:t>100</a:t>
                      </a:r>
                      <a:r>
                        <a:rPr lang="en-US" sz="1400" baseline="30000">
                          <a:solidFill>
                            <a:schemeClr val="bg1"/>
                          </a:solidFill>
                          <a:latin typeface="Arial Black" panose="020B0A04020102020204" pitchFamily="34" charset="0"/>
                        </a:rPr>
                        <a:t>%</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92200886"/>
                  </a:ext>
                </a:extLst>
              </a:tr>
              <a:tr h="370840">
                <a:tc>
                  <a:txBody>
                    <a:bodyPr/>
                    <a:lstStyle/>
                    <a:p>
                      <a:r>
                        <a:rPr lang="en-US" sz="1200">
                          <a:solidFill>
                            <a:schemeClr val="bg1"/>
                          </a:solidFill>
                          <a:latin typeface="Arial Narrow" panose="020B0606020202030204" pitchFamily="34" charset="0"/>
                        </a:rPr>
                        <a:t>Lorem ipsum dolor sit amet, consectetuer adipiscing elit.</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bg1"/>
                          </a:solidFill>
                          <a:latin typeface="Arial Black" panose="020B0A04020102020204" pitchFamily="34" charset="0"/>
                        </a:rPr>
                        <a:t>100</a:t>
                      </a:r>
                      <a:r>
                        <a:rPr lang="en-US" sz="1400" baseline="30000">
                          <a:solidFill>
                            <a:schemeClr val="bg1"/>
                          </a:solidFill>
                          <a:latin typeface="Arial Black" panose="020B0A04020102020204" pitchFamily="34" charset="0"/>
                        </a:rPr>
                        <a:t>%</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08942739"/>
                  </a:ext>
                </a:extLst>
              </a:tr>
              <a:tr h="370840">
                <a:tc>
                  <a:txBody>
                    <a:bodyPr/>
                    <a:lstStyle/>
                    <a:p>
                      <a:r>
                        <a:rPr lang="en-US" sz="1200">
                          <a:latin typeface="Arial Narrow" panose="020B0606020202030204" pitchFamily="34" charset="0"/>
                        </a:rPr>
                        <a:t>Lorem ipsum dolor sit amet, consectetuer adipiscing elit.</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1400">
                          <a:solidFill>
                            <a:schemeClr val="bg1"/>
                          </a:solidFill>
                          <a:latin typeface="Arial Black" panose="020B0A04020102020204" pitchFamily="34" charset="0"/>
                        </a:rPr>
                        <a:t>100</a:t>
                      </a:r>
                      <a:r>
                        <a:rPr lang="en-US" sz="1400" baseline="30000">
                          <a:solidFill>
                            <a:schemeClr val="bg1"/>
                          </a:solidFill>
                          <a:latin typeface="Arial Black" panose="020B0A04020102020204" pitchFamily="34" charset="0"/>
                        </a:rPr>
                        <a:t>%</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19181117"/>
                  </a:ext>
                </a:extLst>
              </a:tr>
            </a:tbl>
          </a:graphicData>
        </a:graphic>
      </p:graphicFrame>
    </p:spTree>
    <p:extLst>
      <p:ext uri="{BB962C8B-B14F-4D97-AF65-F5344CB8AC3E}">
        <p14:creationId xmlns:p14="http://schemas.microsoft.com/office/powerpoint/2010/main" val="20329241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lor_Asset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5EB1CA-8734-48CB-B6F6-9CDB701E2774}"/>
              </a:ext>
            </a:extLst>
          </p:cNvPr>
          <p:cNvSpPr>
            <a:spLocks noGrp="1"/>
          </p:cNvSpPr>
          <p:nvPr>
            <p:ph type="title"/>
          </p:nvPr>
        </p:nvSpPr>
        <p:spPr>
          <a:xfrm>
            <a:off x="838200" y="424313"/>
            <a:ext cx="10515600" cy="484632"/>
          </a:xfrm>
        </p:spPr>
        <p:txBody>
          <a:bodyPr>
            <a:noAutofit/>
          </a:bodyPr>
          <a:lstStyle>
            <a:lvl1pPr>
              <a:defRPr sz="3600"/>
            </a:lvl1pPr>
          </a:lstStyle>
          <a:p>
            <a:r>
              <a:rPr lang="en-US"/>
              <a:t>Click to edit Master title style</a:t>
            </a:r>
          </a:p>
        </p:txBody>
      </p:sp>
      <p:grpSp>
        <p:nvGrpSpPr>
          <p:cNvPr id="32" name="Group 31">
            <a:extLst>
              <a:ext uri="{FF2B5EF4-FFF2-40B4-BE49-F238E27FC236}">
                <a16:creationId xmlns:a16="http://schemas.microsoft.com/office/drawing/2014/main" id="{2B2CAAE4-7151-40B8-841D-C1549E628144}"/>
              </a:ext>
            </a:extLst>
          </p:cNvPr>
          <p:cNvGrpSpPr/>
          <p:nvPr/>
        </p:nvGrpSpPr>
        <p:grpSpPr>
          <a:xfrm>
            <a:off x="1565859" y="4170541"/>
            <a:ext cx="2136963" cy="950976"/>
            <a:chOff x="2948889" y="4113391"/>
            <a:chExt cx="2136963" cy="950976"/>
          </a:xfrm>
        </p:grpSpPr>
        <p:sp>
          <p:nvSpPr>
            <p:cNvPr id="33" name="Rectangle 32">
              <a:extLst>
                <a:ext uri="{FF2B5EF4-FFF2-40B4-BE49-F238E27FC236}">
                  <a16:creationId xmlns:a16="http://schemas.microsoft.com/office/drawing/2014/main" id="{3DB60964-BFE4-4AE1-A6C7-FB69CC93D0E6}"/>
                </a:ext>
              </a:extLst>
            </p:cNvPr>
            <p:cNvSpPr>
              <a:spLocks noChangeAspect="1"/>
            </p:cNvSpPr>
            <p:nvPr/>
          </p:nvSpPr>
          <p:spPr>
            <a:xfrm>
              <a:off x="2948889" y="4113391"/>
              <a:ext cx="950976" cy="950976"/>
            </a:xfrm>
            <a:prstGeom prst="rect">
              <a:avLst/>
            </a:prstGeom>
            <a:solidFill>
              <a:srgbClr val="268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E493AAFD-C025-4019-A141-ECE69B1B742B}"/>
                </a:ext>
              </a:extLst>
            </p:cNvPr>
            <p:cNvSpPr txBox="1"/>
            <p:nvPr/>
          </p:nvSpPr>
          <p:spPr>
            <a:xfrm>
              <a:off x="3954168" y="4127214"/>
              <a:ext cx="1131684" cy="923330"/>
            </a:xfrm>
            <a:prstGeom prst="rect">
              <a:avLst/>
            </a:prstGeom>
            <a:noFill/>
            <a:ln w="28575">
              <a:solidFill>
                <a:schemeClr val="tx1"/>
              </a:solidFill>
              <a:miter lim="800000"/>
            </a:ln>
          </p:spPr>
          <p:txBody>
            <a:bodyPr wrap="square" rtlCol="0">
              <a:spAutoFit/>
            </a:bodyPr>
            <a:lstStyle/>
            <a:p>
              <a:r>
                <a:rPr lang="en-US"/>
                <a:t>R=38</a:t>
              </a:r>
            </a:p>
            <a:p>
              <a:r>
                <a:rPr lang="en-US"/>
                <a:t>G=131</a:t>
              </a:r>
            </a:p>
            <a:p>
              <a:r>
                <a:rPr lang="en-US"/>
                <a:t>B=208</a:t>
              </a:r>
            </a:p>
          </p:txBody>
        </p:sp>
      </p:grpSp>
      <p:grpSp>
        <p:nvGrpSpPr>
          <p:cNvPr id="35" name="Group 34">
            <a:extLst>
              <a:ext uri="{FF2B5EF4-FFF2-40B4-BE49-F238E27FC236}">
                <a16:creationId xmlns:a16="http://schemas.microsoft.com/office/drawing/2014/main" id="{C438CDFA-EADF-461C-8202-786C07698742}"/>
              </a:ext>
            </a:extLst>
          </p:cNvPr>
          <p:cNvGrpSpPr/>
          <p:nvPr/>
        </p:nvGrpSpPr>
        <p:grpSpPr>
          <a:xfrm>
            <a:off x="1565859" y="2070175"/>
            <a:ext cx="2143455" cy="952958"/>
            <a:chOff x="1028402" y="1624474"/>
            <a:chExt cx="2143455" cy="952958"/>
          </a:xfrm>
        </p:grpSpPr>
        <p:sp>
          <p:nvSpPr>
            <p:cNvPr id="36" name="Rectangle 35">
              <a:extLst>
                <a:ext uri="{FF2B5EF4-FFF2-40B4-BE49-F238E27FC236}">
                  <a16:creationId xmlns:a16="http://schemas.microsoft.com/office/drawing/2014/main" id="{25DB6FCD-66F5-4658-9D09-8ECFE5FC05E6}"/>
                </a:ext>
              </a:extLst>
            </p:cNvPr>
            <p:cNvSpPr/>
            <p:nvPr/>
          </p:nvSpPr>
          <p:spPr>
            <a:xfrm>
              <a:off x="1028402" y="1624474"/>
              <a:ext cx="952958" cy="95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70FC7A6C-ADD3-4200-B56E-EA80F724B2DE}"/>
                </a:ext>
              </a:extLst>
            </p:cNvPr>
            <p:cNvSpPr txBox="1"/>
            <p:nvPr/>
          </p:nvSpPr>
          <p:spPr>
            <a:xfrm>
              <a:off x="2040173" y="1639288"/>
              <a:ext cx="1131684" cy="923330"/>
            </a:xfrm>
            <a:prstGeom prst="rect">
              <a:avLst/>
            </a:prstGeom>
            <a:noFill/>
            <a:ln w="28575">
              <a:solidFill>
                <a:schemeClr val="tx1"/>
              </a:solidFill>
              <a:miter lim="800000"/>
            </a:ln>
          </p:spPr>
          <p:txBody>
            <a:bodyPr wrap="square" rtlCol="0">
              <a:spAutoFit/>
            </a:bodyPr>
            <a:lstStyle/>
            <a:p>
              <a:r>
                <a:rPr lang="en-US"/>
                <a:t>R=75</a:t>
              </a:r>
            </a:p>
            <a:p>
              <a:r>
                <a:rPr lang="en-US"/>
                <a:t>G=29</a:t>
              </a:r>
            </a:p>
            <a:p>
              <a:r>
                <a:rPr lang="en-US"/>
                <a:t>B=63</a:t>
              </a:r>
            </a:p>
          </p:txBody>
        </p:sp>
      </p:grpSp>
      <p:grpSp>
        <p:nvGrpSpPr>
          <p:cNvPr id="38" name="Group 37">
            <a:extLst>
              <a:ext uri="{FF2B5EF4-FFF2-40B4-BE49-F238E27FC236}">
                <a16:creationId xmlns:a16="http://schemas.microsoft.com/office/drawing/2014/main" id="{9430EB74-1C8B-4460-9C76-0220D5E3D4C8}"/>
              </a:ext>
            </a:extLst>
          </p:cNvPr>
          <p:cNvGrpSpPr/>
          <p:nvPr/>
        </p:nvGrpSpPr>
        <p:grpSpPr>
          <a:xfrm>
            <a:off x="3880584" y="4170541"/>
            <a:ext cx="2130469" cy="950976"/>
            <a:chOff x="5263614" y="4113391"/>
            <a:chExt cx="2130469" cy="950976"/>
          </a:xfrm>
        </p:grpSpPr>
        <p:sp>
          <p:nvSpPr>
            <p:cNvPr id="39" name="Rectangle 38">
              <a:extLst>
                <a:ext uri="{FF2B5EF4-FFF2-40B4-BE49-F238E27FC236}">
                  <a16:creationId xmlns:a16="http://schemas.microsoft.com/office/drawing/2014/main" id="{A6F765E7-0B3E-4E6E-ABEC-2B442AE2C7C8}"/>
                </a:ext>
              </a:extLst>
            </p:cNvPr>
            <p:cNvSpPr>
              <a:spLocks noChangeAspect="1"/>
            </p:cNvSpPr>
            <p:nvPr/>
          </p:nvSpPr>
          <p:spPr>
            <a:xfrm>
              <a:off x="5263614" y="4113391"/>
              <a:ext cx="950976" cy="950976"/>
            </a:xfrm>
            <a:prstGeom prst="rect">
              <a:avLst/>
            </a:prstGeom>
            <a:solidFill>
              <a:srgbClr val="6AA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ABA3CFE2-5996-4989-8003-3B14421CD8A7}"/>
                </a:ext>
              </a:extLst>
            </p:cNvPr>
            <p:cNvSpPr txBox="1"/>
            <p:nvPr/>
          </p:nvSpPr>
          <p:spPr>
            <a:xfrm>
              <a:off x="6262399" y="4127214"/>
              <a:ext cx="1131684" cy="923330"/>
            </a:xfrm>
            <a:prstGeom prst="rect">
              <a:avLst/>
            </a:prstGeom>
            <a:noFill/>
            <a:ln w="28575">
              <a:solidFill>
                <a:schemeClr val="tx1"/>
              </a:solidFill>
              <a:miter lim="800000"/>
            </a:ln>
          </p:spPr>
          <p:txBody>
            <a:bodyPr wrap="square" rtlCol="0">
              <a:spAutoFit/>
            </a:bodyPr>
            <a:lstStyle/>
            <a:p>
              <a:r>
                <a:rPr lang="en-US"/>
                <a:t>R=106</a:t>
              </a:r>
            </a:p>
            <a:p>
              <a:r>
                <a:rPr lang="en-US"/>
                <a:t>G=160</a:t>
              </a:r>
            </a:p>
            <a:p>
              <a:r>
                <a:rPr lang="en-US"/>
                <a:t>B=40</a:t>
              </a:r>
            </a:p>
          </p:txBody>
        </p:sp>
      </p:grpSp>
      <p:grpSp>
        <p:nvGrpSpPr>
          <p:cNvPr id="41" name="Group 40">
            <a:extLst>
              <a:ext uri="{FF2B5EF4-FFF2-40B4-BE49-F238E27FC236}">
                <a16:creationId xmlns:a16="http://schemas.microsoft.com/office/drawing/2014/main" id="{B85E7946-846D-4D92-B799-AF04702BCB45}"/>
              </a:ext>
            </a:extLst>
          </p:cNvPr>
          <p:cNvGrpSpPr/>
          <p:nvPr/>
        </p:nvGrpSpPr>
        <p:grpSpPr>
          <a:xfrm>
            <a:off x="6195309" y="4170541"/>
            <a:ext cx="2131213" cy="950976"/>
            <a:chOff x="7578339" y="4113391"/>
            <a:chExt cx="2131213" cy="950976"/>
          </a:xfrm>
        </p:grpSpPr>
        <p:sp>
          <p:nvSpPr>
            <p:cNvPr id="42" name="Rectangle 41">
              <a:extLst>
                <a:ext uri="{FF2B5EF4-FFF2-40B4-BE49-F238E27FC236}">
                  <a16:creationId xmlns:a16="http://schemas.microsoft.com/office/drawing/2014/main" id="{4CAC53C8-6482-46FE-9750-A4F9C354414D}"/>
                </a:ext>
              </a:extLst>
            </p:cNvPr>
            <p:cNvSpPr>
              <a:spLocks noChangeAspect="1"/>
            </p:cNvSpPr>
            <p:nvPr/>
          </p:nvSpPr>
          <p:spPr>
            <a:xfrm>
              <a:off x="7578339" y="4113391"/>
              <a:ext cx="950976" cy="950976"/>
            </a:xfrm>
            <a:prstGeom prst="rect">
              <a:avLst/>
            </a:prstGeom>
            <a:solidFill>
              <a:srgbClr val="D66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A25C7262-B41D-4944-9E7C-1AA2D7011F94}"/>
                </a:ext>
              </a:extLst>
            </p:cNvPr>
            <p:cNvSpPr txBox="1"/>
            <p:nvPr/>
          </p:nvSpPr>
          <p:spPr>
            <a:xfrm>
              <a:off x="8577869" y="4127214"/>
              <a:ext cx="1131683" cy="923330"/>
            </a:xfrm>
            <a:prstGeom prst="rect">
              <a:avLst/>
            </a:prstGeom>
            <a:noFill/>
            <a:ln w="28575">
              <a:solidFill>
                <a:schemeClr val="tx1"/>
              </a:solidFill>
              <a:miter lim="800000"/>
            </a:ln>
          </p:spPr>
          <p:txBody>
            <a:bodyPr wrap="square" rtlCol="0">
              <a:spAutoFit/>
            </a:bodyPr>
            <a:lstStyle/>
            <a:p>
              <a:r>
                <a:rPr lang="en-US"/>
                <a:t>R=214</a:t>
              </a:r>
            </a:p>
            <a:p>
              <a:r>
                <a:rPr lang="en-US"/>
                <a:t>G=107</a:t>
              </a:r>
            </a:p>
            <a:p>
              <a:r>
                <a:rPr lang="en-US"/>
                <a:t>B=0</a:t>
              </a:r>
            </a:p>
          </p:txBody>
        </p:sp>
      </p:grpSp>
      <p:grpSp>
        <p:nvGrpSpPr>
          <p:cNvPr id="44" name="Group 43">
            <a:extLst>
              <a:ext uri="{FF2B5EF4-FFF2-40B4-BE49-F238E27FC236}">
                <a16:creationId xmlns:a16="http://schemas.microsoft.com/office/drawing/2014/main" id="{5C75CB18-4A34-43C3-BC57-20E12E2AB861}"/>
              </a:ext>
            </a:extLst>
          </p:cNvPr>
          <p:cNvGrpSpPr/>
          <p:nvPr/>
        </p:nvGrpSpPr>
        <p:grpSpPr>
          <a:xfrm>
            <a:off x="8510034" y="4170541"/>
            <a:ext cx="2130786" cy="950976"/>
            <a:chOff x="9893064" y="4113391"/>
            <a:chExt cx="2130786" cy="950976"/>
          </a:xfrm>
        </p:grpSpPr>
        <p:sp>
          <p:nvSpPr>
            <p:cNvPr id="45" name="Rectangle 44">
              <a:extLst>
                <a:ext uri="{FF2B5EF4-FFF2-40B4-BE49-F238E27FC236}">
                  <a16:creationId xmlns:a16="http://schemas.microsoft.com/office/drawing/2014/main" id="{0DEA9D8F-0E4D-48B8-854D-0C1F61AB932A}"/>
                </a:ext>
              </a:extLst>
            </p:cNvPr>
            <p:cNvSpPr>
              <a:spLocks noChangeAspect="1"/>
            </p:cNvSpPr>
            <p:nvPr/>
          </p:nvSpPr>
          <p:spPr>
            <a:xfrm>
              <a:off x="9893064" y="4113391"/>
              <a:ext cx="950976" cy="950976"/>
            </a:xfrm>
            <a:prstGeom prst="rect">
              <a:avLst/>
            </a:prstGeom>
            <a:solidFill>
              <a:srgbClr val="F7E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12DE9D35-C4E2-4BA1-9694-F5E42CA5EB59}"/>
                </a:ext>
              </a:extLst>
            </p:cNvPr>
            <p:cNvSpPr txBox="1"/>
            <p:nvPr/>
          </p:nvSpPr>
          <p:spPr>
            <a:xfrm>
              <a:off x="10892167" y="4127214"/>
              <a:ext cx="1131683" cy="923330"/>
            </a:xfrm>
            <a:prstGeom prst="rect">
              <a:avLst/>
            </a:prstGeom>
            <a:noFill/>
            <a:ln w="28575">
              <a:solidFill>
                <a:schemeClr val="tx1"/>
              </a:solidFill>
              <a:miter lim="800000"/>
            </a:ln>
          </p:spPr>
          <p:txBody>
            <a:bodyPr wrap="square" rtlCol="0">
              <a:spAutoFit/>
            </a:bodyPr>
            <a:lstStyle/>
            <a:p>
              <a:r>
                <a:rPr lang="en-US"/>
                <a:t>R=247</a:t>
              </a:r>
            </a:p>
            <a:p>
              <a:r>
                <a:rPr lang="en-US"/>
                <a:t>G=225</a:t>
              </a:r>
            </a:p>
            <a:p>
              <a:r>
                <a:rPr lang="en-US"/>
                <a:t>B=41</a:t>
              </a:r>
            </a:p>
          </p:txBody>
        </p:sp>
      </p:grpSp>
      <p:grpSp>
        <p:nvGrpSpPr>
          <p:cNvPr id="47" name="Group 46">
            <a:extLst>
              <a:ext uri="{FF2B5EF4-FFF2-40B4-BE49-F238E27FC236}">
                <a16:creationId xmlns:a16="http://schemas.microsoft.com/office/drawing/2014/main" id="{E42E8B67-72CB-4104-B9B4-7B4552934460}"/>
              </a:ext>
            </a:extLst>
          </p:cNvPr>
          <p:cNvGrpSpPr/>
          <p:nvPr/>
        </p:nvGrpSpPr>
        <p:grpSpPr>
          <a:xfrm>
            <a:off x="7442222" y="2071166"/>
            <a:ext cx="2135622" cy="950976"/>
            <a:chOff x="5786911" y="1625465"/>
            <a:chExt cx="2135622" cy="950976"/>
          </a:xfrm>
        </p:grpSpPr>
        <p:sp>
          <p:nvSpPr>
            <p:cNvPr id="48" name="Rectangle 47">
              <a:extLst>
                <a:ext uri="{FF2B5EF4-FFF2-40B4-BE49-F238E27FC236}">
                  <a16:creationId xmlns:a16="http://schemas.microsoft.com/office/drawing/2014/main" id="{4096C666-E74A-42E9-8346-42BADB567A64}"/>
                </a:ext>
              </a:extLst>
            </p:cNvPr>
            <p:cNvSpPr>
              <a:spLocks noChangeAspect="1"/>
            </p:cNvSpPr>
            <p:nvPr/>
          </p:nvSpPr>
          <p:spPr>
            <a:xfrm>
              <a:off x="5786911" y="1625465"/>
              <a:ext cx="950976" cy="950976"/>
            </a:xfrm>
            <a:prstGeom prst="rect">
              <a:avLst/>
            </a:prstGeom>
            <a:solidFill>
              <a:srgbClr val="00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258BDED2-61E0-4172-9A53-685300DE256F}"/>
                </a:ext>
              </a:extLst>
            </p:cNvPr>
            <p:cNvSpPr txBox="1"/>
            <p:nvPr/>
          </p:nvSpPr>
          <p:spPr>
            <a:xfrm>
              <a:off x="6790849" y="1639288"/>
              <a:ext cx="1131684" cy="923330"/>
            </a:xfrm>
            <a:prstGeom prst="rect">
              <a:avLst/>
            </a:prstGeom>
            <a:noFill/>
            <a:ln w="28575">
              <a:solidFill>
                <a:schemeClr val="tx1"/>
              </a:solidFill>
              <a:miter lim="800000"/>
            </a:ln>
          </p:spPr>
          <p:txBody>
            <a:bodyPr wrap="square" rtlCol="0">
              <a:spAutoFit/>
            </a:bodyPr>
            <a:lstStyle/>
            <a:p>
              <a:r>
                <a:rPr lang="en-US"/>
                <a:t>R=0</a:t>
              </a:r>
            </a:p>
            <a:p>
              <a:r>
                <a:rPr lang="en-US"/>
                <a:t>G=54</a:t>
              </a:r>
            </a:p>
            <a:p>
              <a:r>
                <a:rPr lang="en-US"/>
                <a:t>B=152</a:t>
              </a:r>
            </a:p>
          </p:txBody>
        </p:sp>
      </p:grpSp>
      <p:sp>
        <p:nvSpPr>
          <p:cNvPr id="50" name="Content Placeholder 18">
            <a:extLst>
              <a:ext uri="{FF2B5EF4-FFF2-40B4-BE49-F238E27FC236}">
                <a16:creationId xmlns:a16="http://schemas.microsoft.com/office/drawing/2014/main" id="{9507A296-5359-4896-A0A9-07E64C6E5CAF}"/>
              </a:ext>
            </a:extLst>
          </p:cNvPr>
          <p:cNvSpPr txBox="1">
            <a:spLocks/>
          </p:cNvSpPr>
          <p:nvPr/>
        </p:nvSpPr>
        <p:spPr>
          <a:xfrm>
            <a:off x="2499063" y="1504613"/>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FEDERAL PALETTE</a:t>
            </a:r>
            <a:endParaRPr lang="en-US" sz="1000">
              <a:solidFill>
                <a:schemeClr val="bg2">
                  <a:lumMod val="10000"/>
                </a:schemeClr>
              </a:solidFill>
              <a:latin typeface="Arial" panose="020B0604020202020204" pitchFamily="34" charset="0"/>
              <a:cs typeface="Arial" panose="020B0604020202020204" pitchFamily="34" charset="0"/>
            </a:endParaRPr>
          </a:p>
        </p:txBody>
      </p:sp>
      <p:sp>
        <p:nvSpPr>
          <p:cNvPr id="51" name="Content Placeholder 18">
            <a:extLst>
              <a:ext uri="{FF2B5EF4-FFF2-40B4-BE49-F238E27FC236}">
                <a16:creationId xmlns:a16="http://schemas.microsoft.com/office/drawing/2014/main" id="{FA0F668E-8765-4CDE-8A93-44457761CE82}"/>
              </a:ext>
            </a:extLst>
          </p:cNvPr>
          <p:cNvSpPr txBox="1">
            <a:spLocks/>
          </p:cNvSpPr>
          <p:nvPr/>
        </p:nvSpPr>
        <p:spPr>
          <a:xfrm>
            <a:off x="6620273" y="1504613"/>
            <a:ext cx="3779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kern="1200">
                <a:solidFill>
                  <a:schemeClr val="tx1"/>
                </a:solidFill>
                <a:latin typeface="Arial Black" panose="020B0A04020102020204" pitchFamily="34" charset="0"/>
                <a:ea typeface="+mn-ea"/>
                <a:cs typeface="+mn-cs"/>
              </a:rPr>
              <a:t>EDUCATIONAL PALETTE</a:t>
            </a:r>
            <a:endParaRPr lang="en-US" sz="1000">
              <a:solidFill>
                <a:schemeClr val="bg2">
                  <a:lumMod val="10000"/>
                </a:schemeClr>
              </a:solidFill>
              <a:latin typeface="Arial" panose="020B0604020202020204" pitchFamily="34" charset="0"/>
              <a:cs typeface="Arial" panose="020B0604020202020204" pitchFamily="34" charset="0"/>
            </a:endParaRPr>
          </a:p>
        </p:txBody>
      </p:sp>
      <p:cxnSp>
        <p:nvCxnSpPr>
          <p:cNvPr id="52" name="Connector: Elbow 51">
            <a:extLst>
              <a:ext uri="{FF2B5EF4-FFF2-40B4-BE49-F238E27FC236}">
                <a16:creationId xmlns:a16="http://schemas.microsoft.com/office/drawing/2014/main" id="{DEBE8AC7-3235-43A9-B2F1-495E51E0E6BD}"/>
              </a:ext>
            </a:extLst>
          </p:cNvPr>
          <p:cNvCxnSpPr>
            <a:stCxn id="33" idx="0"/>
            <a:endCxn id="36" idx="2"/>
          </p:cNvCxnSpPr>
          <p:nvPr/>
        </p:nvCxnSpPr>
        <p:spPr>
          <a:xfrm rot="5400000" flipH="1" flipV="1">
            <a:off x="1468138" y="3596342"/>
            <a:ext cx="1147408" cy="99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0AE0724-C50C-4FFB-9A17-4C6A632BDCBC}"/>
              </a:ext>
            </a:extLst>
          </p:cNvPr>
          <p:cNvCxnSpPr>
            <a:stCxn id="36" idx="2"/>
            <a:endCxn id="39" idx="0"/>
          </p:cNvCxnSpPr>
          <p:nvPr/>
        </p:nvCxnSpPr>
        <p:spPr>
          <a:xfrm rot="16200000" flipH="1">
            <a:off x="2625501" y="2439970"/>
            <a:ext cx="1147408" cy="231373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D54F9C14-4356-458A-B052-2499AF6DE4CE}"/>
              </a:ext>
            </a:extLst>
          </p:cNvPr>
          <p:cNvCxnSpPr>
            <a:stCxn id="36" idx="2"/>
            <a:endCxn id="42" idx="0"/>
          </p:cNvCxnSpPr>
          <p:nvPr/>
        </p:nvCxnSpPr>
        <p:spPr>
          <a:xfrm rot="16200000" flipH="1">
            <a:off x="3782863" y="1282607"/>
            <a:ext cx="1147408" cy="4628459"/>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E5B5F148-33C7-4610-9E6D-4055DE575DE3}"/>
              </a:ext>
            </a:extLst>
          </p:cNvPr>
          <p:cNvCxnSpPr>
            <a:stCxn id="36" idx="2"/>
            <a:endCxn id="45" idx="0"/>
          </p:cNvCxnSpPr>
          <p:nvPr/>
        </p:nvCxnSpPr>
        <p:spPr>
          <a:xfrm rot="16200000" flipH="1">
            <a:off x="4940226" y="125245"/>
            <a:ext cx="1147408" cy="694318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7509A2B6-44B8-4FDD-8AB7-2DBF9B93B422}"/>
              </a:ext>
            </a:extLst>
          </p:cNvPr>
          <p:cNvCxnSpPr>
            <a:stCxn id="48" idx="2"/>
            <a:endCxn id="45" idx="0"/>
          </p:cNvCxnSpPr>
          <p:nvPr/>
        </p:nvCxnSpPr>
        <p:spPr>
          <a:xfrm rot="16200000" flipH="1">
            <a:off x="7877417" y="3062435"/>
            <a:ext cx="1148399" cy="106781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D6A2F0D7-3A99-4547-97F9-8A99B509FE32}"/>
              </a:ext>
            </a:extLst>
          </p:cNvPr>
          <p:cNvGrpSpPr/>
          <p:nvPr/>
        </p:nvGrpSpPr>
        <p:grpSpPr>
          <a:xfrm>
            <a:off x="3820172" y="2070175"/>
            <a:ext cx="2143455" cy="952958"/>
            <a:chOff x="1028402" y="1624474"/>
            <a:chExt cx="2143455" cy="952958"/>
          </a:xfrm>
        </p:grpSpPr>
        <p:sp>
          <p:nvSpPr>
            <p:cNvPr id="58" name="Rectangle 57">
              <a:extLst>
                <a:ext uri="{FF2B5EF4-FFF2-40B4-BE49-F238E27FC236}">
                  <a16:creationId xmlns:a16="http://schemas.microsoft.com/office/drawing/2014/main" id="{20147E60-B595-4D35-9636-2F8588DD4BC5}"/>
                </a:ext>
              </a:extLst>
            </p:cNvPr>
            <p:cNvSpPr/>
            <p:nvPr/>
          </p:nvSpPr>
          <p:spPr>
            <a:xfrm>
              <a:off x="1028402" y="1624474"/>
              <a:ext cx="952958" cy="952958"/>
            </a:xfrm>
            <a:prstGeom prst="rect">
              <a:avLst/>
            </a:prstGeom>
            <a:solidFill>
              <a:srgbClr val="6727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EFA4685B-1D11-41C4-9A28-856FF66E39B5}"/>
                </a:ext>
              </a:extLst>
            </p:cNvPr>
            <p:cNvSpPr txBox="1"/>
            <p:nvPr/>
          </p:nvSpPr>
          <p:spPr>
            <a:xfrm>
              <a:off x="2040173" y="1639288"/>
              <a:ext cx="1131684" cy="923330"/>
            </a:xfrm>
            <a:prstGeom prst="rect">
              <a:avLst/>
            </a:prstGeom>
            <a:noFill/>
            <a:ln w="28575">
              <a:solidFill>
                <a:schemeClr val="tx1"/>
              </a:solidFill>
              <a:miter lim="800000"/>
            </a:ln>
          </p:spPr>
          <p:txBody>
            <a:bodyPr wrap="square" rtlCol="0">
              <a:spAutoFit/>
            </a:bodyPr>
            <a:lstStyle/>
            <a:p>
              <a:r>
                <a:rPr lang="en-US"/>
                <a:t>R=103</a:t>
              </a:r>
            </a:p>
            <a:p>
              <a:r>
                <a:rPr lang="en-US"/>
                <a:t>G=39</a:t>
              </a:r>
            </a:p>
            <a:p>
              <a:r>
                <a:rPr lang="en-US"/>
                <a:t>B=103</a:t>
              </a:r>
            </a:p>
          </p:txBody>
        </p:sp>
      </p:grpSp>
      <p:cxnSp>
        <p:nvCxnSpPr>
          <p:cNvPr id="60" name="Straight Connector 59">
            <a:extLst>
              <a:ext uri="{FF2B5EF4-FFF2-40B4-BE49-F238E27FC236}">
                <a16:creationId xmlns:a16="http://schemas.microsoft.com/office/drawing/2014/main" id="{AE188C43-1E4A-491E-BAD5-BBCF25731556}"/>
              </a:ext>
            </a:extLst>
          </p:cNvPr>
          <p:cNvCxnSpPr>
            <a:stCxn id="37" idx="3"/>
            <a:endCxn id="58" idx="1"/>
          </p:cNvCxnSpPr>
          <p:nvPr/>
        </p:nvCxnSpPr>
        <p:spPr>
          <a:xfrm>
            <a:off x="3709314" y="2546654"/>
            <a:ext cx="1108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49FAB97A-92E0-4F83-935D-CDAA775880FF}"/>
              </a:ext>
            </a:extLst>
          </p:cNvPr>
          <p:cNvGrpSpPr/>
          <p:nvPr userDrawn="1"/>
        </p:nvGrpSpPr>
        <p:grpSpPr>
          <a:xfrm>
            <a:off x="1565859" y="4170541"/>
            <a:ext cx="2136963" cy="950976"/>
            <a:chOff x="2948889" y="4113391"/>
            <a:chExt cx="2136963" cy="950976"/>
          </a:xfrm>
        </p:grpSpPr>
        <p:sp>
          <p:nvSpPr>
            <p:cNvPr id="62" name="Rectangle 61">
              <a:extLst>
                <a:ext uri="{FF2B5EF4-FFF2-40B4-BE49-F238E27FC236}">
                  <a16:creationId xmlns:a16="http://schemas.microsoft.com/office/drawing/2014/main" id="{9B76DBD7-D12E-4463-B44E-3C31A407150D}"/>
                </a:ext>
              </a:extLst>
            </p:cNvPr>
            <p:cNvSpPr>
              <a:spLocks noChangeAspect="1"/>
            </p:cNvSpPr>
            <p:nvPr/>
          </p:nvSpPr>
          <p:spPr>
            <a:xfrm>
              <a:off x="2948889" y="4113391"/>
              <a:ext cx="950976" cy="950976"/>
            </a:xfrm>
            <a:prstGeom prst="rect">
              <a:avLst/>
            </a:prstGeom>
            <a:solidFill>
              <a:srgbClr val="268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7DCFEBD0-2947-4533-92E5-817DD083B4FC}"/>
                </a:ext>
              </a:extLst>
            </p:cNvPr>
            <p:cNvSpPr txBox="1"/>
            <p:nvPr/>
          </p:nvSpPr>
          <p:spPr>
            <a:xfrm>
              <a:off x="3954168" y="4127214"/>
              <a:ext cx="1131684" cy="923330"/>
            </a:xfrm>
            <a:prstGeom prst="rect">
              <a:avLst/>
            </a:prstGeom>
            <a:noFill/>
            <a:ln w="28575">
              <a:solidFill>
                <a:schemeClr val="tx1"/>
              </a:solidFill>
              <a:miter lim="800000"/>
            </a:ln>
          </p:spPr>
          <p:txBody>
            <a:bodyPr wrap="square" rtlCol="0">
              <a:spAutoFit/>
            </a:bodyPr>
            <a:lstStyle/>
            <a:p>
              <a:r>
                <a:rPr lang="en-US"/>
                <a:t>R=38</a:t>
              </a:r>
            </a:p>
            <a:p>
              <a:r>
                <a:rPr lang="en-US"/>
                <a:t>G=131</a:t>
              </a:r>
            </a:p>
            <a:p>
              <a:r>
                <a:rPr lang="en-US"/>
                <a:t>B=208</a:t>
              </a:r>
            </a:p>
          </p:txBody>
        </p:sp>
      </p:grpSp>
      <p:grpSp>
        <p:nvGrpSpPr>
          <p:cNvPr id="64" name="Group 63">
            <a:extLst>
              <a:ext uri="{FF2B5EF4-FFF2-40B4-BE49-F238E27FC236}">
                <a16:creationId xmlns:a16="http://schemas.microsoft.com/office/drawing/2014/main" id="{C2B98770-CE6A-4A78-9DC7-81506097AD18}"/>
              </a:ext>
            </a:extLst>
          </p:cNvPr>
          <p:cNvGrpSpPr/>
          <p:nvPr userDrawn="1"/>
        </p:nvGrpSpPr>
        <p:grpSpPr>
          <a:xfrm>
            <a:off x="1565859" y="2070175"/>
            <a:ext cx="2143455" cy="952958"/>
            <a:chOff x="1028402" y="1624474"/>
            <a:chExt cx="2143455" cy="952958"/>
          </a:xfrm>
        </p:grpSpPr>
        <p:sp>
          <p:nvSpPr>
            <p:cNvPr id="65" name="Rectangle 64">
              <a:extLst>
                <a:ext uri="{FF2B5EF4-FFF2-40B4-BE49-F238E27FC236}">
                  <a16:creationId xmlns:a16="http://schemas.microsoft.com/office/drawing/2014/main" id="{0806C49A-53F0-4C67-9B53-60843BB61983}"/>
                </a:ext>
              </a:extLst>
            </p:cNvPr>
            <p:cNvSpPr/>
            <p:nvPr/>
          </p:nvSpPr>
          <p:spPr>
            <a:xfrm>
              <a:off x="1028402" y="1624474"/>
              <a:ext cx="952958" cy="95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16088EEE-08E7-40E7-81B2-56800091883C}"/>
                </a:ext>
              </a:extLst>
            </p:cNvPr>
            <p:cNvSpPr txBox="1"/>
            <p:nvPr/>
          </p:nvSpPr>
          <p:spPr>
            <a:xfrm>
              <a:off x="2040173" y="1639288"/>
              <a:ext cx="1131684" cy="923330"/>
            </a:xfrm>
            <a:prstGeom prst="rect">
              <a:avLst/>
            </a:prstGeom>
            <a:noFill/>
            <a:ln w="28575">
              <a:solidFill>
                <a:schemeClr val="tx1"/>
              </a:solidFill>
              <a:miter lim="800000"/>
            </a:ln>
          </p:spPr>
          <p:txBody>
            <a:bodyPr wrap="square" rtlCol="0">
              <a:spAutoFit/>
            </a:bodyPr>
            <a:lstStyle/>
            <a:p>
              <a:r>
                <a:rPr lang="en-US"/>
                <a:t>R=75</a:t>
              </a:r>
            </a:p>
            <a:p>
              <a:r>
                <a:rPr lang="en-US"/>
                <a:t>G=29</a:t>
              </a:r>
            </a:p>
            <a:p>
              <a:r>
                <a:rPr lang="en-US"/>
                <a:t>B=63</a:t>
              </a:r>
            </a:p>
          </p:txBody>
        </p:sp>
      </p:grpSp>
      <p:grpSp>
        <p:nvGrpSpPr>
          <p:cNvPr id="67" name="Group 66">
            <a:extLst>
              <a:ext uri="{FF2B5EF4-FFF2-40B4-BE49-F238E27FC236}">
                <a16:creationId xmlns:a16="http://schemas.microsoft.com/office/drawing/2014/main" id="{3F75B3B4-481A-42E3-AB1A-26EA72F8DD8C}"/>
              </a:ext>
            </a:extLst>
          </p:cNvPr>
          <p:cNvGrpSpPr/>
          <p:nvPr userDrawn="1"/>
        </p:nvGrpSpPr>
        <p:grpSpPr>
          <a:xfrm>
            <a:off x="3880584" y="4170541"/>
            <a:ext cx="2130469" cy="950976"/>
            <a:chOff x="5263614" y="4113391"/>
            <a:chExt cx="2130469" cy="950976"/>
          </a:xfrm>
        </p:grpSpPr>
        <p:sp>
          <p:nvSpPr>
            <p:cNvPr id="68" name="Rectangle 67">
              <a:extLst>
                <a:ext uri="{FF2B5EF4-FFF2-40B4-BE49-F238E27FC236}">
                  <a16:creationId xmlns:a16="http://schemas.microsoft.com/office/drawing/2014/main" id="{7752D9AC-D90B-42AE-B24D-E06EBE17F1BB}"/>
                </a:ext>
              </a:extLst>
            </p:cNvPr>
            <p:cNvSpPr>
              <a:spLocks noChangeAspect="1"/>
            </p:cNvSpPr>
            <p:nvPr/>
          </p:nvSpPr>
          <p:spPr>
            <a:xfrm>
              <a:off x="5263614" y="4113391"/>
              <a:ext cx="950976" cy="950976"/>
            </a:xfrm>
            <a:prstGeom prst="rect">
              <a:avLst/>
            </a:prstGeom>
            <a:solidFill>
              <a:srgbClr val="6AA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3F6E771D-03F1-4D3C-BC86-FAC490F598E7}"/>
                </a:ext>
              </a:extLst>
            </p:cNvPr>
            <p:cNvSpPr txBox="1"/>
            <p:nvPr/>
          </p:nvSpPr>
          <p:spPr>
            <a:xfrm>
              <a:off x="6262399" y="4127214"/>
              <a:ext cx="1131684" cy="923330"/>
            </a:xfrm>
            <a:prstGeom prst="rect">
              <a:avLst/>
            </a:prstGeom>
            <a:noFill/>
            <a:ln w="28575">
              <a:solidFill>
                <a:schemeClr val="tx1"/>
              </a:solidFill>
              <a:miter lim="800000"/>
            </a:ln>
          </p:spPr>
          <p:txBody>
            <a:bodyPr wrap="square" rtlCol="0">
              <a:spAutoFit/>
            </a:bodyPr>
            <a:lstStyle/>
            <a:p>
              <a:r>
                <a:rPr lang="en-US"/>
                <a:t>R=106</a:t>
              </a:r>
            </a:p>
            <a:p>
              <a:r>
                <a:rPr lang="en-US"/>
                <a:t>G=160</a:t>
              </a:r>
            </a:p>
            <a:p>
              <a:r>
                <a:rPr lang="en-US"/>
                <a:t>B=40</a:t>
              </a:r>
            </a:p>
          </p:txBody>
        </p:sp>
      </p:grpSp>
      <p:grpSp>
        <p:nvGrpSpPr>
          <p:cNvPr id="70" name="Group 69">
            <a:extLst>
              <a:ext uri="{FF2B5EF4-FFF2-40B4-BE49-F238E27FC236}">
                <a16:creationId xmlns:a16="http://schemas.microsoft.com/office/drawing/2014/main" id="{8655076A-CA88-47AD-9419-A641FC691543}"/>
              </a:ext>
            </a:extLst>
          </p:cNvPr>
          <p:cNvGrpSpPr/>
          <p:nvPr userDrawn="1"/>
        </p:nvGrpSpPr>
        <p:grpSpPr>
          <a:xfrm>
            <a:off x="6195309" y="4170541"/>
            <a:ext cx="2131213" cy="950976"/>
            <a:chOff x="7578339" y="4113391"/>
            <a:chExt cx="2131213" cy="950976"/>
          </a:xfrm>
        </p:grpSpPr>
        <p:sp>
          <p:nvSpPr>
            <p:cNvPr id="71" name="Rectangle 70">
              <a:extLst>
                <a:ext uri="{FF2B5EF4-FFF2-40B4-BE49-F238E27FC236}">
                  <a16:creationId xmlns:a16="http://schemas.microsoft.com/office/drawing/2014/main" id="{BA704D35-572F-4A30-9F55-76A4F72CA33A}"/>
                </a:ext>
              </a:extLst>
            </p:cNvPr>
            <p:cNvSpPr>
              <a:spLocks noChangeAspect="1"/>
            </p:cNvSpPr>
            <p:nvPr/>
          </p:nvSpPr>
          <p:spPr>
            <a:xfrm>
              <a:off x="7578339" y="4113391"/>
              <a:ext cx="950976" cy="950976"/>
            </a:xfrm>
            <a:prstGeom prst="rect">
              <a:avLst/>
            </a:prstGeom>
            <a:solidFill>
              <a:srgbClr val="D66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75336837-51A1-4EC0-9748-2938947E3E08}"/>
                </a:ext>
              </a:extLst>
            </p:cNvPr>
            <p:cNvSpPr txBox="1"/>
            <p:nvPr/>
          </p:nvSpPr>
          <p:spPr>
            <a:xfrm>
              <a:off x="8577869" y="4127214"/>
              <a:ext cx="1131683" cy="923330"/>
            </a:xfrm>
            <a:prstGeom prst="rect">
              <a:avLst/>
            </a:prstGeom>
            <a:noFill/>
            <a:ln w="28575">
              <a:solidFill>
                <a:schemeClr val="tx1"/>
              </a:solidFill>
              <a:miter lim="800000"/>
            </a:ln>
          </p:spPr>
          <p:txBody>
            <a:bodyPr wrap="square" rtlCol="0">
              <a:spAutoFit/>
            </a:bodyPr>
            <a:lstStyle/>
            <a:p>
              <a:r>
                <a:rPr lang="en-US"/>
                <a:t>R=214</a:t>
              </a:r>
            </a:p>
            <a:p>
              <a:r>
                <a:rPr lang="en-US"/>
                <a:t>G=107</a:t>
              </a:r>
            </a:p>
            <a:p>
              <a:r>
                <a:rPr lang="en-US"/>
                <a:t>B=0</a:t>
              </a:r>
            </a:p>
          </p:txBody>
        </p:sp>
      </p:grpSp>
      <p:grpSp>
        <p:nvGrpSpPr>
          <p:cNvPr id="73" name="Group 72">
            <a:extLst>
              <a:ext uri="{FF2B5EF4-FFF2-40B4-BE49-F238E27FC236}">
                <a16:creationId xmlns:a16="http://schemas.microsoft.com/office/drawing/2014/main" id="{5E82E7FD-2B1C-4E8C-BF1A-0428C35D3208}"/>
              </a:ext>
            </a:extLst>
          </p:cNvPr>
          <p:cNvGrpSpPr/>
          <p:nvPr userDrawn="1"/>
        </p:nvGrpSpPr>
        <p:grpSpPr>
          <a:xfrm>
            <a:off x="8510034" y="4170541"/>
            <a:ext cx="2130786" cy="950976"/>
            <a:chOff x="9893064" y="4113391"/>
            <a:chExt cx="2130786" cy="950976"/>
          </a:xfrm>
        </p:grpSpPr>
        <p:sp>
          <p:nvSpPr>
            <p:cNvPr id="74" name="Rectangle 73">
              <a:extLst>
                <a:ext uri="{FF2B5EF4-FFF2-40B4-BE49-F238E27FC236}">
                  <a16:creationId xmlns:a16="http://schemas.microsoft.com/office/drawing/2014/main" id="{5718B325-7117-4AA8-8032-AC65FF6CAD14}"/>
                </a:ext>
              </a:extLst>
            </p:cNvPr>
            <p:cNvSpPr>
              <a:spLocks noChangeAspect="1"/>
            </p:cNvSpPr>
            <p:nvPr/>
          </p:nvSpPr>
          <p:spPr>
            <a:xfrm>
              <a:off x="9893064" y="4113391"/>
              <a:ext cx="950976" cy="950976"/>
            </a:xfrm>
            <a:prstGeom prst="rect">
              <a:avLst/>
            </a:prstGeom>
            <a:solidFill>
              <a:srgbClr val="F7E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a:extLst>
                <a:ext uri="{FF2B5EF4-FFF2-40B4-BE49-F238E27FC236}">
                  <a16:creationId xmlns:a16="http://schemas.microsoft.com/office/drawing/2014/main" id="{2BEF393D-D0E5-4885-A5FE-541526766B98}"/>
                </a:ext>
              </a:extLst>
            </p:cNvPr>
            <p:cNvSpPr txBox="1"/>
            <p:nvPr/>
          </p:nvSpPr>
          <p:spPr>
            <a:xfrm>
              <a:off x="10892167" y="4127214"/>
              <a:ext cx="1131683" cy="923330"/>
            </a:xfrm>
            <a:prstGeom prst="rect">
              <a:avLst/>
            </a:prstGeom>
            <a:noFill/>
            <a:ln w="28575">
              <a:solidFill>
                <a:schemeClr val="tx1"/>
              </a:solidFill>
              <a:miter lim="800000"/>
            </a:ln>
          </p:spPr>
          <p:txBody>
            <a:bodyPr wrap="square" rtlCol="0">
              <a:spAutoFit/>
            </a:bodyPr>
            <a:lstStyle/>
            <a:p>
              <a:r>
                <a:rPr lang="en-US"/>
                <a:t>R=247</a:t>
              </a:r>
            </a:p>
            <a:p>
              <a:r>
                <a:rPr lang="en-US"/>
                <a:t>G=225</a:t>
              </a:r>
            </a:p>
            <a:p>
              <a:r>
                <a:rPr lang="en-US"/>
                <a:t>B=41</a:t>
              </a:r>
            </a:p>
          </p:txBody>
        </p:sp>
      </p:grpSp>
      <p:grpSp>
        <p:nvGrpSpPr>
          <p:cNvPr id="76" name="Group 75">
            <a:extLst>
              <a:ext uri="{FF2B5EF4-FFF2-40B4-BE49-F238E27FC236}">
                <a16:creationId xmlns:a16="http://schemas.microsoft.com/office/drawing/2014/main" id="{86911C94-F217-40D6-8912-511AF8A728A8}"/>
              </a:ext>
            </a:extLst>
          </p:cNvPr>
          <p:cNvGrpSpPr/>
          <p:nvPr userDrawn="1"/>
        </p:nvGrpSpPr>
        <p:grpSpPr>
          <a:xfrm>
            <a:off x="7442222" y="2071166"/>
            <a:ext cx="2135622" cy="950976"/>
            <a:chOff x="5786911" y="1625465"/>
            <a:chExt cx="2135622" cy="950976"/>
          </a:xfrm>
        </p:grpSpPr>
        <p:sp>
          <p:nvSpPr>
            <p:cNvPr id="77" name="Rectangle 76">
              <a:extLst>
                <a:ext uri="{FF2B5EF4-FFF2-40B4-BE49-F238E27FC236}">
                  <a16:creationId xmlns:a16="http://schemas.microsoft.com/office/drawing/2014/main" id="{D419602D-07D9-40D2-8B59-4F498CBD98C8}"/>
                </a:ext>
              </a:extLst>
            </p:cNvPr>
            <p:cNvSpPr>
              <a:spLocks noChangeAspect="1"/>
            </p:cNvSpPr>
            <p:nvPr/>
          </p:nvSpPr>
          <p:spPr>
            <a:xfrm>
              <a:off x="5786911" y="1625465"/>
              <a:ext cx="950976" cy="950976"/>
            </a:xfrm>
            <a:prstGeom prst="rect">
              <a:avLst/>
            </a:prstGeom>
            <a:solidFill>
              <a:srgbClr val="00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B717D8A9-A5EB-41DA-9FFC-124AC6F073C9}"/>
                </a:ext>
              </a:extLst>
            </p:cNvPr>
            <p:cNvSpPr txBox="1"/>
            <p:nvPr/>
          </p:nvSpPr>
          <p:spPr>
            <a:xfrm>
              <a:off x="6790849" y="1639288"/>
              <a:ext cx="1131684" cy="923330"/>
            </a:xfrm>
            <a:prstGeom prst="rect">
              <a:avLst/>
            </a:prstGeom>
            <a:noFill/>
            <a:ln w="28575">
              <a:solidFill>
                <a:schemeClr val="tx1"/>
              </a:solidFill>
              <a:miter lim="800000"/>
            </a:ln>
          </p:spPr>
          <p:txBody>
            <a:bodyPr wrap="square" rtlCol="0">
              <a:spAutoFit/>
            </a:bodyPr>
            <a:lstStyle/>
            <a:p>
              <a:r>
                <a:rPr lang="en-US"/>
                <a:t>R=0</a:t>
              </a:r>
            </a:p>
            <a:p>
              <a:r>
                <a:rPr lang="en-US"/>
                <a:t>G=54</a:t>
              </a:r>
            </a:p>
            <a:p>
              <a:r>
                <a:rPr lang="en-US"/>
                <a:t>B=152</a:t>
              </a:r>
            </a:p>
          </p:txBody>
        </p:sp>
      </p:grpSp>
      <p:sp>
        <p:nvSpPr>
          <p:cNvPr id="79" name="Content Placeholder 18">
            <a:extLst>
              <a:ext uri="{FF2B5EF4-FFF2-40B4-BE49-F238E27FC236}">
                <a16:creationId xmlns:a16="http://schemas.microsoft.com/office/drawing/2014/main" id="{A800D8F9-D218-4648-BEB1-068314585C7B}"/>
              </a:ext>
            </a:extLst>
          </p:cNvPr>
          <p:cNvSpPr txBox="1">
            <a:spLocks/>
          </p:cNvSpPr>
          <p:nvPr userDrawn="1"/>
        </p:nvSpPr>
        <p:spPr>
          <a:xfrm>
            <a:off x="2499063" y="1504613"/>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FEDERAL PALETTE</a:t>
            </a:r>
            <a:endParaRPr lang="en-US" sz="1000">
              <a:solidFill>
                <a:schemeClr val="bg2">
                  <a:lumMod val="10000"/>
                </a:schemeClr>
              </a:solidFill>
              <a:latin typeface="Arial" panose="020B0604020202020204" pitchFamily="34" charset="0"/>
              <a:cs typeface="Arial" panose="020B0604020202020204" pitchFamily="34" charset="0"/>
            </a:endParaRPr>
          </a:p>
        </p:txBody>
      </p:sp>
      <p:sp>
        <p:nvSpPr>
          <p:cNvPr id="80" name="Content Placeholder 18">
            <a:extLst>
              <a:ext uri="{FF2B5EF4-FFF2-40B4-BE49-F238E27FC236}">
                <a16:creationId xmlns:a16="http://schemas.microsoft.com/office/drawing/2014/main" id="{C235615B-78EE-405F-A06B-FF41EECCA70E}"/>
              </a:ext>
            </a:extLst>
          </p:cNvPr>
          <p:cNvSpPr txBox="1">
            <a:spLocks/>
          </p:cNvSpPr>
          <p:nvPr userDrawn="1"/>
        </p:nvSpPr>
        <p:spPr>
          <a:xfrm>
            <a:off x="6620273" y="1504613"/>
            <a:ext cx="3779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kern="1200">
                <a:solidFill>
                  <a:schemeClr val="tx1"/>
                </a:solidFill>
                <a:latin typeface="Arial Black" panose="020B0A04020102020204" pitchFamily="34" charset="0"/>
                <a:ea typeface="+mn-ea"/>
                <a:cs typeface="+mn-cs"/>
              </a:rPr>
              <a:t>EDUCATIONAL PALETTE</a:t>
            </a:r>
            <a:endParaRPr lang="en-US" sz="1000">
              <a:solidFill>
                <a:schemeClr val="bg2">
                  <a:lumMod val="10000"/>
                </a:schemeClr>
              </a:solidFill>
              <a:latin typeface="Arial" panose="020B0604020202020204" pitchFamily="34" charset="0"/>
              <a:cs typeface="Arial" panose="020B0604020202020204" pitchFamily="34" charset="0"/>
            </a:endParaRPr>
          </a:p>
        </p:txBody>
      </p:sp>
      <p:cxnSp>
        <p:nvCxnSpPr>
          <p:cNvPr id="81" name="Connector: Elbow 80">
            <a:extLst>
              <a:ext uri="{FF2B5EF4-FFF2-40B4-BE49-F238E27FC236}">
                <a16:creationId xmlns:a16="http://schemas.microsoft.com/office/drawing/2014/main" id="{951E4F0F-E29D-4374-9CAA-12949A735BDF}"/>
              </a:ext>
            </a:extLst>
          </p:cNvPr>
          <p:cNvCxnSpPr>
            <a:stCxn id="33" idx="0"/>
            <a:endCxn id="36" idx="2"/>
          </p:cNvCxnSpPr>
          <p:nvPr userDrawn="1"/>
        </p:nvCxnSpPr>
        <p:spPr>
          <a:xfrm rot="5400000" flipH="1" flipV="1">
            <a:off x="1468138" y="3596342"/>
            <a:ext cx="1147408" cy="99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70C031C4-9A03-4275-8920-F461B8402368}"/>
              </a:ext>
            </a:extLst>
          </p:cNvPr>
          <p:cNvCxnSpPr>
            <a:stCxn id="36" idx="2"/>
            <a:endCxn id="39" idx="0"/>
          </p:cNvCxnSpPr>
          <p:nvPr userDrawn="1"/>
        </p:nvCxnSpPr>
        <p:spPr>
          <a:xfrm rot="16200000" flipH="1">
            <a:off x="2625501" y="2439970"/>
            <a:ext cx="1147408" cy="231373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90A17E50-0008-4C30-93DF-7F304430D231}"/>
              </a:ext>
            </a:extLst>
          </p:cNvPr>
          <p:cNvCxnSpPr>
            <a:stCxn id="36" idx="2"/>
            <a:endCxn id="42" idx="0"/>
          </p:cNvCxnSpPr>
          <p:nvPr userDrawn="1"/>
        </p:nvCxnSpPr>
        <p:spPr>
          <a:xfrm rot="16200000" flipH="1">
            <a:off x="3782863" y="1282607"/>
            <a:ext cx="1147408" cy="4628459"/>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F6F02FE9-3E8F-4F0A-A39D-D540C86A1C7A}"/>
              </a:ext>
            </a:extLst>
          </p:cNvPr>
          <p:cNvCxnSpPr>
            <a:stCxn id="36" idx="2"/>
            <a:endCxn id="45" idx="0"/>
          </p:cNvCxnSpPr>
          <p:nvPr userDrawn="1"/>
        </p:nvCxnSpPr>
        <p:spPr>
          <a:xfrm rot="16200000" flipH="1">
            <a:off x="4940226" y="125245"/>
            <a:ext cx="1147408" cy="694318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1BC494CE-4CF5-4741-80AF-DF8EB644FC37}"/>
              </a:ext>
            </a:extLst>
          </p:cNvPr>
          <p:cNvCxnSpPr>
            <a:stCxn id="48" idx="2"/>
            <a:endCxn id="45" idx="0"/>
          </p:cNvCxnSpPr>
          <p:nvPr userDrawn="1"/>
        </p:nvCxnSpPr>
        <p:spPr>
          <a:xfrm rot="16200000" flipH="1">
            <a:off x="7877417" y="3062435"/>
            <a:ext cx="1148399" cy="106781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3B28FC44-A828-4902-AE67-AA8CDA9CCDE9}"/>
              </a:ext>
            </a:extLst>
          </p:cNvPr>
          <p:cNvGrpSpPr/>
          <p:nvPr userDrawn="1"/>
        </p:nvGrpSpPr>
        <p:grpSpPr>
          <a:xfrm>
            <a:off x="3820172" y="2070175"/>
            <a:ext cx="2143455" cy="952958"/>
            <a:chOff x="1028402" y="1624474"/>
            <a:chExt cx="2143455" cy="952958"/>
          </a:xfrm>
        </p:grpSpPr>
        <p:sp>
          <p:nvSpPr>
            <p:cNvPr id="87" name="Rectangle 86">
              <a:extLst>
                <a:ext uri="{FF2B5EF4-FFF2-40B4-BE49-F238E27FC236}">
                  <a16:creationId xmlns:a16="http://schemas.microsoft.com/office/drawing/2014/main" id="{C9327827-DE8B-4A97-86AE-B855B85DF7B5}"/>
                </a:ext>
              </a:extLst>
            </p:cNvPr>
            <p:cNvSpPr/>
            <p:nvPr/>
          </p:nvSpPr>
          <p:spPr>
            <a:xfrm>
              <a:off x="1028402" y="1624474"/>
              <a:ext cx="952958" cy="952958"/>
            </a:xfrm>
            <a:prstGeom prst="rect">
              <a:avLst/>
            </a:prstGeom>
            <a:solidFill>
              <a:srgbClr val="6727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DD7548E1-3715-442D-ADB7-97E6C3DCCDA2}"/>
                </a:ext>
              </a:extLst>
            </p:cNvPr>
            <p:cNvSpPr txBox="1"/>
            <p:nvPr/>
          </p:nvSpPr>
          <p:spPr>
            <a:xfrm>
              <a:off x="2040173" y="1639288"/>
              <a:ext cx="1131684" cy="923330"/>
            </a:xfrm>
            <a:prstGeom prst="rect">
              <a:avLst/>
            </a:prstGeom>
            <a:noFill/>
            <a:ln w="28575">
              <a:solidFill>
                <a:schemeClr val="tx1"/>
              </a:solidFill>
              <a:miter lim="800000"/>
            </a:ln>
          </p:spPr>
          <p:txBody>
            <a:bodyPr wrap="square" rtlCol="0">
              <a:spAutoFit/>
            </a:bodyPr>
            <a:lstStyle/>
            <a:p>
              <a:r>
                <a:rPr lang="en-US"/>
                <a:t>R=103</a:t>
              </a:r>
            </a:p>
            <a:p>
              <a:r>
                <a:rPr lang="en-US"/>
                <a:t>G=39</a:t>
              </a:r>
            </a:p>
            <a:p>
              <a:r>
                <a:rPr lang="en-US"/>
                <a:t>B=103</a:t>
              </a:r>
            </a:p>
          </p:txBody>
        </p:sp>
      </p:grpSp>
      <p:cxnSp>
        <p:nvCxnSpPr>
          <p:cNvPr id="89" name="Straight Connector 88">
            <a:extLst>
              <a:ext uri="{FF2B5EF4-FFF2-40B4-BE49-F238E27FC236}">
                <a16:creationId xmlns:a16="http://schemas.microsoft.com/office/drawing/2014/main" id="{A7E6B0E5-370D-48C6-85BF-10793DC61632}"/>
              </a:ext>
            </a:extLst>
          </p:cNvPr>
          <p:cNvCxnSpPr>
            <a:stCxn id="37" idx="3"/>
            <a:endCxn id="58" idx="1"/>
          </p:cNvCxnSpPr>
          <p:nvPr userDrawn="1"/>
        </p:nvCxnSpPr>
        <p:spPr>
          <a:xfrm>
            <a:off x="3709314" y="2546654"/>
            <a:ext cx="1108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84822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lor_Assets">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35D610F6-D151-43BD-94E4-EB210056AF8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1795039" y="2586414"/>
            <a:ext cx="812800" cy="800100"/>
          </a:xfrm>
          <a:prstGeom prst="rect">
            <a:avLst/>
          </a:prstGeom>
        </p:spPr>
      </p:pic>
      <p:grpSp>
        <p:nvGrpSpPr>
          <p:cNvPr id="34" name="Group 33">
            <a:extLst>
              <a:ext uri="{FF2B5EF4-FFF2-40B4-BE49-F238E27FC236}">
                <a16:creationId xmlns:a16="http://schemas.microsoft.com/office/drawing/2014/main" id="{D5CD1762-1D0A-483A-9722-2B19BAA9F913}"/>
              </a:ext>
            </a:extLst>
          </p:cNvPr>
          <p:cNvGrpSpPr/>
          <p:nvPr/>
        </p:nvGrpSpPr>
        <p:grpSpPr>
          <a:xfrm>
            <a:off x="1446914" y="5500288"/>
            <a:ext cx="1509050" cy="636224"/>
            <a:chOff x="3077263" y="3556973"/>
            <a:chExt cx="1509050" cy="636224"/>
          </a:xfrm>
        </p:grpSpPr>
        <p:pic>
          <p:nvPicPr>
            <p:cNvPr id="35" name="Graphic 34">
              <a:extLst>
                <a:ext uri="{FF2B5EF4-FFF2-40B4-BE49-F238E27FC236}">
                  <a16:creationId xmlns:a16="http://schemas.microsoft.com/office/drawing/2014/main" id="{7D21D6A2-CFA8-4C8C-A74A-5F313DCCFFB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3077263" y="3556973"/>
              <a:ext cx="795280" cy="636224"/>
            </a:xfrm>
            <a:prstGeom prst="rect">
              <a:avLst/>
            </a:prstGeom>
          </p:spPr>
        </p:pic>
        <p:pic>
          <p:nvPicPr>
            <p:cNvPr id="36" name="Graphic 35">
              <a:extLst>
                <a:ext uri="{FF2B5EF4-FFF2-40B4-BE49-F238E27FC236}">
                  <a16:creationId xmlns:a16="http://schemas.microsoft.com/office/drawing/2014/main" id="{B8105B12-8F81-4266-A1E5-70D38A51393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flipH="1">
              <a:off x="3791033" y="3556973"/>
              <a:ext cx="795280" cy="636224"/>
            </a:xfrm>
            <a:prstGeom prst="rect">
              <a:avLst/>
            </a:prstGeom>
          </p:spPr>
        </p:pic>
      </p:grpSp>
      <p:cxnSp>
        <p:nvCxnSpPr>
          <p:cNvPr id="37" name="Straight Connector 36">
            <a:extLst>
              <a:ext uri="{FF2B5EF4-FFF2-40B4-BE49-F238E27FC236}">
                <a16:creationId xmlns:a16="http://schemas.microsoft.com/office/drawing/2014/main" id="{9F964537-D744-436F-B2FB-F82B1834D533}"/>
              </a:ext>
            </a:extLst>
          </p:cNvPr>
          <p:cNvCxnSpPr/>
          <p:nvPr/>
        </p:nvCxnSpPr>
        <p:spPr>
          <a:xfrm>
            <a:off x="4022755" y="1772047"/>
            <a:ext cx="0" cy="44672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1BE236-A1F7-4DA4-85D1-C9F2D3066441}"/>
              </a:ext>
            </a:extLst>
          </p:cNvPr>
          <p:cNvCxnSpPr/>
          <p:nvPr/>
        </p:nvCxnSpPr>
        <p:spPr>
          <a:xfrm>
            <a:off x="8223565" y="1772047"/>
            <a:ext cx="0" cy="44672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5839438E-FAA2-4274-9387-AC0695D92FA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1312555" y="3713517"/>
            <a:ext cx="1777768" cy="1166441"/>
          </a:xfrm>
          <a:prstGeom prst="rect">
            <a:avLst/>
          </a:prstGeom>
        </p:spPr>
      </p:pic>
      <p:sp>
        <p:nvSpPr>
          <p:cNvPr id="40" name="Title 13">
            <a:extLst>
              <a:ext uri="{FF2B5EF4-FFF2-40B4-BE49-F238E27FC236}">
                <a16:creationId xmlns:a16="http://schemas.microsoft.com/office/drawing/2014/main" id="{4CF4F2E7-4C47-45A0-94DF-0B63154560FB}"/>
              </a:ext>
            </a:extLst>
          </p:cNvPr>
          <p:cNvSpPr>
            <a:spLocks noGrp="1"/>
          </p:cNvSpPr>
          <p:nvPr>
            <p:ph type="title"/>
          </p:nvPr>
        </p:nvSpPr>
        <p:spPr>
          <a:xfrm>
            <a:off x="838200" y="318014"/>
            <a:ext cx="10515600" cy="590931"/>
          </a:xfrm>
        </p:spPr>
        <p:txBody>
          <a:bodyPr>
            <a:normAutofit/>
          </a:bodyPr>
          <a:lstStyle>
            <a:lvl1pPr>
              <a:defRPr sz="3600"/>
            </a:lvl1pPr>
          </a:lstStyle>
          <a:p>
            <a:r>
              <a:rPr lang="en-US"/>
              <a:t>Click to edit Master title style</a:t>
            </a:r>
          </a:p>
        </p:txBody>
      </p:sp>
      <p:sp>
        <p:nvSpPr>
          <p:cNvPr id="41" name="Text Placeholder 15">
            <a:extLst>
              <a:ext uri="{FF2B5EF4-FFF2-40B4-BE49-F238E27FC236}">
                <a16:creationId xmlns:a16="http://schemas.microsoft.com/office/drawing/2014/main" id="{60CA8328-4FDD-4955-BF01-2A3607F286D7}"/>
              </a:ext>
            </a:extLst>
          </p:cNvPr>
          <p:cNvSpPr>
            <a:spLocks noGrp="1"/>
          </p:cNvSpPr>
          <p:nvPr>
            <p:ph type="body" sz="quarter" idx="14"/>
          </p:nvPr>
        </p:nvSpPr>
        <p:spPr>
          <a:xfrm>
            <a:off x="838200" y="870295"/>
            <a:ext cx="10515600" cy="256032"/>
          </a:xfrm>
        </p:spPr>
        <p:txBody>
          <a:bodyPr>
            <a:noAutofit/>
          </a:bodyPr>
          <a:lstStyle>
            <a:lvl1pPr marL="0" indent="0">
              <a:buNone/>
              <a:defRPr kumimoji="0" lang="en-US" sz="1800" b="0" i="0" u="none" strike="noStrike" kern="1200" cap="none" spc="600" normalizeH="0" baseline="0" dirty="0">
                <a:ln>
                  <a:noFill/>
                </a:ln>
                <a:solidFill>
                  <a:schemeClr val="accent6"/>
                </a:solidFill>
                <a:effectLst/>
                <a:uLnTx/>
                <a:uFillTx/>
                <a:latin typeface="Arial Narrow" panose="020B0606020202030204" pitchFamily="34" charset="0"/>
                <a:ea typeface="+mj-ea"/>
                <a:cs typeface="+mj-cs"/>
              </a:defRPr>
            </a:lvl1pPr>
          </a:lstStyle>
          <a:p>
            <a:pPr lvl="0"/>
            <a:r>
              <a:rPr lang="en-US"/>
              <a:t>Edit Master text styles</a:t>
            </a:r>
          </a:p>
        </p:txBody>
      </p:sp>
      <p:pic>
        <p:nvPicPr>
          <p:cNvPr id="42" name="Graphic 41">
            <a:extLst>
              <a:ext uri="{FF2B5EF4-FFF2-40B4-BE49-F238E27FC236}">
                <a16:creationId xmlns:a16="http://schemas.microsoft.com/office/drawing/2014/main" id="{D04FFCDA-02BF-46A8-B091-F33E010D1CB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5342347" y="2981285"/>
            <a:ext cx="1561627" cy="626521"/>
          </a:xfrm>
          <a:prstGeom prst="rect">
            <a:avLst/>
          </a:prstGeom>
        </p:spPr>
      </p:pic>
      <p:cxnSp>
        <p:nvCxnSpPr>
          <p:cNvPr id="44" name="Straight Connector 43">
            <a:extLst>
              <a:ext uri="{FF2B5EF4-FFF2-40B4-BE49-F238E27FC236}">
                <a16:creationId xmlns:a16="http://schemas.microsoft.com/office/drawing/2014/main" id="{A9F004F7-D8FC-46D7-8317-243251C31D17}"/>
              </a:ext>
            </a:extLst>
          </p:cNvPr>
          <p:cNvCxnSpPr>
            <a:cxnSpLocks/>
          </p:cNvCxnSpPr>
          <p:nvPr/>
        </p:nvCxnSpPr>
        <p:spPr>
          <a:xfrm flipV="1">
            <a:off x="8888805" y="3086134"/>
            <a:ext cx="2463814"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Isosceles Triangle 44">
            <a:extLst>
              <a:ext uri="{FF2B5EF4-FFF2-40B4-BE49-F238E27FC236}">
                <a16:creationId xmlns:a16="http://schemas.microsoft.com/office/drawing/2014/main" id="{8F812B91-A4B7-4B34-95B3-3BFE79FDD5CF}"/>
              </a:ext>
            </a:extLst>
          </p:cNvPr>
          <p:cNvSpPr/>
          <p:nvPr/>
        </p:nvSpPr>
        <p:spPr>
          <a:xfrm rot="16200000">
            <a:off x="9912714" y="4675429"/>
            <a:ext cx="416000" cy="20405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a:extLst>
              <a:ext uri="{FF2B5EF4-FFF2-40B4-BE49-F238E27FC236}">
                <a16:creationId xmlns:a16="http://schemas.microsoft.com/office/drawing/2014/main" id="{BF134D83-C0B5-420F-B1ED-A1EDE803CB3E}"/>
              </a:ext>
            </a:extLst>
          </p:cNvPr>
          <p:cNvCxnSpPr>
            <a:cxnSpLocks/>
          </p:cNvCxnSpPr>
          <p:nvPr/>
        </p:nvCxnSpPr>
        <p:spPr>
          <a:xfrm>
            <a:off x="8863175" y="2500108"/>
            <a:ext cx="25150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Content Placeholder 18">
            <a:extLst>
              <a:ext uri="{FF2B5EF4-FFF2-40B4-BE49-F238E27FC236}">
                <a16:creationId xmlns:a16="http://schemas.microsoft.com/office/drawing/2014/main" id="{915BC6D4-0E04-4A1E-A9A8-F2499F0BA21C}"/>
              </a:ext>
            </a:extLst>
          </p:cNvPr>
          <p:cNvSpPr txBox="1">
            <a:spLocks/>
          </p:cNvSpPr>
          <p:nvPr/>
        </p:nvSpPr>
        <p:spPr>
          <a:xfrm>
            <a:off x="883179" y="1837165"/>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ICONS</a:t>
            </a:r>
            <a:endParaRPr lang="en-US" sz="1000">
              <a:solidFill>
                <a:schemeClr val="bg2">
                  <a:lumMod val="10000"/>
                </a:schemeClr>
              </a:solidFill>
              <a:latin typeface="Arial" panose="020B0604020202020204" pitchFamily="34" charset="0"/>
              <a:cs typeface="Arial" panose="020B0604020202020204" pitchFamily="34" charset="0"/>
            </a:endParaRPr>
          </a:p>
        </p:txBody>
      </p:sp>
      <p:sp>
        <p:nvSpPr>
          <p:cNvPr id="49" name="Content Placeholder 18">
            <a:extLst>
              <a:ext uri="{FF2B5EF4-FFF2-40B4-BE49-F238E27FC236}">
                <a16:creationId xmlns:a16="http://schemas.microsoft.com/office/drawing/2014/main" id="{2EBAC2C2-06D2-4EE8-A832-E68B7799315B}"/>
              </a:ext>
            </a:extLst>
          </p:cNvPr>
          <p:cNvSpPr txBox="1">
            <a:spLocks/>
          </p:cNvSpPr>
          <p:nvPr/>
        </p:nvSpPr>
        <p:spPr>
          <a:xfrm>
            <a:off x="8802452" y="1837165"/>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LINES</a:t>
            </a:r>
            <a:endParaRPr lang="en-US" sz="1000">
              <a:solidFill>
                <a:schemeClr val="bg2">
                  <a:lumMod val="10000"/>
                </a:schemeClr>
              </a:solidFill>
              <a:latin typeface="Arial" panose="020B0604020202020204" pitchFamily="34" charset="0"/>
              <a:cs typeface="Arial" panose="020B0604020202020204" pitchFamily="34" charset="0"/>
            </a:endParaRPr>
          </a:p>
        </p:txBody>
      </p:sp>
      <p:grpSp>
        <p:nvGrpSpPr>
          <p:cNvPr id="50" name="Group 49">
            <a:extLst>
              <a:ext uri="{FF2B5EF4-FFF2-40B4-BE49-F238E27FC236}">
                <a16:creationId xmlns:a16="http://schemas.microsoft.com/office/drawing/2014/main" id="{4D6C8AF2-726C-4B41-B72F-D61AB20F2524}"/>
              </a:ext>
            </a:extLst>
          </p:cNvPr>
          <p:cNvGrpSpPr/>
          <p:nvPr/>
        </p:nvGrpSpPr>
        <p:grpSpPr>
          <a:xfrm>
            <a:off x="9451095" y="5383706"/>
            <a:ext cx="1339234" cy="202644"/>
            <a:chOff x="10166741" y="4281916"/>
            <a:chExt cx="1339234" cy="202644"/>
          </a:xfrm>
        </p:grpSpPr>
        <p:sp>
          <p:nvSpPr>
            <p:cNvPr id="51" name="Right Triangle 50">
              <a:extLst>
                <a:ext uri="{FF2B5EF4-FFF2-40B4-BE49-F238E27FC236}">
                  <a16:creationId xmlns:a16="http://schemas.microsoft.com/office/drawing/2014/main" id="{E5DE06DD-5A37-45D5-B7C4-50B00A48B839}"/>
                </a:ext>
              </a:extLst>
            </p:cNvPr>
            <p:cNvSpPr/>
            <p:nvPr/>
          </p:nvSpPr>
          <p:spPr>
            <a:xfrm>
              <a:off x="10953123" y="4281916"/>
              <a:ext cx="552852" cy="202644"/>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7554A4D2-761F-4D28-9ED9-9D8F01975495}"/>
                </a:ext>
              </a:extLst>
            </p:cNvPr>
            <p:cNvCxnSpPr>
              <a:cxnSpLocks/>
            </p:cNvCxnSpPr>
            <p:nvPr/>
          </p:nvCxnSpPr>
          <p:spPr>
            <a:xfrm>
              <a:off x="10166741" y="4451355"/>
              <a:ext cx="880099"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Content Placeholder 18">
            <a:extLst>
              <a:ext uri="{FF2B5EF4-FFF2-40B4-BE49-F238E27FC236}">
                <a16:creationId xmlns:a16="http://schemas.microsoft.com/office/drawing/2014/main" id="{A2878FB8-05C5-4886-A903-B273D2A489E8}"/>
              </a:ext>
            </a:extLst>
          </p:cNvPr>
          <p:cNvSpPr txBox="1">
            <a:spLocks/>
          </p:cNvSpPr>
          <p:nvPr/>
        </p:nvSpPr>
        <p:spPr>
          <a:xfrm>
            <a:off x="8802452" y="3848845"/>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ARROWS</a:t>
            </a:r>
            <a:endParaRPr lang="en-US" sz="1000">
              <a:solidFill>
                <a:schemeClr val="bg2">
                  <a:lumMod val="10000"/>
                </a:schemeClr>
              </a:solidFill>
              <a:latin typeface="Arial" panose="020B0604020202020204" pitchFamily="34" charset="0"/>
              <a:cs typeface="Arial" panose="020B0604020202020204" pitchFamily="34" charset="0"/>
            </a:endParaRPr>
          </a:p>
        </p:txBody>
      </p:sp>
      <p:sp>
        <p:nvSpPr>
          <p:cNvPr id="23" name="Content Placeholder 18">
            <a:extLst>
              <a:ext uri="{FF2B5EF4-FFF2-40B4-BE49-F238E27FC236}">
                <a16:creationId xmlns:a16="http://schemas.microsoft.com/office/drawing/2014/main" id="{420A144B-1717-44B0-B600-CCB4330B7EBB}"/>
              </a:ext>
            </a:extLst>
          </p:cNvPr>
          <p:cNvSpPr txBox="1">
            <a:spLocks/>
          </p:cNvSpPr>
          <p:nvPr/>
        </p:nvSpPr>
        <p:spPr>
          <a:xfrm>
            <a:off x="4022755" y="1837165"/>
            <a:ext cx="4200806"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COTTON &amp; SOYBEAN IDENTIFIER ICONS</a:t>
            </a:r>
            <a:endParaRPr lang="en-US" sz="1000">
              <a:solidFill>
                <a:schemeClr val="bg2">
                  <a:lumMod val="10000"/>
                </a:schemeClr>
              </a:solidFill>
              <a:latin typeface="Arial" panose="020B0604020202020204" pitchFamily="34" charset="0"/>
              <a:cs typeface="Arial" panose="020B0604020202020204" pitchFamily="34" charset="0"/>
            </a:endParaRPr>
          </a:p>
        </p:txBody>
      </p:sp>
      <p:pic>
        <p:nvPicPr>
          <p:cNvPr id="24" name="Graphic 23">
            <a:extLst>
              <a:ext uri="{FF2B5EF4-FFF2-40B4-BE49-F238E27FC236}">
                <a16:creationId xmlns:a16="http://schemas.microsoft.com/office/drawing/2014/main" id="{316D65CD-B371-4367-9494-A5F1C3100BB2}"/>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219333" y="4514625"/>
            <a:ext cx="1807655" cy="561155"/>
          </a:xfrm>
          <a:prstGeom prst="rect">
            <a:avLst/>
          </a:prstGeom>
        </p:spPr>
      </p:pic>
      <p:pic>
        <p:nvPicPr>
          <p:cNvPr id="25" name="Graphic 24">
            <a:extLst>
              <a:ext uri="{FF2B5EF4-FFF2-40B4-BE49-F238E27FC236}">
                <a16:creationId xmlns:a16="http://schemas.microsoft.com/office/drawing/2014/main" id="{36A2E69D-53F4-4928-BE7F-357C66F6B1C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1795039" y="2586414"/>
            <a:ext cx="812800" cy="800100"/>
          </a:xfrm>
          <a:prstGeom prst="rect">
            <a:avLst/>
          </a:prstGeom>
        </p:spPr>
      </p:pic>
      <p:grpSp>
        <p:nvGrpSpPr>
          <p:cNvPr id="26" name="Group 25">
            <a:extLst>
              <a:ext uri="{FF2B5EF4-FFF2-40B4-BE49-F238E27FC236}">
                <a16:creationId xmlns:a16="http://schemas.microsoft.com/office/drawing/2014/main" id="{0DBACC50-F03A-4A99-8289-45D38AD6D2EC}"/>
              </a:ext>
            </a:extLst>
          </p:cNvPr>
          <p:cNvGrpSpPr/>
          <p:nvPr userDrawn="1"/>
        </p:nvGrpSpPr>
        <p:grpSpPr>
          <a:xfrm>
            <a:off x="1446914" y="5500288"/>
            <a:ext cx="1509050" cy="636224"/>
            <a:chOff x="3077263" y="3556973"/>
            <a:chExt cx="1509050" cy="636224"/>
          </a:xfrm>
        </p:grpSpPr>
        <p:pic>
          <p:nvPicPr>
            <p:cNvPr id="27" name="Graphic 26">
              <a:extLst>
                <a:ext uri="{FF2B5EF4-FFF2-40B4-BE49-F238E27FC236}">
                  <a16:creationId xmlns:a16="http://schemas.microsoft.com/office/drawing/2014/main" id="{F9867D1E-4FE8-4729-8B64-CEA272143A2C}"/>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3077263" y="3556973"/>
              <a:ext cx="795280" cy="636224"/>
            </a:xfrm>
            <a:prstGeom prst="rect">
              <a:avLst/>
            </a:prstGeom>
          </p:spPr>
        </p:pic>
        <p:pic>
          <p:nvPicPr>
            <p:cNvPr id="28" name="Graphic 27">
              <a:extLst>
                <a:ext uri="{FF2B5EF4-FFF2-40B4-BE49-F238E27FC236}">
                  <a16:creationId xmlns:a16="http://schemas.microsoft.com/office/drawing/2014/main" id="{1BC0AC53-2D87-4948-850B-E85CBC0A63B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flipH="1">
              <a:off x="3791033" y="3556973"/>
              <a:ext cx="795280" cy="636224"/>
            </a:xfrm>
            <a:prstGeom prst="rect">
              <a:avLst/>
            </a:prstGeom>
          </p:spPr>
        </p:pic>
      </p:grpSp>
      <p:cxnSp>
        <p:nvCxnSpPr>
          <p:cNvPr id="29" name="Straight Connector 28">
            <a:extLst>
              <a:ext uri="{FF2B5EF4-FFF2-40B4-BE49-F238E27FC236}">
                <a16:creationId xmlns:a16="http://schemas.microsoft.com/office/drawing/2014/main" id="{C16EF551-CC90-4E9F-83A3-3D6DA4EE7865}"/>
              </a:ext>
            </a:extLst>
          </p:cNvPr>
          <p:cNvCxnSpPr/>
          <p:nvPr userDrawn="1"/>
        </p:nvCxnSpPr>
        <p:spPr>
          <a:xfrm>
            <a:off x="4022755" y="1772047"/>
            <a:ext cx="0" cy="44672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48D66E-33FA-4E78-B3CA-BD7AFA462458}"/>
              </a:ext>
            </a:extLst>
          </p:cNvPr>
          <p:cNvCxnSpPr/>
          <p:nvPr userDrawn="1"/>
        </p:nvCxnSpPr>
        <p:spPr>
          <a:xfrm>
            <a:off x="8223565" y="1772047"/>
            <a:ext cx="0" cy="44672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1" name="Graphic 30">
            <a:extLst>
              <a:ext uri="{FF2B5EF4-FFF2-40B4-BE49-F238E27FC236}">
                <a16:creationId xmlns:a16="http://schemas.microsoft.com/office/drawing/2014/main" id="{C3F28E9E-47DC-48AD-9F29-356946E3837C}"/>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1312555" y="3713517"/>
            <a:ext cx="1777768" cy="1166441"/>
          </a:xfrm>
          <a:prstGeom prst="rect">
            <a:avLst/>
          </a:prstGeom>
        </p:spPr>
      </p:pic>
      <p:pic>
        <p:nvPicPr>
          <p:cNvPr id="32" name="Graphic 31">
            <a:extLst>
              <a:ext uri="{FF2B5EF4-FFF2-40B4-BE49-F238E27FC236}">
                <a16:creationId xmlns:a16="http://schemas.microsoft.com/office/drawing/2014/main" id="{5AD4D1DE-1701-438C-B2E1-71A84BEDA500}"/>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5342347" y="2981285"/>
            <a:ext cx="1561627" cy="626521"/>
          </a:xfrm>
          <a:prstGeom prst="rect">
            <a:avLst/>
          </a:prstGeom>
        </p:spPr>
      </p:pic>
      <p:cxnSp>
        <p:nvCxnSpPr>
          <p:cNvPr id="43" name="Straight Connector 42">
            <a:extLst>
              <a:ext uri="{FF2B5EF4-FFF2-40B4-BE49-F238E27FC236}">
                <a16:creationId xmlns:a16="http://schemas.microsoft.com/office/drawing/2014/main" id="{42CA0D09-2297-47AD-BA2C-60B19B9402A2}"/>
              </a:ext>
            </a:extLst>
          </p:cNvPr>
          <p:cNvCxnSpPr>
            <a:cxnSpLocks/>
          </p:cNvCxnSpPr>
          <p:nvPr userDrawn="1"/>
        </p:nvCxnSpPr>
        <p:spPr>
          <a:xfrm flipV="1">
            <a:off x="8888805" y="3086134"/>
            <a:ext cx="2463814"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Isosceles Triangle 47">
            <a:extLst>
              <a:ext uri="{FF2B5EF4-FFF2-40B4-BE49-F238E27FC236}">
                <a16:creationId xmlns:a16="http://schemas.microsoft.com/office/drawing/2014/main" id="{AB837764-B9B1-4F39-BD6F-902FCEAEF939}"/>
              </a:ext>
            </a:extLst>
          </p:cNvPr>
          <p:cNvSpPr/>
          <p:nvPr userDrawn="1"/>
        </p:nvSpPr>
        <p:spPr>
          <a:xfrm rot="16200000">
            <a:off x="9912714" y="4675429"/>
            <a:ext cx="416000" cy="20405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266C6804-A368-4ABE-B6B7-2D0393597C89}"/>
              </a:ext>
            </a:extLst>
          </p:cNvPr>
          <p:cNvCxnSpPr>
            <a:cxnSpLocks/>
          </p:cNvCxnSpPr>
          <p:nvPr userDrawn="1"/>
        </p:nvCxnSpPr>
        <p:spPr>
          <a:xfrm>
            <a:off x="8863175" y="2500108"/>
            <a:ext cx="25150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Content Placeholder 18">
            <a:extLst>
              <a:ext uri="{FF2B5EF4-FFF2-40B4-BE49-F238E27FC236}">
                <a16:creationId xmlns:a16="http://schemas.microsoft.com/office/drawing/2014/main" id="{A97BA034-AABA-45E5-88F8-7922A9ED9BE3}"/>
              </a:ext>
            </a:extLst>
          </p:cNvPr>
          <p:cNvSpPr txBox="1">
            <a:spLocks/>
          </p:cNvSpPr>
          <p:nvPr userDrawn="1"/>
        </p:nvSpPr>
        <p:spPr>
          <a:xfrm>
            <a:off x="883179" y="1837165"/>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ICONS</a:t>
            </a:r>
            <a:endParaRPr lang="en-US" sz="1000">
              <a:solidFill>
                <a:schemeClr val="bg2">
                  <a:lumMod val="10000"/>
                </a:schemeClr>
              </a:solidFill>
              <a:latin typeface="Arial" panose="020B0604020202020204" pitchFamily="34" charset="0"/>
              <a:cs typeface="Arial" panose="020B0604020202020204" pitchFamily="34" charset="0"/>
            </a:endParaRPr>
          </a:p>
        </p:txBody>
      </p:sp>
      <p:sp>
        <p:nvSpPr>
          <p:cNvPr id="56" name="Content Placeholder 18">
            <a:extLst>
              <a:ext uri="{FF2B5EF4-FFF2-40B4-BE49-F238E27FC236}">
                <a16:creationId xmlns:a16="http://schemas.microsoft.com/office/drawing/2014/main" id="{AB90C8B5-1543-4286-8FA2-7F9EA7FA5222}"/>
              </a:ext>
            </a:extLst>
          </p:cNvPr>
          <p:cNvSpPr txBox="1">
            <a:spLocks/>
          </p:cNvSpPr>
          <p:nvPr userDrawn="1"/>
        </p:nvSpPr>
        <p:spPr>
          <a:xfrm>
            <a:off x="8802452" y="1837165"/>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LINES</a:t>
            </a:r>
            <a:endParaRPr lang="en-US" sz="1000">
              <a:solidFill>
                <a:schemeClr val="bg2">
                  <a:lumMod val="10000"/>
                </a:schemeClr>
              </a:solidFill>
              <a:latin typeface="Arial" panose="020B0604020202020204" pitchFamily="34" charset="0"/>
              <a:cs typeface="Arial" panose="020B0604020202020204" pitchFamily="34" charset="0"/>
            </a:endParaRPr>
          </a:p>
        </p:txBody>
      </p:sp>
      <p:grpSp>
        <p:nvGrpSpPr>
          <p:cNvPr id="57" name="Group 56">
            <a:extLst>
              <a:ext uri="{FF2B5EF4-FFF2-40B4-BE49-F238E27FC236}">
                <a16:creationId xmlns:a16="http://schemas.microsoft.com/office/drawing/2014/main" id="{169DC882-DA84-48CB-A5E2-C2CEC89E0977}"/>
              </a:ext>
            </a:extLst>
          </p:cNvPr>
          <p:cNvGrpSpPr/>
          <p:nvPr userDrawn="1"/>
        </p:nvGrpSpPr>
        <p:grpSpPr>
          <a:xfrm>
            <a:off x="9451095" y="5383706"/>
            <a:ext cx="1339234" cy="202644"/>
            <a:chOff x="10166741" y="4281916"/>
            <a:chExt cx="1339234" cy="202644"/>
          </a:xfrm>
        </p:grpSpPr>
        <p:sp>
          <p:nvSpPr>
            <p:cNvPr id="58" name="Right Triangle 57">
              <a:extLst>
                <a:ext uri="{FF2B5EF4-FFF2-40B4-BE49-F238E27FC236}">
                  <a16:creationId xmlns:a16="http://schemas.microsoft.com/office/drawing/2014/main" id="{F5FCB5AB-62C8-455E-B7C6-E07E779A91E9}"/>
                </a:ext>
              </a:extLst>
            </p:cNvPr>
            <p:cNvSpPr/>
            <p:nvPr/>
          </p:nvSpPr>
          <p:spPr>
            <a:xfrm>
              <a:off x="10953123" y="4281916"/>
              <a:ext cx="552852" cy="202644"/>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AEB930DF-62E5-4677-8076-A63B1EDC501C}"/>
                </a:ext>
              </a:extLst>
            </p:cNvPr>
            <p:cNvCxnSpPr>
              <a:cxnSpLocks/>
            </p:cNvCxnSpPr>
            <p:nvPr/>
          </p:nvCxnSpPr>
          <p:spPr>
            <a:xfrm>
              <a:off x="10166741" y="4451355"/>
              <a:ext cx="880099"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0" name="Content Placeholder 18">
            <a:extLst>
              <a:ext uri="{FF2B5EF4-FFF2-40B4-BE49-F238E27FC236}">
                <a16:creationId xmlns:a16="http://schemas.microsoft.com/office/drawing/2014/main" id="{0CB1C331-D454-4B09-84C5-AB6BD1DA3DF4}"/>
              </a:ext>
            </a:extLst>
          </p:cNvPr>
          <p:cNvSpPr txBox="1">
            <a:spLocks/>
          </p:cNvSpPr>
          <p:nvPr userDrawn="1"/>
        </p:nvSpPr>
        <p:spPr>
          <a:xfrm>
            <a:off x="8802452" y="3848845"/>
            <a:ext cx="2636521"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ARROWS</a:t>
            </a:r>
            <a:endParaRPr lang="en-US" sz="1000">
              <a:solidFill>
                <a:schemeClr val="bg2">
                  <a:lumMod val="10000"/>
                </a:schemeClr>
              </a:solidFill>
              <a:latin typeface="Arial" panose="020B0604020202020204" pitchFamily="34" charset="0"/>
              <a:cs typeface="Arial" panose="020B0604020202020204" pitchFamily="34" charset="0"/>
            </a:endParaRPr>
          </a:p>
        </p:txBody>
      </p:sp>
      <p:sp>
        <p:nvSpPr>
          <p:cNvPr id="61" name="Content Placeholder 18">
            <a:extLst>
              <a:ext uri="{FF2B5EF4-FFF2-40B4-BE49-F238E27FC236}">
                <a16:creationId xmlns:a16="http://schemas.microsoft.com/office/drawing/2014/main" id="{6023178A-D2D5-44E3-97E5-09FA58F86360}"/>
              </a:ext>
            </a:extLst>
          </p:cNvPr>
          <p:cNvSpPr txBox="1">
            <a:spLocks/>
          </p:cNvSpPr>
          <p:nvPr userDrawn="1"/>
        </p:nvSpPr>
        <p:spPr>
          <a:xfrm>
            <a:off x="4022755" y="1837165"/>
            <a:ext cx="4200806" cy="58037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300"/>
              </a:spcAft>
              <a:buFont typeface="Arial" panose="020B0604020202020204" pitchFamily="34" charset="0"/>
              <a:buNone/>
            </a:pPr>
            <a:r>
              <a:rPr lang="en-US" sz="1800">
                <a:latin typeface="Arial Black" panose="020B0A04020102020204" pitchFamily="34" charset="0"/>
                <a:ea typeface="+mj-ea"/>
                <a:cs typeface="+mj-cs"/>
              </a:rPr>
              <a:t>COTTON &amp; SOYBEAN IDENTIFIER ICONS</a:t>
            </a:r>
            <a:endParaRPr lang="en-US" sz="1000">
              <a:solidFill>
                <a:schemeClr val="bg2">
                  <a:lumMod val="10000"/>
                </a:schemeClr>
              </a:solidFill>
              <a:latin typeface="Arial" panose="020B0604020202020204" pitchFamily="34" charset="0"/>
              <a:cs typeface="Arial" panose="020B0604020202020204" pitchFamily="34" charset="0"/>
            </a:endParaRPr>
          </a:p>
        </p:txBody>
      </p:sp>
      <p:pic>
        <p:nvPicPr>
          <p:cNvPr id="62" name="Graphic 61">
            <a:extLst>
              <a:ext uri="{FF2B5EF4-FFF2-40B4-BE49-F238E27FC236}">
                <a16:creationId xmlns:a16="http://schemas.microsoft.com/office/drawing/2014/main" id="{D0FDEB10-2636-4A97-82C0-8DAE679AE231}"/>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219333" y="4514625"/>
            <a:ext cx="1807655" cy="561155"/>
          </a:xfrm>
          <a:prstGeom prst="rect">
            <a:avLst/>
          </a:prstGeom>
        </p:spPr>
      </p:pic>
    </p:spTree>
    <p:extLst>
      <p:ext uri="{BB962C8B-B14F-4D97-AF65-F5344CB8AC3E}">
        <p14:creationId xmlns:p14="http://schemas.microsoft.com/office/powerpoint/2010/main" val="11481250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_Formatting_Guide">
    <p:spTree>
      <p:nvGrpSpPr>
        <p:cNvPr id="1" name=""/>
        <p:cNvGrpSpPr/>
        <p:nvPr/>
      </p:nvGrpSpPr>
      <p:grpSpPr>
        <a:xfrm>
          <a:off x="0" y="0"/>
          <a:ext cx="0" cy="0"/>
          <a:chOff x="0" y="0"/>
          <a:chExt cx="0" cy="0"/>
        </a:xfrm>
      </p:grpSpPr>
      <p:sp>
        <p:nvSpPr>
          <p:cNvPr id="13" name="Content Placeholder 18">
            <a:extLst>
              <a:ext uri="{FF2B5EF4-FFF2-40B4-BE49-F238E27FC236}">
                <a16:creationId xmlns:a16="http://schemas.microsoft.com/office/drawing/2014/main" id="{81267D94-7BB5-43E0-907D-24340DFEB55B}"/>
              </a:ext>
            </a:extLst>
          </p:cNvPr>
          <p:cNvSpPr txBox="1">
            <a:spLocks/>
          </p:cNvSpPr>
          <p:nvPr/>
        </p:nvSpPr>
        <p:spPr>
          <a:xfrm>
            <a:off x="838199" y="1802786"/>
            <a:ext cx="10515600"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300"/>
              </a:spcAft>
              <a:buFont typeface="Arial" panose="020B0604020202020204" pitchFamily="34" charset="0"/>
              <a:buNone/>
            </a:pPr>
            <a:r>
              <a:rPr lang="en-US" sz="2400">
                <a:latin typeface="Arial Black" panose="020B0A04020102020204" pitchFamily="34" charset="0"/>
                <a:ea typeface="+mj-ea"/>
                <a:cs typeface="+mj-cs"/>
              </a:rPr>
              <a:t>H3 24PT. </a:t>
            </a:r>
            <a:r>
              <a:rPr lang="da-DK" sz="2400">
                <a:latin typeface="Arial Black" panose="020B0A04020102020204" pitchFamily="34" charset="0"/>
                <a:ea typeface="+mj-ea"/>
                <a:cs typeface="+mj-cs"/>
              </a:rPr>
              <a:t>LOREM IPSUM DOLOR SIT AMET</a:t>
            </a:r>
            <a:r>
              <a:rPr lang="en-US" sz="2400">
                <a:latin typeface="Arial Black" panose="020B0A04020102020204" pitchFamily="34" charset="0"/>
                <a:ea typeface="+mj-ea"/>
                <a:cs typeface="+mj-cs"/>
              </a:rPr>
              <a:t> </a:t>
            </a:r>
          </a:p>
          <a:p>
            <a:pPr marL="0" indent="0">
              <a:lnSpc>
                <a:spcPct val="100000"/>
              </a:lnSpc>
              <a:spcBef>
                <a:spcPts val="0"/>
              </a:spcBef>
              <a:spcAft>
                <a:spcPts val="1200"/>
              </a:spcAft>
              <a:buFont typeface="Arial" panose="020B0604020202020204" pitchFamily="34" charset="0"/>
              <a:buNone/>
            </a:pPr>
            <a:r>
              <a:rPr lang="en-US" sz="2200">
                <a:solidFill>
                  <a:schemeClr val="accent6"/>
                </a:solidFill>
                <a:latin typeface="Arial Narrow" panose="020B0606020202030204" pitchFamily="34" charset="0"/>
                <a:ea typeface="+mj-ea"/>
                <a:cs typeface="+mj-cs"/>
              </a:rPr>
              <a:t>H4 22PT. </a:t>
            </a:r>
            <a:r>
              <a:rPr lang="da-DK" sz="2200">
                <a:solidFill>
                  <a:schemeClr val="accent6"/>
                </a:solidFill>
                <a:latin typeface="Arial Narrow" panose="020B0606020202030204" pitchFamily="34" charset="0"/>
                <a:ea typeface="+mj-ea"/>
                <a:cs typeface="+mj-cs"/>
              </a:rPr>
              <a:t>LOREM IPSUM DOLOR SIT AMET</a:t>
            </a:r>
            <a:endParaRPr lang="en-US" sz="2200">
              <a:solidFill>
                <a:schemeClr val="accent6"/>
              </a:solidFill>
              <a:latin typeface="Arial Narrow" panose="020B0606020202030204" pitchFamily="34" charset="0"/>
              <a:ea typeface="+mj-ea"/>
              <a:cs typeface="+mj-cs"/>
            </a:endParaRPr>
          </a:p>
          <a:p>
            <a:pPr marL="0" indent="0">
              <a:lnSpc>
                <a:spcPct val="100000"/>
              </a:lnSpc>
              <a:spcBef>
                <a:spcPts val="600"/>
              </a:spcBef>
              <a:spcAft>
                <a:spcPts val="600"/>
              </a:spcAft>
              <a:buNone/>
            </a:pPr>
            <a:r>
              <a:rPr lang="en-US">
                <a:latin typeface="Arial" panose="020B0604020202020204" pitchFamily="34" charset="0"/>
                <a:cs typeface="Arial" panose="020B0604020202020204" pitchFamily="34" charset="0"/>
              </a:rPr>
              <a:t>Paragraph 20pt. Lorem ipsum dolor sit amet, </a:t>
            </a:r>
            <a:r>
              <a:rPr lang="en-US" b="1">
                <a:solidFill>
                  <a:schemeClr val="accent6"/>
                </a:solidFill>
                <a:latin typeface="Arial" panose="020B0604020202020204" pitchFamily="34" charset="0"/>
                <a:cs typeface="Arial" panose="020B0604020202020204" pitchFamily="34" charset="0"/>
              </a:rPr>
              <a:t>consectetuer adipiscing </a:t>
            </a:r>
            <a:r>
              <a:rPr lang="en-US">
                <a:latin typeface="Arial" panose="020B0604020202020204" pitchFamily="34" charset="0"/>
                <a:cs typeface="Arial" panose="020B0604020202020204" pitchFamily="34" charset="0"/>
              </a:rPr>
              <a:t>elit. Maecenas porttitor congue massa. Fusce posuere, magna sed pulvinar ultricies, purus lectus malesuada libero, sit amet commodo magna eros.</a:t>
            </a:r>
            <a:endParaRPr lang="en-US" b="1">
              <a:latin typeface="Arial" panose="020B0604020202020204" pitchFamily="34" charset="0"/>
              <a:cs typeface="Arial" panose="020B0604020202020204" pitchFamily="34" charset="0"/>
            </a:endParaRPr>
          </a:p>
          <a:p>
            <a:pPr marL="0" indent="0">
              <a:lnSpc>
                <a:spcPct val="100000"/>
              </a:lnSpc>
              <a:spcBef>
                <a:spcPts val="1800"/>
              </a:spcBef>
              <a:spcAft>
                <a:spcPts val="600"/>
              </a:spcAft>
              <a:buFont typeface="Arial" panose="020B0604020202020204" pitchFamily="34" charset="0"/>
              <a:buNone/>
            </a:pPr>
            <a:r>
              <a:rPr lang="en-US" b="1">
                <a:solidFill>
                  <a:schemeClr val="accent6"/>
                </a:solidFill>
                <a:latin typeface="Arial" panose="020B0604020202020204" pitchFamily="34" charset="0"/>
                <a:ea typeface="+mj-ea"/>
                <a:cs typeface="Arial" panose="020B0604020202020204" pitchFamily="34" charset="0"/>
              </a:rPr>
              <a:t>H5 20Pt. </a:t>
            </a:r>
            <a:r>
              <a:rPr lang="da-DK" b="1">
                <a:solidFill>
                  <a:schemeClr val="accent6"/>
                </a:solidFill>
                <a:latin typeface="Arial" panose="020B0604020202020204" pitchFamily="34" charset="0"/>
                <a:ea typeface="+mj-ea"/>
                <a:cs typeface="Arial" panose="020B0604020202020204" pitchFamily="34" charset="0"/>
              </a:rPr>
              <a:t>Lorem Ipsum Dolor Sit Amet</a:t>
            </a:r>
            <a:endParaRPr lang="en-US" b="1">
              <a:solidFill>
                <a:schemeClr val="accent6"/>
              </a:solidFill>
              <a:latin typeface="Arial" panose="020B0604020202020204" pitchFamily="34" charset="0"/>
              <a:ea typeface="+mj-ea"/>
              <a:cs typeface="Arial" panose="020B0604020202020204" pitchFamily="34" charset="0"/>
            </a:endParaRPr>
          </a:p>
          <a:p>
            <a:pPr marL="0" indent="0">
              <a:lnSpc>
                <a:spcPct val="100000"/>
              </a:lnSpc>
              <a:spcBef>
                <a:spcPts val="600"/>
              </a:spcBef>
              <a:spcAft>
                <a:spcPts val="600"/>
              </a:spcAft>
              <a:buNone/>
            </a:pPr>
            <a:r>
              <a:rPr lang="en-US">
                <a:latin typeface="Arial" panose="020B0604020202020204" pitchFamily="34" charset="0"/>
                <a:cs typeface="Arial" panose="020B0604020202020204" pitchFamily="34" charset="0"/>
              </a:rPr>
              <a:t>Paragraph 20pt.</a:t>
            </a:r>
            <a:r>
              <a:rPr lang="en-US">
                <a:latin typeface="Arial" panose="020B0604020202020204" pitchFamily="34" charset="0"/>
                <a:ea typeface="+mj-ea"/>
                <a:cs typeface="Arial" panose="020B0604020202020204" pitchFamily="34" charset="0"/>
              </a:rPr>
              <a:t> Lorem ipsum dolor sit amet, </a:t>
            </a:r>
            <a:r>
              <a:rPr lang="en-US" i="1">
                <a:latin typeface="Arial" panose="020B0604020202020204" pitchFamily="34" charset="0"/>
                <a:ea typeface="+mj-ea"/>
                <a:cs typeface="Arial" panose="020B0604020202020204" pitchFamily="34" charset="0"/>
              </a:rPr>
              <a:t>consectetuer adipiscing elit</a:t>
            </a:r>
            <a:r>
              <a:rPr lang="en-US">
                <a:latin typeface="Arial" panose="020B0604020202020204" pitchFamily="34" charset="0"/>
                <a:ea typeface="+mj-ea"/>
                <a:cs typeface="Arial" panose="020B0604020202020204" pitchFamily="34" charset="0"/>
              </a:rPr>
              <a:t>. Maecenas porttitor congue massa. Fusce posuere, magna sed pulvinar.</a:t>
            </a:r>
            <a:endParaRPr lang="en-US" b="1">
              <a:latin typeface="Arial" panose="020B0604020202020204" pitchFamily="34" charset="0"/>
              <a:ea typeface="+mj-ea"/>
              <a:cs typeface="Arial" panose="020B0604020202020204" pitchFamily="34" charset="0"/>
            </a:endParaRPr>
          </a:p>
          <a:p>
            <a:pPr marL="182880" indent="0">
              <a:lnSpc>
                <a:spcPct val="100000"/>
              </a:lnSpc>
              <a:spcBef>
                <a:spcPts val="600"/>
              </a:spcBef>
              <a:spcAft>
                <a:spcPts val="600"/>
              </a:spcAft>
              <a:buFont typeface="Arial" panose="020B0604020202020204" pitchFamily="34" charset="0"/>
              <a:buNone/>
            </a:pPr>
            <a:r>
              <a:rPr lang="en-US" sz="1800">
                <a:solidFill>
                  <a:schemeClr val="bg2">
                    <a:lumMod val="10000"/>
                  </a:schemeClr>
                </a:solidFill>
                <a:latin typeface="Arial" panose="020B0604020202020204" pitchFamily="34" charset="0"/>
                <a:cs typeface="Arial" panose="020B0604020202020204" pitchFamily="34" charset="0"/>
              </a:rPr>
              <a:t>Bullet 18pt. Lorem ipsum dolor sit amet, consectetuer adipiscing elit. Maecenas porttitor congue</a:t>
            </a:r>
          </a:p>
          <a:p>
            <a:pPr marL="182880" indent="0">
              <a:lnSpc>
                <a:spcPct val="100000"/>
              </a:lnSpc>
              <a:spcBef>
                <a:spcPts val="600"/>
              </a:spcBef>
              <a:spcAft>
                <a:spcPts val="600"/>
              </a:spcAft>
              <a:buNone/>
            </a:pPr>
            <a:r>
              <a:rPr lang="en-US" sz="1800">
                <a:solidFill>
                  <a:schemeClr val="bg2">
                    <a:lumMod val="10000"/>
                  </a:schemeClr>
                </a:solidFill>
                <a:latin typeface="Arial" panose="020B0604020202020204" pitchFamily="34" charset="0"/>
                <a:cs typeface="Arial" panose="020B0604020202020204" pitchFamily="34" charset="0"/>
              </a:rPr>
              <a:t>Bullet 18pt. Lorem ipsum dolor sit amet, consectetuer adipiscing elit. Maecenas porttitor congue</a:t>
            </a:r>
          </a:p>
        </p:txBody>
      </p:sp>
      <p:cxnSp>
        <p:nvCxnSpPr>
          <p:cNvPr id="14" name="Straight Connector 13">
            <a:extLst>
              <a:ext uri="{FF2B5EF4-FFF2-40B4-BE49-F238E27FC236}">
                <a16:creationId xmlns:a16="http://schemas.microsoft.com/office/drawing/2014/main" id="{862FE2FC-0FF7-46D6-B0C0-807C94CB19A4}"/>
              </a:ext>
            </a:extLst>
          </p:cNvPr>
          <p:cNvCxnSpPr>
            <a:cxnSpLocks/>
          </p:cNvCxnSpPr>
          <p:nvPr/>
        </p:nvCxnSpPr>
        <p:spPr>
          <a:xfrm>
            <a:off x="970466" y="5294548"/>
            <a:ext cx="0" cy="625252"/>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D7C952D-4E17-48B4-8AC1-C51AF95B084D}"/>
              </a:ext>
            </a:extLst>
          </p:cNvPr>
          <p:cNvCxnSpPr/>
          <p:nvPr/>
        </p:nvCxnSpPr>
        <p:spPr>
          <a:xfrm>
            <a:off x="1125415" y="5612616"/>
            <a:ext cx="98272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55196AF3-C80F-4FE3-B3EA-1ECD1E0D6843}"/>
              </a:ext>
            </a:extLst>
          </p:cNvPr>
          <p:cNvSpPr>
            <a:spLocks noGrp="1"/>
          </p:cNvSpPr>
          <p:nvPr>
            <p:ph type="body" sz="quarter" idx="14"/>
          </p:nvPr>
        </p:nvSpPr>
        <p:spPr>
          <a:xfrm>
            <a:off x="838200" y="870295"/>
            <a:ext cx="10515600" cy="341632"/>
          </a:xfrm>
        </p:spPr>
        <p:txBody>
          <a:bodyPr>
            <a:normAutofit/>
          </a:bodyPr>
          <a:lstStyle>
            <a:lvl1pPr marL="0" indent="0">
              <a:buNone/>
              <a:defRPr sz="1800" spc="600" baseline="0">
                <a:solidFill>
                  <a:schemeClr val="accent6"/>
                </a:solidFill>
                <a:latin typeface="Arial Narrow" panose="020B0606020202030204" pitchFamily="34" charset="0"/>
              </a:defRPr>
            </a:lvl1pPr>
          </a:lstStyle>
          <a:p>
            <a:pPr lvl="0"/>
            <a:r>
              <a:rPr lang="en-US"/>
              <a:t>Edit Master text styles</a:t>
            </a:r>
          </a:p>
        </p:txBody>
      </p:sp>
      <p:sp>
        <p:nvSpPr>
          <p:cNvPr id="18" name="Title 3">
            <a:extLst>
              <a:ext uri="{FF2B5EF4-FFF2-40B4-BE49-F238E27FC236}">
                <a16:creationId xmlns:a16="http://schemas.microsoft.com/office/drawing/2014/main" id="{E934F633-8CAD-4E62-AD2B-9D315A75B057}"/>
              </a:ext>
            </a:extLst>
          </p:cNvPr>
          <p:cNvSpPr>
            <a:spLocks noGrp="1"/>
          </p:cNvSpPr>
          <p:nvPr>
            <p:ph type="title"/>
          </p:nvPr>
        </p:nvSpPr>
        <p:spPr>
          <a:xfrm>
            <a:off x="838200" y="318014"/>
            <a:ext cx="10515600" cy="590931"/>
          </a:xfrm>
        </p:spPr>
        <p:txBody>
          <a:bodyPr>
            <a:normAutofit/>
          </a:bodyPr>
          <a:lstStyle>
            <a:lvl1pPr>
              <a:defRPr sz="3600"/>
            </a:lvl1pPr>
          </a:lstStyle>
          <a:p>
            <a:r>
              <a:rPr lang="en-US"/>
              <a:t>Click to edit Master title style</a:t>
            </a:r>
          </a:p>
        </p:txBody>
      </p:sp>
      <p:sp>
        <p:nvSpPr>
          <p:cNvPr id="7" name="Content Placeholder 18">
            <a:extLst>
              <a:ext uri="{FF2B5EF4-FFF2-40B4-BE49-F238E27FC236}">
                <a16:creationId xmlns:a16="http://schemas.microsoft.com/office/drawing/2014/main" id="{C23181CE-CACA-4623-93F3-757E012DC9DC}"/>
              </a:ext>
            </a:extLst>
          </p:cNvPr>
          <p:cNvSpPr txBox="1">
            <a:spLocks/>
          </p:cNvSpPr>
          <p:nvPr userDrawn="1"/>
        </p:nvSpPr>
        <p:spPr>
          <a:xfrm>
            <a:off x="838199" y="1802786"/>
            <a:ext cx="10515600"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300"/>
              </a:spcAft>
              <a:buFont typeface="Arial" panose="020B0604020202020204" pitchFamily="34" charset="0"/>
              <a:buNone/>
            </a:pPr>
            <a:r>
              <a:rPr lang="en-US" sz="2400">
                <a:latin typeface="Arial Black" panose="020B0A04020102020204" pitchFamily="34" charset="0"/>
                <a:ea typeface="+mj-ea"/>
                <a:cs typeface="+mj-cs"/>
              </a:rPr>
              <a:t>H3 24PT. </a:t>
            </a:r>
            <a:r>
              <a:rPr lang="da-DK" sz="2400">
                <a:latin typeface="Arial Black" panose="020B0A04020102020204" pitchFamily="34" charset="0"/>
                <a:ea typeface="+mj-ea"/>
                <a:cs typeface="+mj-cs"/>
              </a:rPr>
              <a:t>LOREM IPSUM DOLOR SIT AMET</a:t>
            </a:r>
            <a:r>
              <a:rPr lang="en-US" sz="2400">
                <a:latin typeface="Arial Black" panose="020B0A04020102020204" pitchFamily="34" charset="0"/>
                <a:ea typeface="+mj-ea"/>
                <a:cs typeface="+mj-cs"/>
              </a:rPr>
              <a:t> </a:t>
            </a:r>
          </a:p>
          <a:p>
            <a:pPr marL="0" indent="0">
              <a:lnSpc>
                <a:spcPct val="100000"/>
              </a:lnSpc>
              <a:spcBef>
                <a:spcPts val="0"/>
              </a:spcBef>
              <a:spcAft>
                <a:spcPts val="1200"/>
              </a:spcAft>
              <a:buFont typeface="Arial" panose="020B0604020202020204" pitchFamily="34" charset="0"/>
              <a:buNone/>
            </a:pPr>
            <a:r>
              <a:rPr lang="en-US" sz="2200">
                <a:solidFill>
                  <a:schemeClr val="accent6"/>
                </a:solidFill>
                <a:latin typeface="Arial Narrow" panose="020B0606020202030204" pitchFamily="34" charset="0"/>
                <a:ea typeface="+mj-ea"/>
                <a:cs typeface="+mj-cs"/>
              </a:rPr>
              <a:t>H4 22PT. </a:t>
            </a:r>
            <a:r>
              <a:rPr lang="da-DK" sz="2200">
                <a:solidFill>
                  <a:schemeClr val="accent6"/>
                </a:solidFill>
                <a:latin typeface="Arial Narrow" panose="020B0606020202030204" pitchFamily="34" charset="0"/>
                <a:ea typeface="+mj-ea"/>
                <a:cs typeface="+mj-cs"/>
              </a:rPr>
              <a:t>LOREM IPSUM DOLOR SIT AMET</a:t>
            </a:r>
            <a:endParaRPr lang="en-US" sz="2200">
              <a:solidFill>
                <a:schemeClr val="accent6"/>
              </a:solidFill>
              <a:latin typeface="Arial Narrow" panose="020B0606020202030204" pitchFamily="34" charset="0"/>
              <a:ea typeface="+mj-ea"/>
              <a:cs typeface="+mj-cs"/>
            </a:endParaRPr>
          </a:p>
          <a:p>
            <a:pPr marL="0" indent="0">
              <a:lnSpc>
                <a:spcPct val="100000"/>
              </a:lnSpc>
              <a:spcBef>
                <a:spcPts val="600"/>
              </a:spcBef>
              <a:spcAft>
                <a:spcPts val="600"/>
              </a:spcAft>
              <a:buNone/>
            </a:pPr>
            <a:r>
              <a:rPr lang="en-US">
                <a:latin typeface="Arial" panose="020B0604020202020204" pitchFamily="34" charset="0"/>
                <a:cs typeface="Arial" panose="020B0604020202020204" pitchFamily="34" charset="0"/>
              </a:rPr>
              <a:t>Paragraph 20pt. Lorem ipsum dolor sit amet, </a:t>
            </a:r>
            <a:r>
              <a:rPr lang="en-US" b="1">
                <a:solidFill>
                  <a:schemeClr val="accent6"/>
                </a:solidFill>
                <a:latin typeface="Arial" panose="020B0604020202020204" pitchFamily="34" charset="0"/>
                <a:cs typeface="Arial" panose="020B0604020202020204" pitchFamily="34" charset="0"/>
              </a:rPr>
              <a:t>consectetuer adipiscing </a:t>
            </a:r>
            <a:r>
              <a:rPr lang="en-US">
                <a:latin typeface="Arial" panose="020B0604020202020204" pitchFamily="34" charset="0"/>
                <a:cs typeface="Arial" panose="020B0604020202020204" pitchFamily="34" charset="0"/>
              </a:rPr>
              <a:t>elit. Maecenas porttitor congue massa. Fusce posuere, magna sed pulvinar ultricies, purus lectus malesuada libero, sit amet commodo magna eros.</a:t>
            </a:r>
            <a:endParaRPr lang="en-US" b="1">
              <a:latin typeface="Arial" panose="020B0604020202020204" pitchFamily="34" charset="0"/>
              <a:cs typeface="Arial" panose="020B0604020202020204" pitchFamily="34" charset="0"/>
            </a:endParaRPr>
          </a:p>
          <a:p>
            <a:pPr marL="0" indent="0">
              <a:lnSpc>
                <a:spcPct val="100000"/>
              </a:lnSpc>
              <a:spcBef>
                <a:spcPts val="1800"/>
              </a:spcBef>
              <a:spcAft>
                <a:spcPts val="600"/>
              </a:spcAft>
              <a:buFont typeface="Arial" panose="020B0604020202020204" pitchFamily="34" charset="0"/>
              <a:buNone/>
            </a:pPr>
            <a:r>
              <a:rPr lang="en-US" b="1">
                <a:solidFill>
                  <a:schemeClr val="accent6"/>
                </a:solidFill>
                <a:latin typeface="Arial" panose="020B0604020202020204" pitchFamily="34" charset="0"/>
                <a:ea typeface="+mj-ea"/>
                <a:cs typeface="Arial" panose="020B0604020202020204" pitchFamily="34" charset="0"/>
              </a:rPr>
              <a:t>H5 20Pt. </a:t>
            </a:r>
            <a:r>
              <a:rPr lang="da-DK" b="1">
                <a:solidFill>
                  <a:schemeClr val="accent6"/>
                </a:solidFill>
                <a:latin typeface="Arial" panose="020B0604020202020204" pitchFamily="34" charset="0"/>
                <a:ea typeface="+mj-ea"/>
                <a:cs typeface="Arial" panose="020B0604020202020204" pitchFamily="34" charset="0"/>
              </a:rPr>
              <a:t>Lorem Ipsum Dolor Sit Amet</a:t>
            </a:r>
            <a:endParaRPr lang="en-US" b="1">
              <a:solidFill>
                <a:schemeClr val="accent6"/>
              </a:solidFill>
              <a:latin typeface="Arial" panose="020B0604020202020204" pitchFamily="34" charset="0"/>
              <a:ea typeface="+mj-ea"/>
              <a:cs typeface="Arial" panose="020B0604020202020204" pitchFamily="34" charset="0"/>
            </a:endParaRPr>
          </a:p>
          <a:p>
            <a:pPr marL="0" indent="0">
              <a:lnSpc>
                <a:spcPct val="100000"/>
              </a:lnSpc>
              <a:spcBef>
                <a:spcPts val="600"/>
              </a:spcBef>
              <a:spcAft>
                <a:spcPts val="600"/>
              </a:spcAft>
              <a:buNone/>
            </a:pPr>
            <a:r>
              <a:rPr lang="en-US">
                <a:latin typeface="Arial" panose="020B0604020202020204" pitchFamily="34" charset="0"/>
                <a:cs typeface="Arial" panose="020B0604020202020204" pitchFamily="34" charset="0"/>
              </a:rPr>
              <a:t>Paragraph 20pt.</a:t>
            </a:r>
            <a:r>
              <a:rPr lang="en-US">
                <a:latin typeface="Arial" panose="020B0604020202020204" pitchFamily="34" charset="0"/>
                <a:ea typeface="+mj-ea"/>
                <a:cs typeface="Arial" panose="020B0604020202020204" pitchFamily="34" charset="0"/>
              </a:rPr>
              <a:t> Lorem ipsum dolor sit amet, </a:t>
            </a:r>
            <a:r>
              <a:rPr lang="en-US" i="1">
                <a:latin typeface="Arial" panose="020B0604020202020204" pitchFamily="34" charset="0"/>
                <a:ea typeface="+mj-ea"/>
                <a:cs typeface="Arial" panose="020B0604020202020204" pitchFamily="34" charset="0"/>
              </a:rPr>
              <a:t>consectetuer adipiscing elit</a:t>
            </a:r>
            <a:r>
              <a:rPr lang="en-US">
                <a:latin typeface="Arial" panose="020B0604020202020204" pitchFamily="34" charset="0"/>
                <a:ea typeface="+mj-ea"/>
                <a:cs typeface="Arial" panose="020B0604020202020204" pitchFamily="34" charset="0"/>
              </a:rPr>
              <a:t>. Maecenas porttitor congue massa. Fusce posuere, magna sed pulvinar.</a:t>
            </a:r>
            <a:endParaRPr lang="en-US" b="1">
              <a:latin typeface="Arial" panose="020B0604020202020204" pitchFamily="34" charset="0"/>
              <a:ea typeface="+mj-ea"/>
              <a:cs typeface="Arial" panose="020B0604020202020204" pitchFamily="34" charset="0"/>
            </a:endParaRPr>
          </a:p>
          <a:p>
            <a:pPr marL="182880" indent="0">
              <a:lnSpc>
                <a:spcPct val="100000"/>
              </a:lnSpc>
              <a:spcBef>
                <a:spcPts val="600"/>
              </a:spcBef>
              <a:spcAft>
                <a:spcPts val="600"/>
              </a:spcAft>
              <a:buFont typeface="Arial" panose="020B0604020202020204" pitchFamily="34" charset="0"/>
              <a:buNone/>
            </a:pPr>
            <a:r>
              <a:rPr lang="en-US" sz="1800">
                <a:solidFill>
                  <a:schemeClr val="bg2">
                    <a:lumMod val="10000"/>
                  </a:schemeClr>
                </a:solidFill>
                <a:latin typeface="Arial" panose="020B0604020202020204" pitchFamily="34" charset="0"/>
                <a:cs typeface="Arial" panose="020B0604020202020204" pitchFamily="34" charset="0"/>
              </a:rPr>
              <a:t>Bullet 18pt. Lorem ipsum dolor sit amet, consectetuer adipiscing elit. Maecenas porttitor congue</a:t>
            </a:r>
          </a:p>
          <a:p>
            <a:pPr marL="182880" indent="0">
              <a:lnSpc>
                <a:spcPct val="100000"/>
              </a:lnSpc>
              <a:spcBef>
                <a:spcPts val="600"/>
              </a:spcBef>
              <a:spcAft>
                <a:spcPts val="600"/>
              </a:spcAft>
              <a:buNone/>
            </a:pPr>
            <a:r>
              <a:rPr lang="en-US" sz="1800">
                <a:solidFill>
                  <a:schemeClr val="bg2">
                    <a:lumMod val="10000"/>
                  </a:schemeClr>
                </a:solidFill>
                <a:latin typeface="Arial" panose="020B0604020202020204" pitchFamily="34" charset="0"/>
                <a:cs typeface="Arial" panose="020B0604020202020204" pitchFamily="34" charset="0"/>
              </a:rPr>
              <a:t>Bullet 18pt. Lorem ipsum dolor sit amet, consectetuer adipiscing elit. Maecenas porttitor congue</a:t>
            </a:r>
          </a:p>
        </p:txBody>
      </p:sp>
      <p:cxnSp>
        <p:nvCxnSpPr>
          <p:cNvPr id="8" name="Straight Connector 7">
            <a:extLst>
              <a:ext uri="{FF2B5EF4-FFF2-40B4-BE49-F238E27FC236}">
                <a16:creationId xmlns:a16="http://schemas.microsoft.com/office/drawing/2014/main" id="{939AA8DB-EDBE-4D79-AF6A-789E05A4DEC2}"/>
              </a:ext>
            </a:extLst>
          </p:cNvPr>
          <p:cNvCxnSpPr>
            <a:cxnSpLocks/>
          </p:cNvCxnSpPr>
          <p:nvPr userDrawn="1"/>
        </p:nvCxnSpPr>
        <p:spPr>
          <a:xfrm>
            <a:off x="970466" y="5294548"/>
            <a:ext cx="0" cy="625252"/>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58A36CF-EDF1-4907-B9BC-9859B9823A0B}"/>
              </a:ext>
            </a:extLst>
          </p:cNvPr>
          <p:cNvCxnSpPr/>
          <p:nvPr userDrawn="1"/>
        </p:nvCxnSpPr>
        <p:spPr>
          <a:xfrm>
            <a:off x="1125415" y="5612616"/>
            <a:ext cx="98272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517420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E6BABFC-A10B-4149-9E39-5F157D193570}"/>
              </a:ext>
            </a:extLst>
          </p:cNvPr>
          <p:cNvSpPr/>
          <p:nvPr/>
        </p:nvSpPr>
        <p:spPr>
          <a:xfrm>
            <a:off x="0" y="-69574"/>
            <a:ext cx="12192000" cy="69275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EB52F4A-802A-4BB9-AE14-2F4C163AC9A3}"/>
              </a:ext>
            </a:extLst>
          </p:cNvPr>
          <p:cNvSpPr/>
          <p:nvPr/>
        </p:nvSpPr>
        <p:spPr>
          <a:xfrm>
            <a:off x="838200" y="2270831"/>
            <a:ext cx="10515600" cy="2246769"/>
          </a:xfrm>
          <a:prstGeom prst="rect">
            <a:avLst/>
          </a:prstGeom>
        </p:spPr>
        <p:txBody>
          <a:bodyPr wrap="square" anchor="ctr">
            <a:spAutoFit/>
          </a:bodyPr>
          <a:lstStyle/>
          <a:p>
            <a:pPr>
              <a:spcBef>
                <a:spcPts val="1200"/>
              </a:spcBef>
              <a:spcAft>
                <a:spcPts val="1200"/>
              </a:spcAft>
            </a:pPr>
            <a:r>
              <a:rPr kumimoji="0" lang="en-US" sz="4800" b="0" i="0" u="none" strike="noStrike" kern="1200" cap="none" spc="0" normalizeH="0" baseline="0">
                <a:ln>
                  <a:noFill/>
                </a:ln>
                <a:solidFill>
                  <a:schemeClr val="bg1"/>
                </a:solidFill>
                <a:effectLst/>
                <a:uLnTx/>
                <a:uFillTx/>
                <a:latin typeface="Arial Black" panose="020B0A04020102020204" pitchFamily="34" charset="0"/>
                <a:ea typeface="+mj-ea"/>
                <a:cs typeface="+mj-cs"/>
              </a:rPr>
              <a:t>THIS IS THE LAST MASTER LAYOUT OF THE TEMPLATE.</a:t>
            </a:r>
          </a:p>
          <a:p>
            <a:pPr>
              <a:spcBef>
                <a:spcPts val="1200"/>
              </a:spcBef>
              <a:spcAft>
                <a:spcPts val="1200"/>
              </a:spcAft>
            </a:pPr>
            <a:r>
              <a:rPr kumimoji="0" lang="en-US" sz="2400" b="0" i="0" u="none" strike="noStrike" kern="1200" cap="none" spc="0" normalizeH="0" baseline="0">
                <a:ln>
                  <a:noFill/>
                </a:ln>
                <a:solidFill>
                  <a:schemeClr val="bg1"/>
                </a:solidFill>
                <a:effectLst/>
                <a:uLnTx/>
                <a:uFillTx/>
                <a:latin typeface="+mn-lt"/>
                <a:ea typeface="+mj-ea"/>
                <a:cs typeface="+mj-cs"/>
              </a:rPr>
              <a:t>ALL MASTER LAYOUTS AFTER THIS SHOULD BE DELETED.</a:t>
            </a:r>
          </a:p>
        </p:txBody>
      </p:sp>
      <p:sp>
        <p:nvSpPr>
          <p:cNvPr id="4" name="Rectangle 3">
            <a:extLst>
              <a:ext uri="{FF2B5EF4-FFF2-40B4-BE49-F238E27FC236}">
                <a16:creationId xmlns:a16="http://schemas.microsoft.com/office/drawing/2014/main" id="{420A3DBB-C382-4A3A-A0C0-A1F901F2E465}"/>
              </a:ext>
            </a:extLst>
          </p:cNvPr>
          <p:cNvSpPr/>
          <p:nvPr userDrawn="1"/>
        </p:nvSpPr>
        <p:spPr>
          <a:xfrm>
            <a:off x="0" y="-69574"/>
            <a:ext cx="12192000" cy="69275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E05B24A-9AC8-4DE9-AE89-8CE4BDCD44EE}"/>
              </a:ext>
            </a:extLst>
          </p:cNvPr>
          <p:cNvSpPr/>
          <p:nvPr userDrawn="1"/>
        </p:nvSpPr>
        <p:spPr>
          <a:xfrm>
            <a:off x="838200" y="2270831"/>
            <a:ext cx="10515600" cy="2246769"/>
          </a:xfrm>
          <a:prstGeom prst="rect">
            <a:avLst/>
          </a:prstGeom>
        </p:spPr>
        <p:txBody>
          <a:bodyPr wrap="square" anchor="ctr">
            <a:spAutoFit/>
          </a:bodyPr>
          <a:lstStyle/>
          <a:p>
            <a:pPr>
              <a:spcBef>
                <a:spcPts val="1200"/>
              </a:spcBef>
              <a:spcAft>
                <a:spcPts val="1200"/>
              </a:spcAft>
            </a:pPr>
            <a:r>
              <a:rPr kumimoji="0" lang="en-US" sz="4800" b="0" i="0" u="none" strike="noStrike" kern="1200" cap="none" spc="0" normalizeH="0" baseline="0">
                <a:ln>
                  <a:noFill/>
                </a:ln>
                <a:solidFill>
                  <a:schemeClr val="bg1"/>
                </a:solidFill>
                <a:effectLst/>
                <a:uLnTx/>
                <a:uFillTx/>
                <a:latin typeface="Arial Black" panose="020B0A04020102020204" pitchFamily="34" charset="0"/>
                <a:ea typeface="+mj-ea"/>
                <a:cs typeface="+mj-cs"/>
              </a:rPr>
              <a:t>THIS IS THE LAST MASTER LAYOUT OF THE TEMPLATE.</a:t>
            </a:r>
          </a:p>
          <a:p>
            <a:pPr>
              <a:spcBef>
                <a:spcPts val="1200"/>
              </a:spcBef>
              <a:spcAft>
                <a:spcPts val="1200"/>
              </a:spcAft>
            </a:pPr>
            <a:r>
              <a:rPr kumimoji="0" lang="en-US" sz="2400" b="0" i="0" u="none" strike="noStrike" kern="1200" cap="none" spc="0" normalizeH="0" baseline="0">
                <a:ln>
                  <a:noFill/>
                </a:ln>
                <a:solidFill>
                  <a:schemeClr val="bg1"/>
                </a:solidFill>
                <a:effectLst/>
                <a:uLnTx/>
                <a:uFillTx/>
                <a:latin typeface="+mn-lt"/>
                <a:ea typeface="+mj-ea"/>
                <a:cs typeface="+mj-cs"/>
              </a:rPr>
              <a:t>ALL MASTER LAYOUTS AFTER THIS SHOULD BE DELETED.</a:t>
            </a:r>
          </a:p>
        </p:txBody>
      </p:sp>
    </p:spTree>
    <p:extLst>
      <p:ext uri="{BB962C8B-B14F-4D97-AF65-F5344CB8AC3E}">
        <p14:creationId xmlns:p14="http://schemas.microsoft.com/office/powerpoint/2010/main" val="34674687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9453184E-21E7-418F-A1EC-A49E8D1E2D3B}" type="datetime1">
              <a:rPr lang="en-US" smtClean="0"/>
              <a:t>10/13/2021</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7815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2CB09DE6-6C5C-466A-98EE-CF45D40F0870}" type="datetime1">
              <a:rPr lang="en-US" smtClean="0"/>
              <a:t>10/13/2021</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21961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F99CCC57-2F27-4712-AC15-A35FC57882C5}" type="datetime1">
              <a:rPr lang="en-US" smtClean="0"/>
              <a:t>10/13/2021</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97444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_Breaker">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B52997C-EAF4-4EDD-87A9-ADD9EA05A6BA}"/>
              </a:ext>
            </a:extLst>
          </p:cNvPr>
          <p:cNvSpPr>
            <a:spLocks noGrp="1"/>
          </p:cNvSpPr>
          <p:nvPr>
            <p:ph type="pic" sz="quarter" idx="10"/>
          </p:nvPr>
        </p:nvSpPr>
        <p:spPr>
          <a:xfrm>
            <a:off x="0" y="0"/>
            <a:ext cx="12190413" cy="6858000"/>
          </a:xfrm>
        </p:spPr>
        <p:txBody>
          <a:bodyPr/>
          <a:lstStyle>
            <a:lvl1pPr marL="0" indent="0">
              <a:buNone/>
              <a:defRPr/>
            </a:lvl1pPr>
          </a:lstStyle>
          <a:p>
            <a:r>
              <a:rPr lang="en-US"/>
              <a:t>Click icon to add picture</a:t>
            </a:r>
          </a:p>
        </p:txBody>
      </p:sp>
      <p:sp>
        <p:nvSpPr>
          <p:cNvPr id="3" name="Text Placeholder 2">
            <a:extLst>
              <a:ext uri="{FF2B5EF4-FFF2-40B4-BE49-F238E27FC236}">
                <a16:creationId xmlns:a16="http://schemas.microsoft.com/office/drawing/2014/main" id="{134A2926-AB14-4821-BE70-31A39598F6A1}"/>
              </a:ext>
            </a:extLst>
          </p:cNvPr>
          <p:cNvSpPr>
            <a:spLocks noGrp="1"/>
          </p:cNvSpPr>
          <p:nvPr>
            <p:ph type="body" idx="1" hasCustomPrompt="1"/>
          </p:nvPr>
        </p:nvSpPr>
        <p:spPr>
          <a:xfrm>
            <a:off x="1093918" y="5587301"/>
            <a:ext cx="2148840" cy="429768"/>
          </a:xfrm>
        </p:spPr>
        <p:txBody>
          <a:bodyPr anchor="ctr" anchorCtr="0">
            <a:noAutofit/>
          </a:bodyPr>
          <a:lstStyle>
            <a:lvl1pPr marL="0" indent="0" algn="ctr">
              <a:lnSpc>
                <a:spcPct val="100000"/>
              </a:lnSpc>
              <a:spcBef>
                <a:spcPts val="0"/>
              </a:spcBef>
              <a:buNone/>
              <a:defRPr lang="en-US" sz="1800" kern="1200" cap="all" spc="120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1" name="Text Placeholder 2">
            <a:extLst>
              <a:ext uri="{FF2B5EF4-FFF2-40B4-BE49-F238E27FC236}">
                <a16:creationId xmlns:a16="http://schemas.microsoft.com/office/drawing/2014/main" id="{4044E1A4-BC47-44B0-9A87-791F99BA9027}"/>
              </a:ext>
            </a:extLst>
          </p:cNvPr>
          <p:cNvSpPr>
            <a:spLocks noGrp="1"/>
          </p:cNvSpPr>
          <p:nvPr>
            <p:ph type="body" idx="11" hasCustomPrompt="1"/>
          </p:nvPr>
        </p:nvSpPr>
        <p:spPr>
          <a:xfrm>
            <a:off x="3262278" y="5587301"/>
            <a:ext cx="429768" cy="429768"/>
          </a:xfrm>
        </p:spPr>
        <p:txBody>
          <a:bodyPr anchor="ctr" anchorCtr="0">
            <a:noAutofit/>
          </a:bodyPr>
          <a:lstStyle>
            <a:lvl1pPr marL="0" indent="0" algn="ctr">
              <a:lnSpc>
                <a:spcPct val="100000"/>
              </a:lnSpc>
              <a:spcBef>
                <a:spcPts val="0"/>
              </a:spcBef>
              <a:buNone/>
              <a:defRPr lang="en-US" sz="1800" kern="1200" spc="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2" name="Title 1">
            <a:extLst>
              <a:ext uri="{FF2B5EF4-FFF2-40B4-BE49-F238E27FC236}">
                <a16:creationId xmlns:a16="http://schemas.microsoft.com/office/drawing/2014/main" id="{B22F253F-0581-42C4-9545-79F835C800F5}"/>
              </a:ext>
            </a:extLst>
          </p:cNvPr>
          <p:cNvSpPr>
            <a:spLocks noGrp="1"/>
          </p:cNvSpPr>
          <p:nvPr>
            <p:ph type="title" hasCustomPrompt="1"/>
          </p:nvPr>
        </p:nvSpPr>
        <p:spPr>
          <a:xfrm>
            <a:off x="838200" y="1282437"/>
            <a:ext cx="10515600" cy="2773195"/>
          </a:xfrm>
          <a:prstGeom prst="rect">
            <a:avLst/>
          </a:prstGeom>
        </p:spPr>
        <p:txBody>
          <a:bodyPr anchor="b">
            <a:spAutoFit/>
          </a:bodyPr>
          <a:lstStyle>
            <a:lvl1pPr>
              <a:lnSpc>
                <a:spcPct val="80000"/>
              </a:lnSpc>
              <a:defRPr sz="7200" cap="all" baseline="0"/>
            </a:lvl1pPr>
          </a:lstStyle>
          <a:p>
            <a:r>
              <a:rPr lang="en-US"/>
              <a:t>CLICK TO EDIT MASTER TITLE STYLE</a:t>
            </a:r>
          </a:p>
        </p:txBody>
      </p:sp>
      <p:sp>
        <p:nvSpPr>
          <p:cNvPr id="6" name="Title 1">
            <a:extLst>
              <a:ext uri="{FF2B5EF4-FFF2-40B4-BE49-F238E27FC236}">
                <a16:creationId xmlns:a16="http://schemas.microsoft.com/office/drawing/2014/main" id="{DF345AB3-4D97-4E21-9296-CEF5FB30BC66}"/>
              </a:ext>
            </a:extLst>
          </p:cNvPr>
          <p:cNvSpPr>
            <a:spLocks noGrp="1"/>
          </p:cNvSpPr>
          <p:nvPr>
            <p:ph type="title" hasCustomPrompt="1"/>
          </p:nvPr>
        </p:nvSpPr>
        <p:spPr>
          <a:xfrm>
            <a:off x="838200" y="1282437"/>
            <a:ext cx="10515600" cy="2773195"/>
          </a:xfrm>
          <a:prstGeom prst="rect">
            <a:avLst/>
          </a:prstGeom>
        </p:spPr>
        <p:txBody>
          <a:bodyPr anchor="b">
            <a:spAutoFit/>
          </a:bodyPr>
          <a:lstStyle>
            <a:lvl1pPr>
              <a:lnSpc>
                <a:spcPct val="80000"/>
              </a:lnSpc>
              <a:defRPr sz="7200" cap="all" baseline="0"/>
            </a:lvl1pPr>
          </a:lstStyle>
          <a:p>
            <a:r>
              <a:rPr lang="en-US"/>
              <a:t>CLICK TO EDIT MASTER TITLE STYLE</a:t>
            </a:r>
          </a:p>
        </p:txBody>
      </p:sp>
    </p:spTree>
    <p:extLst>
      <p:ext uri="{BB962C8B-B14F-4D97-AF65-F5344CB8AC3E}">
        <p14:creationId xmlns:p14="http://schemas.microsoft.com/office/powerpoint/2010/main" val="27206853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7022" y="403540"/>
            <a:ext cx="9625255" cy="864000"/>
          </a:xfrm>
        </p:spPr>
        <p:txBody>
          <a:bodyPr/>
          <a:lstStyle>
            <a:lvl1pPr>
              <a:defRPr/>
            </a:lvl1pPr>
          </a:lstStyle>
          <a:p>
            <a:r>
              <a:rPr lang="en-US"/>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bwMode="gray"/>
        <p:txBody>
          <a:bodyPr/>
          <a:lstStyle/>
          <a:p>
            <a:fld id="{3EB53ADF-5111-40B8-BD25-E86AF4ED5048}" type="datetime1">
              <a:rPr lang="en-US" smtClean="0"/>
              <a:t>10/13/2021</a:t>
            </a:fld>
            <a:endParaRPr lang="en-US"/>
          </a:p>
        </p:txBody>
      </p:sp>
      <p:sp>
        <p:nvSpPr>
          <p:cNvPr id="4" name="Footer Placeholder 3"/>
          <p:cNvSpPr>
            <a:spLocks noGrp="1"/>
          </p:cNvSpPr>
          <p:nvPr>
            <p:ph type="ftr" sz="quarter" idx="11"/>
          </p:nvPr>
        </p:nvSpPr>
        <p:spPr bwMode="gray">
          <a:xfrm>
            <a:off x="974800" y="6617933"/>
            <a:ext cx="5711408" cy="108000"/>
          </a:xfrm>
        </p:spPr>
        <p:txBody>
          <a:bodyPr/>
          <a:lstStyle/>
          <a:p>
            <a:r>
              <a:rPr lang="en-US"/>
              <a:t>/// Bayer 16:9 Template /// September 2018</a:t>
            </a:r>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pPr/>
              <a:t>‹#›</a:t>
            </a:fld>
            <a:endParaRPr lang="en-US"/>
          </a:p>
        </p:txBody>
      </p:sp>
      <p:pic>
        <p:nvPicPr>
          <p:cNvPr id="9" name="Picture 2"/>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gray">
          <a:xfrm>
            <a:off x="701923" y="704850"/>
            <a:ext cx="720094"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5252" y="1"/>
            <a:ext cx="4386748"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sz="1800"/>
            </a:p>
          </p:txBody>
        </p:sp>
      </p:grpSp>
      <p:sp>
        <p:nvSpPr>
          <p:cNvPr id="6"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161649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849"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err="1"/>
          </a:p>
        </p:txBody>
      </p:sp>
      <p:sp>
        <p:nvSpPr>
          <p:cNvPr id="3" name="Date Placeholder 2"/>
          <p:cNvSpPr>
            <a:spLocks noGrp="1"/>
          </p:cNvSpPr>
          <p:nvPr>
            <p:ph type="dt" sz="half" idx="10"/>
          </p:nvPr>
        </p:nvSpPr>
        <p:spPr bwMode="gray"/>
        <p:txBody>
          <a:bodyPr/>
          <a:lstStyle/>
          <a:p>
            <a:fld id="{EACA9DDE-6CF4-4C99-A2B7-6AB362D7B47D}" type="datetime1">
              <a:rPr lang="en-US" smtClean="0"/>
              <a:t>10/13/2021</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a:p>
        </p:txBody>
      </p:sp>
      <p:sp>
        <p:nvSpPr>
          <p:cNvPr id="26" name="Subtitle 2"/>
          <p:cNvSpPr>
            <a:spLocks noGrp="1"/>
          </p:cNvSpPr>
          <p:nvPr>
            <p:ph type="subTitle" idx="1"/>
          </p:nvPr>
        </p:nvSpPr>
        <p:spPr bwMode="black">
          <a:xfrm>
            <a:off x="6846988" y="3064854"/>
            <a:ext cx="4500586"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p>
        </p:txBody>
      </p:sp>
      <p:sp>
        <p:nvSpPr>
          <p:cNvPr id="2" name="Title 1"/>
          <p:cNvSpPr>
            <a:spLocks noGrp="1"/>
          </p:cNvSpPr>
          <p:nvPr>
            <p:ph type="title"/>
          </p:nvPr>
        </p:nvSpPr>
        <p:spPr bwMode="black">
          <a:xfrm>
            <a:off x="1810185" y="1473903"/>
            <a:ext cx="4140539" cy="1440753"/>
          </a:xfrm>
        </p:spPr>
        <p:txBody>
          <a:bodyPr anchor="b"/>
          <a:lstStyle>
            <a:lvl1pPr algn="r">
              <a:defRPr sz="4800" i="1">
                <a:solidFill>
                  <a:schemeClr val="bg1"/>
                </a:solidFill>
              </a:defRPr>
            </a:lvl1pPr>
          </a:lstStyle>
          <a:p>
            <a:r>
              <a:rPr lang="en-US"/>
              <a:t>Click to edit Master title style</a:t>
            </a:r>
          </a:p>
        </p:txBody>
      </p:sp>
      <p:grpSp>
        <p:nvGrpSpPr>
          <p:cNvPr id="49" name="Group 48"/>
          <p:cNvGrpSpPr/>
          <p:nvPr/>
        </p:nvGrpSpPr>
        <p:grpSpPr bwMode="black">
          <a:xfrm>
            <a:off x="4710724" y="1"/>
            <a:ext cx="2593848"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4"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87665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40674" y="0"/>
            <a:ext cx="645132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grpSp>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err="1"/>
          </a:p>
        </p:txBody>
      </p:sp>
      <p:sp>
        <p:nvSpPr>
          <p:cNvPr id="2" name="Title 1"/>
          <p:cNvSpPr>
            <a:spLocks noGrp="1"/>
          </p:cNvSpPr>
          <p:nvPr>
            <p:ph type="title"/>
          </p:nvPr>
        </p:nvSpPr>
        <p:spPr bwMode="black">
          <a:xfrm>
            <a:off x="6679256" y="2989334"/>
            <a:ext cx="4500586" cy="1440753"/>
          </a:xfrm>
        </p:spPr>
        <p:txBody>
          <a:bodyPr anchor="t"/>
          <a:lstStyle>
            <a:lvl1pPr algn="l">
              <a:defRPr sz="4800" i="1">
                <a:solidFill>
                  <a:schemeClr val="bg1"/>
                </a:solidFill>
              </a:defRPr>
            </a:lvl1pPr>
          </a:lstStyle>
          <a:p>
            <a:r>
              <a:rPr lang="en-US"/>
              <a:t>Click to edit Master title style</a:t>
            </a:r>
          </a:p>
        </p:txBody>
      </p:sp>
      <p:sp>
        <p:nvSpPr>
          <p:cNvPr id="3" name="Date Placeholder 2"/>
          <p:cNvSpPr>
            <a:spLocks noGrp="1"/>
          </p:cNvSpPr>
          <p:nvPr>
            <p:ph type="dt" sz="half" idx="10"/>
          </p:nvPr>
        </p:nvSpPr>
        <p:spPr bwMode="gray"/>
        <p:txBody>
          <a:bodyPr/>
          <a:lstStyle/>
          <a:p>
            <a:fld id="{EC4C773C-56E9-4938-AEBD-712BC038121E}" type="datetime1">
              <a:rPr lang="en-US" smtClean="0"/>
              <a:t>10/13/2021</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a:p>
        </p:txBody>
      </p:sp>
      <p:sp>
        <p:nvSpPr>
          <p:cNvPr id="26" name="Subtitle 2"/>
          <p:cNvSpPr>
            <a:spLocks noGrp="1"/>
          </p:cNvSpPr>
          <p:nvPr>
            <p:ph type="subTitle" idx="1"/>
          </p:nvPr>
        </p:nvSpPr>
        <p:spPr bwMode="black">
          <a:xfrm>
            <a:off x="1902438" y="2134650"/>
            <a:ext cx="4500586"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p>
        </p:txBody>
      </p:sp>
      <p:pic>
        <p:nvPicPr>
          <p:cNvPr id="22"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73661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err="1"/>
          </a:p>
        </p:txBody>
      </p:sp>
      <p:sp>
        <p:nvSpPr>
          <p:cNvPr id="2" name="Title 1"/>
          <p:cNvSpPr>
            <a:spLocks noGrp="1"/>
          </p:cNvSpPr>
          <p:nvPr>
            <p:ph type="title"/>
          </p:nvPr>
        </p:nvSpPr>
        <p:spPr bwMode="black">
          <a:xfrm>
            <a:off x="4854976" y="1462159"/>
            <a:ext cx="4500586" cy="1440753"/>
          </a:xfrm>
        </p:spPr>
        <p:txBody>
          <a:bodyPr anchor="b"/>
          <a:lstStyle>
            <a:lvl1pPr algn="l">
              <a:defRPr sz="4800" i="1">
                <a:solidFill>
                  <a:schemeClr val="bg1"/>
                </a:solidFill>
              </a:defRPr>
            </a:lvl1pPr>
          </a:lstStyle>
          <a:p>
            <a:r>
              <a:rPr lang="en-US"/>
              <a:t>Click to edit Master title style</a:t>
            </a:r>
          </a:p>
        </p:txBody>
      </p:sp>
      <p:sp>
        <p:nvSpPr>
          <p:cNvPr id="3" name="Date Placeholder 2"/>
          <p:cNvSpPr>
            <a:spLocks noGrp="1"/>
          </p:cNvSpPr>
          <p:nvPr>
            <p:ph type="dt" sz="half" idx="10"/>
          </p:nvPr>
        </p:nvSpPr>
        <p:spPr bwMode="gray"/>
        <p:txBody>
          <a:bodyPr/>
          <a:lstStyle/>
          <a:p>
            <a:fld id="{E309FE29-4079-4042-82D4-30F65321BBEB}" type="datetime1">
              <a:rPr lang="en-US" smtClean="0"/>
              <a:t>10/13/2021</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a:p>
        </p:txBody>
      </p:sp>
      <p:sp>
        <p:nvSpPr>
          <p:cNvPr id="48" name="Subtitle 2"/>
          <p:cNvSpPr>
            <a:spLocks noGrp="1"/>
          </p:cNvSpPr>
          <p:nvPr>
            <p:ph type="subTitle" idx="1"/>
          </p:nvPr>
        </p:nvSpPr>
        <p:spPr bwMode="black">
          <a:xfrm>
            <a:off x="7056599" y="3064854"/>
            <a:ext cx="4500586"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p>
        </p:txBody>
      </p:sp>
      <p:grpSp>
        <p:nvGrpSpPr>
          <p:cNvPr id="24" name="Group 23"/>
          <p:cNvGrpSpPr/>
          <p:nvPr/>
        </p:nvGrpSpPr>
        <p:grpSpPr bwMode="black">
          <a:xfrm>
            <a:off x="759707" y="1"/>
            <a:ext cx="414938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2"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325943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76166E1B-5D18-476A-8C5F-E90A4ECE4845}" type="datetime1">
              <a:rPr lang="en-US" smtClean="0"/>
              <a:t>10/13/2021</a:t>
            </a:fld>
            <a:endParaRPr lang="en-US"/>
          </a:p>
        </p:txBody>
      </p:sp>
      <p:sp>
        <p:nvSpPr>
          <p:cNvPr id="5" name="Footer Placeholder 4"/>
          <p:cNvSpPr>
            <a:spLocks noGrp="1"/>
          </p:cNvSpPr>
          <p:nvPr>
            <p:ph type="ftr" sz="quarter" idx="11"/>
          </p:nvPr>
        </p:nvSpPr>
        <p:spPr bwMode="gray"/>
        <p:txBody>
          <a:bodyPr/>
          <a:lstStyle/>
          <a:p>
            <a:r>
              <a:rPr lang="en-US"/>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9"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84846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EEDDFC53-89AB-4BE8-8EEE-3EC422BCF930}" type="datetime1">
              <a:rPr lang="en-US" smtClean="0"/>
              <a:t>10/13/2021</a:t>
            </a:fld>
            <a:endParaRPr lang="en-US"/>
          </a:p>
        </p:txBody>
      </p:sp>
      <p:sp>
        <p:nvSpPr>
          <p:cNvPr id="5" name="Footer Placeholder 4"/>
          <p:cNvSpPr>
            <a:spLocks noGrp="1"/>
          </p:cNvSpPr>
          <p:nvPr>
            <p:ph type="ftr" sz="quarter" idx="11"/>
          </p:nvPr>
        </p:nvSpPr>
        <p:spPr bwMode="gray"/>
        <p:txBody>
          <a:bodyPr/>
          <a:lstStyle/>
          <a:p>
            <a:r>
              <a:rPr lang="en-US"/>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9"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948"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Inhaltsplatzhalter 12"/>
          <p:cNvSpPr>
            <a:spLocks noGrp="1"/>
          </p:cNvSpPr>
          <p:nvPr>
            <p:ph sz="quarter" idx="17"/>
          </p:nvPr>
        </p:nvSpPr>
        <p:spPr>
          <a:xfrm>
            <a:off x="6560457"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02397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A13F43FA-A88D-45CF-A998-B7633C7E9A49}" type="datetime1">
              <a:rPr lang="en-US" smtClean="0"/>
              <a:t>10/13/2021</a:t>
            </a:fld>
            <a:endParaRPr lang="en-US"/>
          </a:p>
        </p:txBody>
      </p:sp>
      <p:sp>
        <p:nvSpPr>
          <p:cNvPr id="5" name="Footer Placeholder 4"/>
          <p:cNvSpPr>
            <a:spLocks noGrp="1"/>
          </p:cNvSpPr>
          <p:nvPr>
            <p:ph type="ftr" sz="quarter" idx="11"/>
          </p:nvPr>
        </p:nvSpPr>
        <p:spPr bwMode="gray"/>
        <p:txBody>
          <a:bodyPr/>
          <a:lstStyle/>
          <a:p>
            <a:r>
              <a:rPr lang="en-US"/>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left)"/>
          <p:cNvSpPr>
            <a:spLocks noGrp="1"/>
          </p:cNvSpPr>
          <p:nvPr>
            <p:ph type="body" sz="quarter" idx="14"/>
          </p:nvPr>
        </p:nvSpPr>
        <p:spPr bwMode="gray">
          <a:xfrm>
            <a:off x="981948" y="3892750"/>
            <a:ext cx="522068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right)"/>
          <p:cNvSpPr>
            <a:spLocks noGrp="1"/>
          </p:cNvSpPr>
          <p:nvPr>
            <p:ph type="body" sz="quarter" idx="15"/>
          </p:nvPr>
        </p:nvSpPr>
        <p:spPr bwMode="gray">
          <a:xfrm>
            <a:off x="6560573" y="3892750"/>
            <a:ext cx="522068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left)"/>
          <p:cNvSpPr>
            <a:spLocks noGrp="1"/>
          </p:cNvSpPr>
          <p:nvPr>
            <p:ph type="pic" sz="quarter" idx="16"/>
          </p:nvPr>
        </p:nvSpPr>
        <p:spPr bwMode="gray">
          <a:xfrm>
            <a:off x="981948" y="1732750"/>
            <a:ext cx="5220680" cy="1800000"/>
          </a:xfrm>
        </p:spPr>
        <p:txBody>
          <a:bodyPr tIns="540000" anchor="ctr"/>
          <a:lstStyle>
            <a:lvl1pPr algn="ctr">
              <a:defRPr/>
            </a:lvl1pPr>
          </a:lstStyle>
          <a:p>
            <a:r>
              <a:rPr lang="en-US"/>
              <a:t>Click icon to add picture</a:t>
            </a:r>
          </a:p>
        </p:txBody>
      </p:sp>
      <p:sp>
        <p:nvSpPr>
          <p:cNvPr id="16" name="Picture Placeholder 14 (right)"/>
          <p:cNvSpPr>
            <a:spLocks noGrp="1"/>
          </p:cNvSpPr>
          <p:nvPr>
            <p:ph type="pic" sz="quarter" idx="17"/>
          </p:nvPr>
        </p:nvSpPr>
        <p:spPr bwMode="gray">
          <a:xfrm>
            <a:off x="6560573" y="1732750"/>
            <a:ext cx="522068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30070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p>
        </p:txBody>
      </p:sp>
      <p:sp>
        <p:nvSpPr>
          <p:cNvPr id="4" name="Date Placeholder 3"/>
          <p:cNvSpPr>
            <a:spLocks noGrp="1"/>
          </p:cNvSpPr>
          <p:nvPr>
            <p:ph type="dt" sz="half" idx="10"/>
          </p:nvPr>
        </p:nvSpPr>
        <p:spPr bwMode="gray"/>
        <p:txBody>
          <a:bodyPr/>
          <a:lstStyle/>
          <a:p>
            <a:fld id="{B6DB8775-8226-4E8C-BBBC-5A871E3E17A7}" type="datetime1">
              <a:rPr lang="en-US" smtClean="0"/>
              <a:t>10/13/2021</a:t>
            </a:fld>
            <a:endParaRPr lang="en-US"/>
          </a:p>
        </p:txBody>
      </p:sp>
      <p:sp>
        <p:nvSpPr>
          <p:cNvPr id="5" name="Footer Placeholder 4"/>
          <p:cNvSpPr>
            <a:spLocks noGrp="1"/>
          </p:cNvSpPr>
          <p:nvPr>
            <p:ph type="ftr" sz="quarter" idx="11"/>
          </p:nvPr>
        </p:nvSpPr>
        <p:spPr bwMode="gray"/>
        <p:txBody>
          <a:bodyPr/>
          <a:lstStyle/>
          <a:p>
            <a:r>
              <a:rPr lang="en-US"/>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7"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82129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1052513"/>
            <a:ext cx="10801406"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p>
        </p:txBody>
      </p:sp>
      <p:sp>
        <p:nvSpPr>
          <p:cNvPr id="3" name="Date Placeholder 2"/>
          <p:cNvSpPr>
            <a:spLocks noGrp="1"/>
          </p:cNvSpPr>
          <p:nvPr>
            <p:ph type="dt" sz="half" idx="10"/>
          </p:nvPr>
        </p:nvSpPr>
        <p:spPr bwMode="gray"/>
        <p:txBody>
          <a:bodyPr/>
          <a:lstStyle/>
          <a:p>
            <a:fld id="{8096B027-38B9-43F7-A592-83EA0A775820}" type="datetime1">
              <a:rPr lang="en-US" smtClean="0"/>
              <a:t>10/13/2021</a:t>
            </a:fld>
            <a:endParaRPr lang="en-US"/>
          </a:p>
        </p:txBody>
      </p:sp>
      <p:sp>
        <p:nvSpPr>
          <p:cNvPr id="4" name="Footer Placeholder 3"/>
          <p:cNvSpPr>
            <a:spLocks noGrp="1"/>
          </p:cNvSpPr>
          <p:nvPr>
            <p:ph type="ftr" sz="quarter" idx="11"/>
          </p:nvPr>
        </p:nvSpPr>
        <p:spPr bwMode="gray"/>
        <p:txBody>
          <a:bodyPr/>
          <a:lstStyle/>
          <a:p>
            <a:r>
              <a:rPr lang="en-US"/>
              <a:t>/// Bayer 16:9 Template /// September 2018</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a:p>
        </p:txBody>
      </p:sp>
      <p:sp>
        <p:nvSpPr>
          <p:cNvPr id="2" name="Title 1"/>
          <p:cNvSpPr>
            <a:spLocks noGrp="1"/>
          </p:cNvSpPr>
          <p:nvPr>
            <p:ph type="title"/>
          </p:nvPr>
        </p:nvSpPr>
        <p:spPr bwMode="gray"/>
        <p:txBody>
          <a:bodyPr/>
          <a:lstStyle/>
          <a:p>
            <a:r>
              <a:rPr lang="en-US"/>
              <a:t>Click to edit Master title style</a:t>
            </a:r>
          </a:p>
        </p:txBody>
      </p:sp>
      <p:pic>
        <p:nvPicPr>
          <p:cNvPr id="7"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399323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74F30451-A35E-4E06-ABE9-57892F294C45}" type="datetime1">
              <a:rPr lang="en-US" smtClean="0"/>
              <a:t>10/13/2021</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6" name="Picture Placeholder 14"/>
          <p:cNvSpPr>
            <a:spLocks noGrp="1"/>
          </p:cNvSpPr>
          <p:nvPr>
            <p:ph type="pic" sz="quarter" idx="16"/>
          </p:nvPr>
        </p:nvSpPr>
        <p:spPr bwMode="gray">
          <a:xfrm>
            <a:off x="1" y="0"/>
            <a:ext cx="12192000"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30861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1BD60224-27A6-4FDA-BE67-391FF41DD8A0}"/>
              </a:ext>
            </a:extLst>
          </p:cNvPr>
          <p:cNvSpPr>
            <a:spLocks noGrp="1"/>
          </p:cNvSpPr>
          <p:nvPr>
            <p:ph type="ftr" sz="quarter" idx="10"/>
          </p:nvPr>
        </p:nvSpPr>
        <p:spPr>
          <a:xfrm>
            <a:off x="2285412" y="6311900"/>
            <a:ext cx="8275320" cy="338439"/>
          </a:xfrm>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8" name="Slide Number Placeholder 5">
            <a:extLst>
              <a:ext uri="{FF2B5EF4-FFF2-40B4-BE49-F238E27FC236}">
                <a16:creationId xmlns:a16="http://schemas.microsoft.com/office/drawing/2014/main" id="{53B2CD06-F4AE-4861-B24D-548BAB8B7826}"/>
              </a:ext>
            </a:extLst>
          </p:cNvPr>
          <p:cNvSpPr>
            <a:spLocks noGrp="1"/>
          </p:cNvSpPr>
          <p:nvPr>
            <p:ph type="sldNum" sz="quarter" idx="11"/>
          </p:nvPr>
        </p:nvSpPr>
        <p:spPr>
          <a:xfrm>
            <a:off x="10820062" y="6311900"/>
            <a:ext cx="457538" cy="338439"/>
          </a:xfrm>
        </p:spPr>
        <p:txBody>
          <a:bodyPr/>
          <a:lstStyle/>
          <a:p>
            <a:fld id="{5A1C2420-D500-4FDF-A245-39DCF46675EA}" type="slidenum">
              <a:rPr lang="en-US" smtClean="0"/>
              <a:t>‹#›</a:t>
            </a:fld>
            <a:endParaRPr lang="en-US"/>
          </a:p>
        </p:txBody>
      </p:sp>
    </p:spTree>
    <p:extLst>
      <p:ext uri="{BB962C8B-B14F-4D97-AF65-F5344CB8AC3E}">
        <p14:creationId xmlns:p14="http://schemas.microsoft.com/office/powerpoint/2010/main" val="40167123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1" y="1732422"/>
            <a:ext cx="5382199"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A3BDA798-F8E0-4709-A972-C462B33FAF2F}" type="datetime1">
              <a:rPr lang="en-US" smtClean="0"/>
              <a:t>10/13/2021</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white">
          <a:xfrm>
            <a:off x="708911" y="2424948"/>
            <a:ext cx="5382199" cy="1620000"/>
          </a:xfrm>
        </p:spPr>
        <p:txBody>
          <a:bodyPr anchor="t"/>
          <a:lstStyle>
            <a:lvl1pPr>
              <a:defRPr sz="54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a:p>
        </p:txBody>
      </p:sp>
      <p:pic>
        <p:nvPicPr>
          <p:cNvPr id="14"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82133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3"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E8FB917D-8BDA-4646-85F0-B3EB7EC9AA4C}" type="datetime1">
              <a:rPr lang="en-US" smtClean="0"/>
              <a:t>10/13/2021</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tx2"/>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a:p>
        </p:txBody>
      </p:sp>
      <p:pic>
        <p:nvPicPr>
          <p:cNvPr id="14"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208173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2"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93C03279-9369-4B60-857C-CA23090BD5EE}" type="datetime1">
              <a:rPr lang="en-US" smtClean="0"/>
              <a:t>10/13/2021</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accent2"/>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a:p>
        </p:txBody>
      </p:sp>
      <p:pic>
        <p:nvPicPr>
          <p:cNvPr id="14"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57511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elfoli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2ED9FCB3-9B29-42A8-A735-DBF9B3C4108B}" type="datetime1">
              <a:rPr lang="en-US" smtClean="0"/>
              <a:t>10/13/2021</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2"/>
          <p:cNvSpPr>
            <a:spLocks noGrp="1"/>
          </p:cNvSpPr>
          <p:nvPr>
            <p:ph type="pic" sz="quarter" idx="14"/>
          </p:nvPr>
        </p:nvSpPr>
        <p:spPr bwMode="gray">
          <a:xfrm>
            <a:off x="4078373" y="0"/>
            <a:ext cx="811600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a:p>
        </p:txBody>
      </p:sp>
      <p:pic>
        <p:nvPicPr>
          <p:cNvPr id="16" name="Picture 2"/>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60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_Generic_Foote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9CF36C7-E67C-409B-AC7E-5FA8D5533ADB}"/>
              </a:ext>
            </a:extLst>
          </p:cNvPr>
          <p:cNvSpPr/>
          <p:nvPr userDrawn="1"/>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ooter Placeholder 4">
            <a:extLst>
              <a:ext uri="{FF2B5EF4-FFF2-40B4-BE49-F238E27FC236}">
                <a16:creationId xmlns:a16="http://schemas.microsoft.com/office/drawing/2014/main" id="{70FCD426-49B2-4CF5-AF06-9E2898A19710}"/>
              </a:ext>
            </a:extLst>
          </p:cNvPr>
          <p:cNvSpPr>
            <a:spLocks noGrp="1"/>
          </p:cNvSpPr>
          <p:nvPr>
            <p:ph type="ftr" sz="quarter" idx="10"/>
          </p:nvPr>
        </p:nvSpPr>
        <p:spPr>
          <a:xfrm>
            <a:off x="2285412" y="6311900"/>
            <a:ext cx="8275320" cy="338439"/>
          </a:xfrm>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24" name="Slide Number Placeholder 5">
            <a:extLst>
              <a:ext uri="{FF2B5EF4-FFF2-40B4-BE49-F238E27FC236}">
                <a16:creationId xmlns:a16="http://schemas.microsoft.com/office/drawing/2014/main" id="{38806CF4-690B-46BD-9387-1BDFE1F6C67F}"/>
              </a:ext>
            </a:extLst>
          </p:cNvPr>
          <p:cNvSpPr>
            <a:spLocks noGrp="1"/>
          </p:cNvSpPr>
          <p:nvPr>
            <p:ph type="sldNum" sz="quarter" idx="11"/>
          </p:nvPr>
        </p:nvSpPr>
        <p:spPr>
          <a:xfrm>
            <a:off x="10820062" y="6311900"/>
            <a:ext cx="457538" cy="338439"/>
          </a:xfrm>
        </p:spPr>
        <p:txBody>
          <a:bodyPr/>
          <a:lstStyle/>
          <a:p>
            <a:fld id="{5A1C2420-D500-4FDF-A245-39DCF46675EA}" type="slidenum">
              <a:rPr lang="en-US" smtClean="0"/>
              <a:t>‹#›</a:t>
            </a:fld>
            <a:endParaRPr lang="en-US"/>
          </a:p>
        </p:txBody>
      </p:sp>
      <p:grpSp>
        <p:nvGrpSpPr>
          <p:cNvPr id="25" name="Group 24">
            <a:extLst>
              <a:ext uri="{FF2B5EF4-FFF2-40B4-BE49-F238E27FC236}">
                <a16:creationId xmlns:a16="http://schemas.microsoft.com/office/drawing/2014/main" id="{CFFA39AE-3442-4FA4-9401-F3E2FE9CBC14}"/>
              </a:ext>
            </a:extLst>
          </p:cNvPr>
          <p:cNvGrpSpPr/>
          <p:nvPr userDrawn="1"/>
        </p:nvGrpSpPr>
        <p:grpSpPr>
          <a:xfrm>
            <a:off x="950173" y="6425309"/>
            <a:ext cx="1075910" cy="230941"/>
            <a:chOff x="201074" y="6425309"/>
            <a:chExt cx="1075910" cy="230941"/>
          </a:xfrm>
        </p:grpSpPr>
        <p:sp>
          <p:nvSpPr>
            <p:cNvPr id="26" name="Rectangle 25">
              <a:extLst>
                <a:ext uri="{FF2B5EF4-FFF2-40B4-BE49-F238E27FC236}">
                  <a16:creationId xmlns:a16="http://schemas.microsoft.com/office/drawing/2014/main" id="{9CE9BEC8-F476-4D0E-8168-F5CF979852BC}"/>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7" name="Straight Connector 26">
              <a:extLst>
                <a:ext uri="{FF2B5EF4-FFF2-40B4-BE49-F238E27FC236}">
                  <a16:creationId xmlns:a16="http://schemas.microsoft.com/office/drawing/2014/main" id="{F2C60857-6CC6-4468-AB93-D4B63641E8EC}"/>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EC3D1C75-5560-4F3C-82F6-01DBC0AA03F9}"/>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9" name="Title 1">
              <a:extLst>
                <a:ext uri="{FF2B5EF4-FFF2-40B4-BE49-F238E27FC236}">
                  <a16:creationId xmlns:a16="http://schemas.microsoft.com/office/drawing/2014/main" id="{61CD8B87-7C0E-41A2-8716-91B2EF500004}"/>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30" name="Group 29">
            <a:extLst>
              <a:ext uri="{FF2B5EF4-FFF2-40B4-BE49-F238E27FC236}">
                <a16:creationId xmlns:a16="http://schemas.microsoft.com/office/drawing/2014/main" id="{2CE64BD6-BEC7-45E5-BB6B-42B903095E2B}"/>
              </a:ext>
            </a:extLst>
          </p:cNvPr>
          <p:cNvGrpSpPr/>
          <p:nvPr userDrawn="1"/>
        </p:nvGrpSpPr>
        <p:grpSpPr>
          <a:xfrm>
            <a:off x="950173" y="6425309"/>
            <a:ext cx="1075910" cy="230941"/>
            <a:chOff x="201074" y="6425309"/>
            <a:chExt cx="1075910" cy="230941"/>
          </a:xfrm>
        </p:grpSpPr>
        <p:sp>
          <p:nvSpPr>
            <p:cNvPr id="31" name="Rectangle 30">
              <a:extLst>
                <a:ext uri="{FF2B5EF4-FFF2-40B4-BE49-F238E27FC236}">
                  <a16:creationId xmlns:a16="http://schemas.microsoft.com/office/drawing/2014/main" id="{1D97569B-48E4-4EAF-89EB-12E25A64E4CC}"/>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2" name="Straight Connector 31">
              <a:extLst>
                <a:ext uri="{FF2B5EF4-FFF2-40B4-BE49-F238E27FC236}">
                  <a16:creationId xmlns:a16="http://schemas.microsoft.com/office/drawing/2014/main" id="{55003BBD-8C38-444E-A29E-D570C21CED03}"/>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B8C71957-26B4-4592-9DFF-6ABC63363589}"/>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34" name="Title 1">
              <a:extLst>
                <a:ext uri="{FF2B5EF4-FFF2-40B4-BE49-F238E27FC236}">
                  <a16:creationId xmlns:a16="http://schemas.microsoft.com/office/drawing/2014/main" id="{8BD4177F-5A67-4A90-A56C-838339A02730}"/>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1922220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_1_Column_Generic_Foot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10B2A5-017F-4AE4-B46F-388C37734DFB}"/>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207D7D-30AE-4A7B-B351-8EEFBD06C7C9}"/>
              </a:ext>
            </a:extLst>
          </p:cNvPr>
          <p:cNvSpPr>
            <a:spLocks noGrp="1"/>
          </p:cNvSpPr>
          <p:nvPr>
            <p:ph type="ftr" sz="quarter" idx="10"/>
          </p:nvPr>
        </p:nvSpPr>
        <p:spPr>
          <a:xfrm>
            <a:off x="2285412" y="6311900"/>
            <a:ext cx="8275320" cy="338439"/>
          </a:xfrm>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a:extLst>
              <a:ext uri="{FF2B5EF4-FFF2-40B4-BE49-F238E27FC236}">
                <a16:creationId xmlns:a16="http://schemas.microsoft.com/office/drawing/2014/main" id="{3DC620F1-7EE8-4C8A-8880-ED72F7E85F67}"/>
              </a:ext>
            </a:extLst>
          </p:cNvPr>
          <p:cNvSpPr>
            <a:spLocks noGrp="1"/>
          </p:cNvSpPr>
          <p:nvPr>
            <p:ph type="sldNum" sz="quarter" idx="11"/>
          </p:nvPr>
        </p:nvSpPr>
        <p:spPr/>
        <p:txBody>
          <a:bodyPr/>
          <a:lstStyle/>
          <a:p>
            <a:fld id="{5A1C2420-D500-4FDF-A245-39DCF46675EA}" type="slidenum">
              <a:rPr lang="en-US" smtClean="0"/>
              <a:t>‹#›</a:t>
            </a:fld>
            <a:endParaRPr lang="en-US"/>
          </a:p>
        </p:txBody>
      </p:sp>
      <p:sp>
        <p:nvSpPr>
          <p:cNvPr id="12" name="Content Placeholder 2">
            <a:extLst>
              <a:ext uri="{FF2B5EF4-FFF2-40B4-BE49-F238E27FC236}">
                <a16:creationId xmlns:a16="http://schemas.microsoft.com/office/drawing/2014/main" id="{66CE9724-CAA6-4A14-B0ED-C15B7C2C8359}"/>
              </a:ext>
            </a:extLst>
          </p:cNvPr>
          <p:cNvSpPr>
            <a:spLocks noGrp="1"/>
          </p:cNvSpPr>
          <p:nvPr>
            <p:ph idx="1"/>
          </p:nvPr>
        </p:nvSpPr>
        <p:spPr>
          <a:xfrm>
            <a:off x="838200" y="1825625"/>
            <a:ext cx="10515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3">
            <a:extLst>
              <a:ext uri="{FF2B5EF4-FFF2-40B4-BE49-F238E27FC236}">
                <a16:creationId xmlns:a16="http://schemas.microsoft.com/office/drawing/2014/main" id="{54239DCD-D344-4906-8F2E-0BAB9C0C4DD5}"/>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14" name="Title 16">
            <a:extLst>
              <a:ext uri="{FF2B5EF4-FFF2-40B4-BE49-F238E27FC236}">
                <a16:creationId xmlns:a16="http://schemas.microsoft.com/office/drawing/2014/main" id="{AC87D85F-A3A3-468B-8A6F-3CC53856C628}"/>
              </a:ext>
            </a:extLst>
          </p:cNvPr>
          <p:cNvSpPr>
            <a:spLocks noGrp="1"/>
          </p:cNvSpPr>
          <p:nvPr>
            <p:ph type="title" hasCustomPrompt="1"/>
          </p:nvPr>
        </p:nvSpPr>
        <p:spPr>
          <a:xfrm>
            <a:off x="838200" y="318014"/>
            <a:ext cx="10515600" cy="590931"/>
          </a:xfrm>
        </p:spPr>
        <p:txBody>
          <a:bodyPr>
            <a:spAutoFit/>
          </a:bodyPr>
          <a:lstStyle>
            <a:lvl1pPr>
              <a:defRPr sz="3600" baseline="0"/>
            </a:lvl1pPr>
          </a:lstStyle>
          <a:p>
            <a:r>
              <a:rPr lang="en-US"/>
              <a:t>CLICK TO EDIT MASTER TITLE STYLE</a:t>
            </a:r>
          </a:p>
        </p:txBody>
      </p:sp>
      <p:grpSp>
        <p:nvGrpSpPr>
          <p:cNvPr id="25" name="Group 24">
            <a:extLst>
              <a:ext uri="{FF2B5EF4-FFF2-40B4-BE49-F238E27FC236}">
                <a16:creationId xmlns:a16="http://schemas.microsoft.com/office/drawing/2014/main" id="{7E8FDC50-C9FF-478E-99DD-1500A629668D}"/>
              </a:ext>
            </a:extLst>
          </p:cNvPr>
          <p:cNvGrpSpPr/>
          <p:nvPr userDrawn="1"/>
        </p:nvGrpSpPr>
        <p:grpSpPr>
          <a:xfrm>
            <a:off x="950173" y="6425309"/>
            <a:ext cx="1075910" cy="230941"/>
            <a:chOff x="201074" y="6425309"/>
            <a:chExt cx="1075910" cy="230941"/>
          </a:xfrm>
        </p:grpSpPr>
        <p:sp>
          <p:nvSpPr>
            <p:cNvPr id="26" name="Rectangle 25">
              <a:extLst>
                <a:ext uri="{FF2B5EF4-FFF2-40B4-BE49-F238E27FC236}">
                  <a16:creationId xmlns:a16="http://schemas.microsoft.com/office/drawing/2014/main" id="{7D4E5856-1CCA-4823-9480-505082725F70}"/>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7" name="Straight Connector 26">
              <a:extLst>
                <a:ext uri="{FF2B5EF4-FFF2-40B4-BE49-F238E27FC236}">
                  <a16:creationId xmlns:a16="http://schemas.microsoft.com/office/drawing/2014/main" id="{E1149F3A-5DCE-484A-97AA-11C2D31CFA2F}"/>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59CA476B-DF4A-49BC-BF6D-500073C81ECA}"/>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1</a:t>
              </a:r>
              <a:endParaRPr lang="en-US" sz="1200">
                <a:solidFill>
                  <a:schemeClr val="bg1"/>
                </a:solidFill>
                <a:latin typeface="Arial Black" panose="020B0A04020102020204" pitchFamily="34" charset="0"/>
              </a:endParaRPr>
            </a:p>
          </p:txBody>
        </p:sp>
        <p:sp>
          <p:nvSpPr>
            <p:cNvPr id="29" name="Title 1">
              <a:extLst>
                <a:ext uri="{FF2B5EF4-FFF2-40B4-BE49-F238E27FC236}">
                  <a16:creationId xmlns:a16="http://schemas.microsoft.com/office/drawing/2014/main" id="{B18CD083-7240-49CB-9C64-D00D8D292CC0}"/>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30" name="Group 29">
            <a:extLst>
              <a:ext uri="{FF2B5EF4-FFF2-40B4-BE49-F238E27FC236}">
                <a16:creationId xmlns:a16="http://schemas.microsoft.com/office/drawing/2014/main" id="{72A6A81B-7092-4F33-B7D9-33A57EC68D6A}"/>
              </a:ext>
            </a:extLst>
          </p:cNvPr>
          <p:cNvGrpSpPr/>
          <p:nvPr userDrawn="1"/>
        </p:nvGrpSpPr>
        <p:grpSpPr>
          <a:xfrm>
            <a:off x="950173" y="6425309"/>
            <a:ext cx="1075910" cy="230941"/>
            <a:chOff x="201074" y="6425309"/>
            <a:chExt cx="1075910" cy="230941"/>
          </a:xfrm>
        </p:grpSpPr>
        <p:sp>
          <p:nvSpPr>
            <p:cNvPr id="31" name="Rectangle 30">
              <a:extLst>
                <a:ext uri="{FF2B5EF4-FFF2-40B4-BE49-F238E27FC236}">
                  <a16:creationId xmlns:a16="http://schemas.microsoft.com/office/drawing/2014/main" id="{29C65A00-33BE-452B-8DCB-368014C65161}"/>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2" name="Straight Connector 31">
              <a:extLst>
                <a:ext uri="{FF2B5EF4-FFF2-40B4-BE49-F238E27FC236}">
                  <a16:creationId xmlns:a16="http://schemas.microsoft.com/office/drawing/2014/main" id="{89363AD4-E0BC-4274-AC8C-4ABBE90CD2C1}"/>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C8874C33-E048-4DDB-BEE8-C8154E0F61A8}"/>
                </a:ext>
              </a:extLst>
            </p:cNvPr>
            <p:cNvSpPr txBox="1">
              <a:spLocks/>
            </p:cNvSpPr>
            <p:nvPr/>
          </p:nvSpPr>
          <p:spPr>
            <a:xfrm>
              <a:off x="224024" y="6455232"/>
              <a:ext cx="480162" cy="16619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1200">
                <a:solidFill>
                  <a:schemeClr val="bg1"/>
                </a:solidFill>
                <a:latin typeface="Arial Black" panose="020B0A04020102020204" pitchFamily="34" charset="0"/>
              </a:endParaRPr>
            </a:p>
          </p:txBody>
        </p:sp>
        <p:sp>
          <p:nvSpPr>
            <p:cNvPr id="34" name="Title 1">
              <a:extLst>
                <a:ext uri="{FF2B5EF4-FFF2-40B4-BE49-F238E27FC236}">
                  <a16:creationId xmlns:a16="http://schemas.microsoft.com/office/drawing/2014/main" id="{B376DE98-65F3-4F1D-A593-F414052EFE41}"/>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3584196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_1_Breaker">
    <p:spTree>
      <p:nvGrpSpPr>
        <p:cNvPr id="1" name=""/>
        <p:cNvGrpSpPr/>
        <p:nvPr/>
      </p:nvGrpSpPr>
      <p:grpSpPr>
        <a:xfrm>
          <a:off x="0" y="0"/>
          <a:ext cx="0" cy="0"/>
          <a:chOff x="0" y="0"/>
          <a:chExt cx="0" cy="0"/>
        </a:xfrm>
      </p:grpSpPr>
      <p:pic>
        <p:nvPicPr>
          <p:cNvPr id="8" name="Picture Placeholder 4">
            <a:extLst>
              <a:ext uri="{FF2B5EF4-FFF2-40B4-BE49-F238E27FC236}">
                <a16:creationId xmlns:a16="http://schemas.microsoft.com/office/drawing/2014/main" id="{1510C9BC-61D8-42CE-862D-BAEDAAF0952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0413" cy="6858000"/>
          </a:xfrm>
          <a:prstGeom prst="rect">
            <a:avLst/>
          </a:prstGeom>
        </p:spPr>
      </p:pic>
      <p:sp>
        <p:nvSpPr>
          <p:cNvPr id="3" name="Text Placeholder 2">
            <a:extLst>
              <a:ext uri="{FF2B5EF4-FFF2-40B4-BE49-F238E27FC236}">
                <a16:creationId xmlns:a16="http://schemas.microsoft.com/office/drawing/2014/main" id="{134A2926-AB14-4821-BE70-31A39598F6A1}"/>
              </a:ext>
            </a:extLst>
          </p:cNvPr>
          <p:cNvSpPr>
            <a:spLocks noGrp="1"/>
          </p:cNvSpPr>
          <p:nvPr>
            <p:ph type="body" idx="1" hasCustomPrompt="1"/>
          </p:nvPr>
        </p:nvSpPr>
        <p:spPr>
          <a:xfrm>
            <a:off x="1093918" y="5587301"/>
            <a:ext cx="2148840" cy="429768"/>
          </a:xfrm>
        </p:spPr>
        <p:txBody>
          <a:bodyPr anchor="ctr" anchorCtr="0">
            <a:noAutofit/>
          </a:bodyPr>
          <a:lstStyle>
            <a:lvl1pPr marL="0" indent="0" algn="ctr">
              <a:lnSpc>
                <a:spcPct val="100000"/>
              </a:lnSpc>
              <a:spcBef>
                <a:spcPts val="0"/>
              </a:spcBef>
              <a:buNone/>
              <a:defRPr lang="en-US" sz="1800" kern="1200" cap="all" spc="120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1" name="Text Placeholder 2">
            <a:extLst>
              <a:ext uri="{FF2B5EF4-FFF2-40B4-BE49-F238E27FC236}">
                <a16:creationId xmlns:a16="http://schemas.microsoft.com/office/drawing/2014/main" id="{4044E1A4-BC47-44B0-9A87-791F99BA9027}"/>
              </a:ext>
            </a:extLst>
          </p:cNvPr>
          <p:cNvSpPr>
            <a:spLocks noGrp="1"/>
          </p:cNvSpPr>
          <p:nvPr>
            <p:ph type="body" idx="11" hasCustomPrompt="1"/>
          </p:nvPr>
        </p:nvSpPr>
        <p:spPr>
          <a:xfrm>
            <a:off x="3262278" y="5587301"/>
            <a:ext cx="429768" cy="429768"/>
          </a:xfrm>
        </p:spPr>
        <p:txBody>
          <a:bodyPr anchor="ctr" anchorCtr="0">
            <a:noAutofit/>
          </a:bodyPr>
          <a:lstStyle>
            <a:lvl1pPr marL="0" indent="0" algn="ctr">
              <a:lnSpc>
                <a:spcPct val="100000"/>
              </a:lnSpc>
              <a:spcBef>
                <a:spcPts val="0"/>
              </a:spcBef>
              <a:buNone/>
              <a:defRPr lang="en-US" sz="1800" kern="1200" spc="0" baseline="0" dirty="0">
                <a:solidFill>
                  <a:schemeClr val="bg1"/>
                </a:solidFill>
                <a:latin typeface="Arial Narrow" panose="020B0606020202030204" pitchFamily="34" charset="0"/>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2" name="Title 1">
            <a:extLst>
              <a:ext uri="{FF2B5EF4-FFF2-40B4-BE49-F238E27FC236}">
                <a16:creationId xmlns:a16="http://schemas.microsoft.com/office/drawing/2014/main" id="{B22F253F-0581-42C4-9545-79F835C800F5}"/>
              </a:ext>
            </a:extLst>
          </p:cNvPr>
          <p:cNvSpPr>
            <a:spLocks noGrp="1"/>
          </p:cNvSpPr>
          <p:nvPr>
            <p:ph type="title" hasCustomPrompt="1"/>
          </p:nvPr>
        </p:nvSpPr>
        <p:spPr>
          <a:xfrm>
            <a:off x="838200" y="1282437"/>
            <a:ext cx="10515600" cy="2773195"/>
          </a:xfrm>
          <a:prstGeom prst="rect">
            <a:avLst/>
          </a:prstGeom>
        </p:spPr>
        <p:txBody>
          <a:bodyPr anchor="b">
            <a:spAutoFit/>
          </a:bodyPr>
          <a:lstStyle>
            <a:lvl1pPr>
              <a:lnSpc>
                <a:spcPct val="80000"/>
              </a:lnSpc>
              <a:defRPr sz="7200" cap="all" baseline="0"/>
            </a:lvl1pPr>
          </a:lstStyle>
          <a:p>
            <a:r>
              <a:rPr lang="en-US"/>
              <a:t>CLICK TO EDIT MASTER TITLE STYLE</a:t>
            </a:r>
          </a:p>
        </p:txBody>
      </p:sp>
    </p:spTree>
    <p:extLst>
      <p:ext uri="{BB962C8B-B14F-4D97-AF65-F5344CB8AC3E}">
        <p14:creationId xmlns:p14="http://schemas.microsoft.com/office/powerpoint/2010/main" val="1314225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Content_1_Column">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01A879B-048F-4984-8FD3-C480DA717780}"/>
              </a:ext>
            </a:extLst>
          </p:cNvPr>
          <p:cNvSpPr/>
          <p:nvPr userDrawn="1"/>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021CA9F-890A-4ED8-9865-24863BB3C715}"/>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46F5B75-90F3-4861-9F74-99F9CC2F12DF}"/>
              </a:ext>
            </a:extLst>
          </p:cNvPr>
          <p:cNvSpPr>
            <a:spLocks noGrp="1"/>
          </p:cNvSpPr>
          <p:nvPr>
            <p:ph idx="1"/>
          </p:nvPr>
        </p:nvSpPr>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3">
            <a:extLst>
              <a:ext uri="{FF2B5EF4-FFF2-40B4-BE49-F238E27FC236}">
                <a16:creationId xmlns:a16="http://schemas.microsoft.com/office/drawing/2014/main" id="{CEAE037A-B5F2-4867-9063-4303218A5148}"/>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9" name="Footer Placeholder 8">
            <a:extLst>
              <a:ext uri="{FF2B5EF4-FFF2-40B4-BE49-F238E27FC236}">
                <a16:creationId xmlns:a16="http://schemas.microsoft.com/office/drawing/2014/main" id="{CF267629-D067-4223-9005-C3D7505F9AE6}"/>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0" name="Slide Number Placeholder 9">
            <a:extLst>
              <a:ext uri="{FF2B5EF4-FFF2-40B4-BE49-F238E27FC236}">
                <a16:creationId xmlns:a16="http://schemas.microsoft.com/office/drawing/2014/main" id="{6C5FE39E-A144-4C58-8271-DC7EC19A003F}"/>
              </a:ext>
            </a:extLst>
          </p:cNvPr>
          <p:cNvSpPr>
            <a:spLocks noGrp="1"/>
          </p:cNvSpPr>
          <p:nvPr>
            <p:ph type="sldNum" sz="quarter" idx="16"/>
          </p:nvPr>
        </p:nvSpPr>
        <p:spPr/>
        <p:txBody>
          <a:bodyPr/>
          <a:lstStyle/>
          <a:p>
            <a:fld id="{5382645D-9DD6-408C-B0EA-C65795F9B1DE}" type="slidenum">
              <a:rPr lang="en-US" smtClean="0"/>
              <a:pPr/>
              <a:t>‹#›</a:t>
            </a:fld>
            <a:endParaRPr lang="en-US"/>
          </a:p>
        </p:txBody>
      </p:sp>
      <p:sp>
        <p:nvSpPr>
          <p:cNvPr id="17" name="Title 16">
            <a:extLst>
              <a:ext uri="{FF2B5EF4-FFF2-40B4-BE49-F238E27FC236}">
                <a16:creationId xmlns:a16="http://schemas.microsoft.com/office/drawing/2014/main" id="{20C6F5A7-4B7F-4611-934E-EA60A8E621F4}"/>
              </a:ext>
            </a:extLst>
          </p:cNvPr>
          <p:cNvSpPr>
            <a:spLocks noGrp="1"/>
          </p:cNvSpPr>
          <p:nvPr>
            <p:ph type="title" hasCustomPrompt="1"/>
          </p:nvPr>
        </p:nvSpPr>
        <p:spPr>
          <a:xfrm>
            <a:off x="838200" y="318014"/>
            <a:ext cx="10515600" cy="590931"/>
          </a:xfrm>
        </p:spPr>
        <p:txBody>
          <a:bodyPr>
            <a:spAutoFit/>
          </a:bodyPr>
          <a:lstStyle>
            <a:lvl1pPr>
              <a:defRPr sz="3600" baseline="0"/>
            </a:lvl1pPr>
          </a:lstStyle>
          <a:p>
            <a:r>
              <a:rPr lang="en-US"/>
              <a:t>CLICK TO EDIT MASTER TITLE STYLE</a:t>
            </a:r>
          </a:p>
        </p:txBody>
      </p:sp>
      <p:grpSp>
        <p:nvGrpSpPr>
          <p:cNvPr id="19" name="Group 18">
            <a:extLst>
              <a:ext uri="{FF2B5EF4-FFF2-40B4-BE49-F238E27FC236}">
                <a16:creationId xmlns:a16="http://schemas.microsoft.com/office/drawing/2014/main" id="{63DFBEF4-7DDC-4A7B-B826-469445B505B1}"/>
              </a:ext>
            </a:extLst>
          </p:cNvPr>
          <p:cNvGrpSpPr/>
          <p:nvPr userDrawn="1"/>
        </p:nvGrpSpPr>
        <p:grpSpPr>
          <a:xfrm>
            <a:off x="950173" y="6425309"/>
            <a:ext cx="1075910" cy="230941"/>
            <a:chOff x="201074" y="6425309"/>
            <a:chExt cx="1075910" cy="230941"/>
          </a:xfrm>
        </p:grpSpPr>
        <p:sp>
          <p:nvSpPr>
            <p:cNvPr id="20" name="Rectangle 19">
              <a:extLst>
                <a:ext uri="{FF2B5EF4-FFF2-40B4-BE49-F238E27FC236}">
                  <a16:creationId xmlns:a16="http://schemas.microsoft.com/office/drawing/2014/main" id="{5BCE8398-54E4-4D8E-9638-595AC4F4A334}"/>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1" name="Straight Connector 20">
              <a:extLst>
                <a:ext uri="{FF2B5EF4-FFF2-40B4-BE49-F238E27FC236}">
                  <a16:creationId xmlns:a16="http://schemas.microsoft.com/office/drawing/2014/main" id="{7DF0B768-8ED7-4FD2-804C-A9353AC749C4}"/>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DA3D2715-CB6A-4DC5-A2F5-520A5C5BDE53}"/>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1</a:t>
              </a:r>
              <a:endParaRPr lang="en-US" sz="1200">
                <a:solidFill>
                  <a:schemeClr val="bg1"/>
                </a:solidFill>
                <a:latin typeface="Arial Black" panose="020B0A04020102020204" pitchFamily="34" charset="0"/>
              </a:endParaRPr>
            </a:p>
          </p:txBody>
        </p:sp>
        <p:sp>
          <p:nvSpPr>
            <p:cNvPr id="23" name="Title 1">
              <a:extLst>
                <a:ext uri="{FF2B5EF4-FFF2-40B4-BE49-F238E27FC236}">
                  <a16:creationId xmlns:a16="http://schemas.microsoft.com/office/drawing/2014/main" id="{E87B0695-FEC3-4B76-B581-9907C6B1EA9C}"/>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4" name="Group 23">
            <a:extLst>
              <a:ext uri="{FF2B5EF4-FFF2-40B4-BE49-F238E27FC236}">
                <a16:creationId xmlns:a16="http://schemas.microsoft.com/office/drawing/2014/main" id="{1F15F0C5-150D-4500-8359-CFAACC477BA4}"/>
              </a:ext>
            </a:extLst>
          </p:cNvPr>
          <p:cNvGrpSpPr/>
          <p:nvPr userDrawn="1"/>
        </p:nvGrpSpPr>
        <p:grpSpPr>
          <a:xfrm>
            <a:off x="950173" y="6425309"/>
            <a:ext cx="1075910" cy="230941"/>
            <a:chOff x="201074" y="6425309"/>
            <a:chExt cx="1075910" cy="230941"/>
          </a:xfrm>
        </p:grpSpPr>
        <p:sp>
          <p:nvSpPr>
            <p:cNvPr id="25" name="Rectangle 24">
              <a:extLst>
                <a:ext uri="{FF2B5EF4-FFF2-40B4-BE49-F238E27FC236}">
                  <a16:creationId xmlns:a16="http://schemas.microsoft.com/office/drawing/2014/main" id="{BF8A9618-9DA6-43AB-8B0E-A48B01958A66}"/>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6" name="Straight Connector 25">
              <a:extLst>
                <a:ext uri="{FF2B5EF4-FFF2-40B4-BE49-F238E27FC236}">
                  <a16:creationId xmlns:a16="http://schemas.microsoft.com/office/drawing/2014/main" id="{EE241686-040C-40DF-B83E-E2673CEBD852}"/>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itle 1">
              <a:extLst>
                <a:ext uri="{FF2B5EF4-FFF2-40B4-BE49-F238E27FC236}">
                  <a16:creationId xmlns:a16="http://schemas.microsoft.com/office/drawing/2014/main" id="{5E8E4A12-2AAA-432C-9E6D-466B57F70642}"/>
                </a:ext>
              </a:extLst>
            </p:cNvPr>
            <p:cNvSpPr txBox="1">
              <a:spLocks/>
            </p:cNvSpPr>
            <p:nvPr/>
          </p:nvSpPr>
          <p:spPr>
            <a:xfrm>
              <a:off x="224024" y="6455232"/>
              <a:ext cx="480162" cy="16619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1200">
                <a:solidFill>
                  <a:schemeClr val="bg1"/>
                </a:solidFill>
                <a:latin typeface="Arial Black" panose="020B0A04020102020204" pitchFamily="34" charset="0"/>
              </a:endParaRPr>
            </a:p>
          </p:txBody>
        </p:sp>
        <p:sp>
          <p:nvSpPr>
            <p:cNvPr id="28" name="Title 1">
              <a:extLst>
                <a:ext uri="{FF2B5EF4-FFF2-40B4-BE49-F238E27FC236}">
                  <a16:creationId xmlns:a16="http://schemas.microsoft.com/office/drawing/2014/main" id="{E71CDB76-FD45-4CC7-8BA2-6D2062A4BBF7}"/>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33633496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ntent_2_Column">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F29CFA9-E296-4415-836F-F46381E80923}"/>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B0026F8-6822-4E45-B4C3-3A6B81D4D795}"/>
              </a:ext>
            </a:extLst>
          </p:cNvPr>
          <p:cNvSpPr/>
          <p:nvPr userDrawn="1"/>
        </p:nvSpPr>
        <p:spPr>
          <a:xfrm>
            <a:off x="9664068" y="6314739"/>
            <a:ext cx="2100712" cy="543261"/>
          </a:xfrm>
          <a:prstGeom prst="rect">
            <a:avLst/>
          </a:prstGeom>
          <a:gradFill flip="none" rotWithShape="1">
            <a:gsLst>
              <a:gs pos="0">
                <a:schemeClr val="tx1"/>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6AB1576-A66D-4B20-A58C-B10B7A0CFCAC}"/>
              </a:ext>
            </a:extLst>
          </p:cNvPr>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A9119D-3B4E-4F09-BA89-FE6FA0BEB078}"/>
              </a:ext>
            </a:extLst>
          </p:cNvPr>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3">
            <a:extLst>
              <a:ext uri="{FF2B5EF4-FFF2-40B4-BE49-F238E27FC236}">
                <a16:creationId xmlns:a16="http://schemas.microsoft.com/office/drawing/2014/main" id="{59E2301F-79F9-43CC-80C2-F3A2C84CC1E9}"/>
              </a:ext>
            </a:extLst>
          </p:cNvPr>
          <p:cNvSpPr>
            <a:spLocks noGrp="1"/>
          </p:cNvSpPr>
          <p:nvPr>
            <p:ph type="body" sz="quarter" idx="14" hasCustomPrompt="1"/>
          </p:nvPr>
        </p:nvSpPr>
        <p:spPr>
          <a:xfrm>
            <a:off x="838200" y="870295"/>
            <a:ext cx="10515600" cy="341632"/>
          </a:xfrm>
        </p:spPr>
        <p:txBody>
          <a:bodyPr anchor="t">
            <a:spAutoFit/>
          </a:bodyPr>
          <a:lstStyle>
            <a:lvl1pPr marL="0" inden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buNone/>
              <a:defRPr/>
            </a:lvl2pPr>
          </a:lstStyle>
          <a:p>
            <a:pPr lvl="0"/>
            <a:r>
              <a:rPr lang="en-US"/>
              <a:t>EDIT MASTER TEXT STYLES</a:t>
            </a:r>
          </a:p>
        </p:txBody>
      </p:sp>
      <p:sp>
        <p:nvSpPr>
          <p:cNvPr id="16" name="Footer Placeholder 15">
            <a:extLst>
              <a:ext uri="{FF2B5EF4-FFF2-40B4-BE49-F238E27FC236}">
                <a16:creationId xmlns:a16="http://schemas.microsoft.com/office/drawing/2014/main" id="{09C7B212-9F48-4939-8A51-4F4E18B7DE95}"/>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7" name="Slide Number Placeholder 16">
            <a:extLst>
              <a:ext uri="{FF2B5EF4-FFF2-40B4-BE49-F238E27FC236}">
                <a16:creationId xmlns:a16="http://schemas.microsoft.com/office/drawing/2014/main" id="{8A751409-4E43-4149-B163-2804714D76C9}"/>
              </a:ext>
            </a:extLst>
          </p:cNvPr>
          <p:cNvSpPr>
            <a:spLocks noGrp="1"/>
          </p:cNvSpPr>
          <p:nvPr>
            <p:ph type="sldNum" sz="quarter" idx="16"/>
          </p:nvPr>
        </p:nvSpPr>
        <p:spPr/>
        <p:txBody>
          <a:bodyPr/>
          <a:lstStyle/>
          <a:p>
            <a:fld id="{5382645D-9DD6-408C-B0EA-C65795F9B1DE}" type="slidenum">
              <a:rPr lang="en-US" smtClean="0"/>
              <a:pPr/>
              <a:t>‹#›</a:t>
            </a:fld>
            <a:endParaRPr lang="en-US"/>
          </a:p>
        </p:txBody>
      </p:sp>
      <p:sp>
        <p:nvSpPr>
          <p:cNvPr id="18" name="Title 17">
            <a:extLst>
              <a:ext uri="{FF2B5EF4-FFF2-40B4-BE49-F238E27FC236}">
                <a16:creationId xmlns:a16="http://schemas.microsoft.com/office/drawing/2014/main" id="{5E34604D-0E22-4D09-B3E8-640A440AD175}"/>
              </a:ext>
            </a:extLst>
          </p:cNvPr>
          <p:cNvSpPr>
            <a:spLocks noGrp="1"/>
          </p:cNvSpPr>
          <p:nvPr>
            <p:ph type="title" hasCustomPrompt="1"/>
          </p:nvPr>
        </p:nvSpPr>
        <p:spPr>
          <a:xfrm>
            <a:off x="838200" y="318014"/>
            <a:ext cx="10515600" cy="590931"/>
          </a:xfrm>
        </p:spPr>
        <p:txBody>
          <a:bodyPr>
            <a:spAutoFit/>
          </a:bodyPr>
          <a:lstStyle>
            <a:lvl1pPr>
              <a:defRPr sz="3600" cap="all" baseline="0"/>
            </a:lvl1pPr>
          </a:lstStyle>
          <a:p>
            <a:r>
              <a:rPr lang="en-US"/>
              <a:t>CLICK TO EDIT MASTER TITLE STYLE</a:t>
            </a:r>
          </a:p>
        </p:txBody>
      </p:sp>
      <p:grpSp>
        <p:nvGrpSpPr>
          <p:cNvPr id="19" name="Group 18">
            <a:extLst>
              <a:ext uri="{FF2B5EF4-FFF2-40B4-BE49-F238E27FC236}">
                <a16:creationId xmlns:a16="http://schemas.microsoft.com/office/drawing/2014/main" id="{D511CB4F-8BC2-4B8B-8DD9-61DF4F84F537}"/>
              </a:ext>
            </a:extLst>
          </p:cNvPr>
          <p:cNvGrpSpPr/>
          <p:nvPr userDrawn="1"/>
        </p:nvGrpSpPr>
        <p:grpSpPr>
          <a:xfrm>
            <a:off x="950173" y="6425309"/>
            <a:ext cx="1075910" cy="230941"/>
            <a:chOff x="201074" y="6425309"/>
            <a:chExt cx="1075910" cy="230941"/>
          </a:xfrm>
        </p:grpSpPr>
        <p:sp>
          <p:nvSpPr>
            <p:cNvPr id="20" name="Rectangle 19">
              <a:extLst>
                <a:ext uri="{FF2B5EF4-FFF2-40B4-BE49-F238E27FC236}">
                  <a16:creationId xmlns:a16="http://schemas.microsoft.com/office/drawing/2014/main" id="{DEFD5C4B-410B-43DB-8C27-19C6B510A646}"/>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1" name="Straight Connector 20">
              <a:extLst>
                <a:ext uri="{FF2B5EF4-FFF2-40B4-BE49-F238E27FC236}">
                  <a16:creationId xmlns:a16="http://schemas.microsoft.com/office/drawing/2014/main" id="{99305975-9BD6-4CB8-81F8-4E82F39B7D17}"/>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FD31F366-D2C9-4A9E-A20E-B3C98DB31CDA}"/>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23" name="Title 1">
              <a:extLst>
                <a:ext uri="{FF2B5EF4-FFF2-40B4-BE49-F238E27FC236}">
                  <a16:creationId xmlns:a16="http://schemas.microsoft.com/office/drawing/2014/main" id="{70EC0D0B-72FD-41AE-9F0C-BC254404DE1F}"/>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4" name="Group 23">
            <a:extLst>
              <a:ext uri="{FF2B5EF4-FFF2-40B4-BE49-F238E27FC236}">
                <a16:creationId xmlns:a16="http://schemas.microsoft.com/office/drawing/2014/main" id="{E362116A-F418-412B-B646-1DDC4267316B}"/>
              </a:ext>
            </a:extLst>
          </p:cNvPr>
          <p:cNvGrpSpPr/>
          <p:nvPr userDrawn="1"/>
        </p:nvGrpSpPr>
        <p:grpSpPr>
          <a:xfrm>
            <a:off x="950173" y="6425309"/>
            <a:ext cx="1075910" cy="230941"/>
            <a:chOff x="201074" y="6425309"/>
            <a:chExt cx="1075910" cy="230941"/>
          </a:xfrm>
        </p:grpSpPr>
        <p:sp>
          <p:nvSpPr>
            <p:cNvPr id="26" name="Rectangle 25">
              <a:extLst>
                <a:ext uri="{FF2B5EF4-FFF2-40B4-BE49-F238E27FC236}">
                  <a16:creationId xmlns:a16="http://schemas.microsoft.com/office/drawing/2014/main" id="{98636BA4-4F90-48C8-8043-3542E65708EE}"/>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8" name="Straight Connector 27">
              <a:extLst>
                <a:ext uri="{FF2B5EF4-FFF2-40B4-BE49-F238E27FC236}">
                  <a16:creationId xmlns:a16="http://schemas.microsoft.com/office/drawing/2014/main" id="{30C62726-6726-494C-A6B2-C57A3106270F}"/>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6F1E889E-9096-4C5B-B85E-761703B52355}"/>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19</a:t>
              </a:r>
              <a:endParaRPr lang="en-US" sz="1200">
                <a:solidFill>
                  <a:schemeClr val="bg1"/>
                </a:solidFill>
                <a:latin typeface="Arial Black" panose="020B0A04020102020204" pitchFamily="34" charset="0"/>
              </a:endParaRPr>
            </a:p>
          </p:txBody>
        </p:sp>
        <p:sp>
          <p:nvSpPr>
            <p:cNvPr id="30" name="Title 1">
              <a:extLst>
                <a:ext uri="{FF2B5EF4-FFF2-40B4-BE49-F238E27FC236}">
                  <a16:creationId xmlns:a16="http://schemas.microsoft.com/office/drawing/2014/main" id="{8E4CBD05-E0C4-42C5-B0A7-7BDA0323F156}"/>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Tree>
    <p:extLst>
      <p:ext uri="{BB962C8B-B14F-4D97-AF65-F5344CB8AC3E}">
        <p14:creationId xmlns:p14="http://schemas.microsoft.com/office/powerpoint/2010/main" val="22887096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image" Target="../media/image11.pn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image" Target="../media/image10.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13.png"/><Relationship Id="rId10" Type="http://schemas.openxmlformats.org/officeDocument/2006/relationships/slideLayout" Target="../slideLayouts/slideLayout36.xml"/><Relationship Id="rId19" Type="http://schemas.openxmlformats.org/officeDocument/2006/relationships/tags" Target="../tags/tag1.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E8406B-3570-46B6-B554-A2F68699B099}"/>
              </a:ext>
            </a:extLst>
          </p:cNvPr>
          <p:cNvSpPr>
            <a:spLocks noGrp="1"/>
          </p:cNvSpPr>
          <p:nvPr>
            <p:ph type="title"/>
          </p:nvPr>
        </p:nvSpPr>
        <p:spPr>
          <a:xfrm>
            <a:off x="838200" y="318014"/>
            <a:ext cx="10515600" cy="484632"/>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BC568895-CB05-426A-84FD-EF30058353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15">
            <a:extLst>
              <a:ext uri="{FF2B5EF4-FFF2-40B4-BE49-F238E27FC236}">
                <a16:creationId xmlns:a16="http://schemas.microsoft.com/office/drawing/2014/main" id="{5C943EAA-3634-4699-B417-2C55277146E9}"/>
              </a:ext>
            </a:extLst>
          </p:cNvPr>
          <p:cNvSpPr>
            <a:spLocks noGrp="1"/>
          </p:cNvSpPr>
          <p:nvPr>
            <p:ph type="sldNum" sz="quarter" idx="4"/>
          </p:nvPr>
        </p:nvSpPr>
        <p:spPr>
          <a:xfrm>
            <a:off x="10820062" y="6311900"/>
            <a:ext cx="457538" cy="338439"/>
          </a:xfrm>
          <a:prstGeom prst="rect">
            <a:avLst/>
          </a:prstGeom>
        </p:spPr>
        <p:txBody>
          <a:bodyPr vert="horz" lIns="91440" tIns="45720" rIns="91440" bIns="0" rtlCol="0" anchor="b"/>
          <a:lstStyle>
            <a:lvl1pPr algn="r">
              <a:defRPr lang="en-US" sz="800" kern="1200" smtClean="0">
                <a:solidFill>
                  <a:schemeClr val="bg1"/>
                </a:solidFill>
                <a:latin typeface="Arial Black" panose="020B0A04020102020204" pitchFamily="34" charset="0"/>
                <a:ea typeface="+mn-ea"/>
                <a:cs typeface="+mn-cs"/>
              </a:defRPr>
            </a:lvl1pPr>
          </a:lstStyle>
          <a:p>
            <a:fld id="{5382645D-9DD6-408C-B0EA-C65795F9B1DE}" type="slidenum">
              <a:rPr lang="en-US" smtClean="0"/>
              <a:pPr/>
              <a:t>‹#›</a:t>
            </a:fld>
            <a:endParaRPr lang="en-US"/>
          </a:p>
        </p:txBody>
      </p:sp>
      <p:sp>
        <p:nvSpPr>
          <p:cNvPr id="25" name="Footer Placeholder 24">
            <a:extLst>
              <a:ext uri="{FF2B5EF4-FFF2-40B4-BE49-F238E27FC236}">
                <a16:creationId xmlns:a16="http://schemas.microsoft.com/office/drawing/2014/main" id="{98AC2A1E-D71B-4987-8240-8C0A7FDF74B8}"/>
              </a:ext>
            </a:extLst>
          </p:cNvPr>
          <p:cNvSpPr>
            <a:spLocks noGrp="1"/>
          </p:cNvSpPr>
          <p:nvPr>
            <p:ph type="ftr" sz="quarter" idx="3"/>
          </p:nvPr>
        </p:nvSpPr>
        <p:spPr>
          <a:xfrm>
            <a:off x="2285412" y="6311900"/>
            <a:ext cx="8275320" cy="338439"/>
          </a:xfrm>
          <a:prstGeom prst="rect">
            <a:avLst/>
          </a:prstGeom>
        </p:spPr>
        <p:txBody>
          <a:bodyPr vert="horz" lIns="91440" tIns="45720" rIns="91440" bIns="0" rtlCol="0" anchor="b" anchorCtr="0"/>
          <a:lstStyle>
            <a:lvl1pPr algn="l">
              <a:defRPr lang="en-US" sz="800" b="0" i="0" kern="1200" dirty="0">
                <a:solidFill>
                  <a:schemeClr val="bg1"/>
                </a:solidFill>
                <a:latin typeface="Arial Narrow" charset="0"/>
                <a:ea typeface="Arial Narrow" charset="0"/>
                <a:cs typeface="Arial Narrow" charset="0"/>
              </a:defRPr>
            </a:lvl1p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4" name="MSIPCMContentMarking" descr="{&quot;HashCode&quot;:-242339457,&quot;Placement&quot;:&quot;Footer&quot;}">
            <a:extLst>
              <a:ext uri="{FF2B5EF4-FFF2-40B4-BE49-F238E27FC236}">
                <a16:creationId xmlns:a16="http://schemas.microsoft.com/office/drawing/2014/main" id="{2488FFD2-9B9F-418D-9EED-77B5C37B1B82}"/>
              </a:ext>
            </a:extLst>
          </p:cNvPr>
          <p:cNvSpPr txBox="1"/>
          <p:nvPr userDrawn="1"/>
        </p:nvSpPr>
        <p:spPr>
          <a:xfrm>
            <a:off x="10318885" y="6390570"/>
            <a:ext cx="1873115" cy="467429"/>
          </a:xfrm>
          <a:prstGeom prst="rect">
            <a:avLst/>
          </a:prstGeom>
          <a:noFill/>
        </p:spPr>
        <p:txBody>
          <a:bodyPr vert="horz" wrap="square" lIns="0" tIns="0" rIns="0" bIns="0" rtlCol="0" anchor="ctr" anchorCtr="1">
            <a:spAutoFit/>
          </a:bodyPr>
          <a:lstStyle/>
          <a:p>
            <a:pPr algn="r">
              <a:spcBef>
                <a:spcPts val="0"/>
              </a:spcBef>
              <a:spcAft>
                <a:spcPts val="0"/>
              </a:spcAft>
            </a:pPr>
            <a:r>
              <a:rPr lang="en-US" sz="2200">
                <a:solidFill>
                  <a:srgbClr val="FF8939"/>
                </a:solidFill>
                <a:latin typeface="Calibri" panose="020F0502020204030204" pitchFamily="34" charset="0"/>
              </a:rPr>
              <a:t>RESTRICTED</a:t>
            </a:r>
          </a:p>
        </p:txBody>
      </p:sp>
    </p:spTree>
    <p:extLst>
      <p:ext uri="{BB962C8B-B14F-4D97-AF65-F5344CB8AC3E}">
        <p14:creationId xmlns:p14="http://schemas.microsoft.com/office/powerpoint/2010/main" val="156808798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Lst>
  <p:hf hdr="0" dt="0"/>
  <p:txStyles>
    <p:titleStyle>
      <a:lvl1pPr algn="l" defTabSz="914400" rtl="0" eaLnBrk="1" latinLnBrk="0" hangingPunct="1">
        <a:lnSpc>
          <a:spcPct val="90000"/>
        </a:lnSpc>
        <a:spcBef>
          <a:spcPct val="0"/>
        </a:spcBef>
        <a:buNone/>
        <a:defRPr kumimoji="0" lang="en-US" sz="3600" b="0" i="0" u="none" strike="noStrike" kern="1200" cap="all" spc="0" normalizeH="0" baseline="0" dirty="0">
          <a:ln>
            <a:noFill/>
          </a:ln>
          <a:solidFill>
            <a:prstClr val="black"/>
          </a:solidFill>
          <a:effectLst/>
          <a:uLnTx/>
          <a:uFillTx/>
          <a:latin typeface="Arial Black" panose="020B0A040201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104">
          <p15:clr>
            <a:srgbClr val="F26B43"/>
          </p15:clr>
        </p15:guide>
        <p15:guide id="3" pos="593">
          <p15:clr>
            <a:srgbClr val="F26B43"/>
          </p15:clr>
        </p15:guide>
        <p15:guide id="4" orient="horz" pos="2160">
          <p15:clr>
            <a:srgbClr val="F26B43"/>
          </p15:clr>
        </p15:guide>
        <p15:guide id="5" orient="horz" pos="254">
          <p15:clr>
            <a:srgbClr val="F26B43"/>
          </p15:clr>
        </p15:guide>
        <p15:guide id="6" orient="horz" pos="89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D9247B-7051-4DBD-8540-3BFDAC611952}" type="datetime1">
              <a:rPr lang="en-US" smtClean="0"/>
              <a:t>10/13/2021</a:t>
            </a:fld>
            <a:endParaRPr lang="en-US"/>
          </a:p>
        </p:txBody>
      </p:sp>
      <p:sp>
        <p:nvSpPr>
          <p:cNvPr id="5" name="Footer Placeholder 4"/>
          <p:cNvSpPr>
            <a:spLocks noGrp="1"/>
          </p:cNvSpPr>
          <p:nvPr>
            <p:ph type="ftr" sz="quarter" idx="3"/>
          </p:nvPr>
        </p:nvSpPr>
        <p:spPr bwMode="gray">
          <a:xfrm>
            <a:off x="974799" y="6617933"/>
            <a:ext cx="8641125"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Bayer 16:9 Template /// September 2018</a:t>
            </a:r>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sp>
        <p:nvSpPr>
          <p:cNvPr id="7" name="empower - DO NOT DELETE!!!" hidden="1"/>
          <p:cNvSpPr/>
          <p:nvPr userDrawn="1">
            <p:custDataLst>
              <p:tags r:id="rId19"/>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800"/>
          </a:p>
        </p:txBody>
      </p:sp>
      <p:sp>
        <p:nvSpPr>
          <p:cNvPr id="8" name="MSIPCMContentMarking" descr="{&quot;HashCode&quot;:-242339457,&quot;Placement&quot;:&quot;Footer&quot;}">
            <a:extLst>
              <a:ext uri="{FF2B5EF4-FFF2-40B4-BE49-F238E27FC236}">
                <a16:creationId xmlns:a16="http://schemas.microsoft.com/office/drawing/2014/main" id="{BB382003-07C6-4C99-A2B5-AB312B94EDE5}"/>
              </a:ext>
            </a:extLst>
          </p:cNvPr>
          <p:cNvSpPr txBox="1"/>
          <p:nvPr userDrawn="1"/>
        </p:nvSpPr>
        <p:spPr bwMode="gray">
          <a:xfrm>
            <a:off x="10318885" y="6390570"/>
            <a:ext cx="1873115" cy="467429"/>
          </a:xfrm>
          <a:prstGeom prst="rect">
            <a:avLst/>
          </a:prstGeom>
          <a:noFill/>
        </p:spPr>
        <p:txBody>
          <a:bodyPr vert="horz" wrap="square" lIns="0" tIns="0" rIns="0" bIns="0" rtlCol="0" anchor="ctr" anchorCtr="1">
            <a:noAutofit/>
          </a:bodyPr>
          <a:lstStyle/>
          <a:p>
            <a:pPr algn="r" rtl="0" eaLnBrk="1" fontAlgn="auto" hangingPunct="1">
              <a:lnSpc>
                <a:spcPct val="100000"/>
              </a:lnSpc>
              <a:spcBef>
                <a:spcPts val="0"/>
              </a:spcBef>
              <a:spcAft>
                <a:spcPts val="0"/>
              </a:spcAft>
            </a:pPr>
            <a:r>
              <a:rPr lang="en-US" sz="2200" b="0" i="0" u="none" baseline="0">
                <a:solidFill>
                  <a:srgbClr val="FF8939"/>
                </a:solidFill>
                <a:latin typeface="Calibri" panose="020F0502020204030204" pitchFamily="34" charset="0"/>
              </a:rPr>
              <a:t>RESTRICTED</a:t>
            </a:r>
          </a:p>
        </p:txBody>
      </p:sp>
    </p:spTree>
    <p:extLst>
      <p:ext uri="{BB962C8B-B14F-4D97-AF65-F5344CB8AC3E}">
        <p14:creationId xmlns:p14="http://schemas.microsoft.com/office/powerpoint/2010/main" val="576124488"/>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0"/>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1"/>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2"/>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25.jpe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hyperlink" Target="http://www.xtendimaxapplicationrequirements.com"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34.jpe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hyperlink" Target="http://www.xtendimaxapplicationrequirements.com" TargetMode="External"/><Relationship Id="rId5" Type="http://schemas.openxmlformats.org/officeDocument/2006/relationships/chart" Target="../charts/chart7.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13.xml"/><Relationship Id="rId5" Type="http://schemas.openxmlformats.org/officeDocument/2006/relationships/hyperlink" Target="http://www.xtendimaxapplicationrequirements.com" TargetMode="Externa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39.jpeg"/><Relationship Id="rId5" Type="http://schemas.openxmlformats.org/officeDocument/2006/relationships/image" Target="../media/image38.jpeg"/><Relationship Id="rId10" Type="http://schemas.openxmlformats.org/officeDocument/2006/relationships/image" Target="../media/image18.png"/><Relationship Id="rId4" Type="http://schemas.openxmlformats.org/officeDocument/2006/relationships/image" Target="../media/image37.jpeg"/><Relationship Id="rId9"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hyperlink" Target="http://www.xtendimaxapplicationrequirements.com/" TargetMode="External"/><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5.xml"/><Relationship Id="rId1" Type="http://schemas.openxmlformats.org/officeDocument/2006/relationships/slideLayout" Target="../slideLayouts/slideLayout13.xml"/><Relationship Id="rId5" Type="http://schemas.openxmlformats.org/officeDocument/2006/relationships/image" Target="../media/image43.png"/><Relationship Id="rId4" Type="http://schemas.openxmlformats.org/officeDocument/2006/relationships/image" Target="../media/image18.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7.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18.png"/></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4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51.png"/></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1.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2.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3.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4.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5.xml"/><Relationship Id="rId1" Type="http://schemas.openxmlformats.org/officeDocument/2006/relationships/slideLayout" Target="../slideLayouts/slideLayout19.xml"/><Relationship Id="rId5" Type="http://schemas.openxmlformats.org/officeDocument/2006/relationships/image" Target="../media/image18.png"/><Relationship Id="rId4" Type="http://schemas.openxmlformats.org/officeDocument/2006/relationships/image" Target="../media/image54.png"/></Relationships>
</file>

<file path=ppt/slides/_rels/slide46.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18.png"/><Relationship Id="rId7" Type="http://schemas.openxmlformats.org/officeDocument/2006/relationships/image" Target="../media/image57.jpeg"/><Relationship Id="rId2" Type="http://schemas.openxmlformats.org/officeDocument/2006/relationships/notesSlide" Target="../notesSlides/notesSlide46.xml"/><Relationship Id="rId1" Type="http://schemas.openxmlformats.org/officeDocument/2006/relationships/slideLayout" Target="../slideLayouts/slideLayout19.xml"/><Relationship Id="rId6" Type="http://schemas.openxmlformats.org/officeDocument/2006/relationships/image" Target="../media/image54.png"/><Relationship Id="rId5" Type="http://schemas.openxmlformats.org/officeDocument/2006/relationships/image" Target="../media/image56.jpeg"/><Relationship Id="rId4" Type="http://schemas.openxmlformats.org/officeDocument/2006/relationships/image" Target="../media/image55.jpeg"/></Relationships>
</file>

<file path=ppt/slides/_rels/slide4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47.xml"/><Relationship Id="rId7" Type="http://schemas.openxmlformats.org/officeDocument/2006/relationships/image" Target="../media/image18.png"/><Relationship Id="rId2"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59.emf"/><Relationship Id="rId4" Type="http://schemas.openxmlformats.org/officeDocument/2006/relationships/oleObject" Target="../embeddings/oleObject1.bin"/><Relationship Id="rId9" Type="http://schemas.openxmlformats.org/officeDocument/2006/relationships/hyperlink" Target="https://iwilltakeaction.com/uploads/files/2020-take-action-herbicide-classification-chart.pdf"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8.xml"/><Relationship Id="rId1" Type="http://schemas.openxmlformats.org/officeDocument/2006/relationships/slideLayout" Target="../slideLayouts/slideLayout2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60.jpeg"/></Relationships>
</file>

<file path=ppt/slides/_rels/slide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9.xml"/><Relationship Id="rId1" Type="http://schemas.openxmlformats.org/officeDocument/2006/relationships/slideLayout" Target="../slideLayouts/slideLayout2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61.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18.png"/><Relationship Id="rId2" Type="http://schemas.openxmlformats.org/officeDocument/2006/relationships/notesSlide" Target="../notesSlides/notesSlide50.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image" Target="../media/image64.jpeg"/><Relationship Id="rId4" Type="http://schemas.openxmlformats.org/officeDocument/2006/relationships/image" Target="../media/image63.jpeg"/></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1.xml"/><Relationship Id="rId1" Type="http://schemas.openxmlformats.org/officeDocument/2006/relationships/slideLayout" Target="../slideLayouts/slideLayout19.xml"/><Relationship Id="rId5" Type="http://schemas.openxmlformats.org/officeDocument/2006/relationships/hyperlink" Target="http://www.xtendimaxapplicationrequirements.com" TargetMode="External"/><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65.jpeg"/><Relationship Id="rId7" Type="http://schemas.openxmlformats.org/officeDocument/2006/relationships/image" Target="../media/image17.png"/><Relationship Id="rId2" Type="http://schemas.openxmlformats.org/officeDocument/2006/relationships/notesSlide" Target="../notesSlides/notesSlide52.xml"/><Relationship Id="rId1" Type="http://schemas.openxmlformats.org/officeDocument/2006/relationships/slideLayout" Target="../slideLayouts/slideLayout19.xml"/><Relationship Id="rId6" Type="http://schemas.openxmlformats.org/officeDocument/2006/relationships/image" Target="../media/image74.svg"/><Relationship Id="rId5" Type="http://schemas.openxmlformats.org/officeDocument/2006/relationships/image" Target="../media/image67.png"/><Relationship Id="rId4" Type="http://schemas.openxmlformats.org/officeDocument/2006/relationships/image" Target="../media/image66.jpeg"/></Relationships>
</file>

<file path=ppt/slides/_rels/slide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3.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4.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5.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6.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7.xml"/><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8.xml"/><Relationship Id="rId1" Type="http://schemas.openxmlformats.org/officeDocument/2006/relationships/slideLayout" Target="../slideLayouts/slideLayout19.xml"/><Relationship Id="rId4" Type="http://schemas.openxmlformats.org/officeDocument/2006/relationships/image" Target="../media/image18.png"/></Relationships>
</file>

<file path=ppt/slides/_rels/slide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9.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2.jpeg"/><Relationship Id="rId4" Type="http://schemas.openxmlformats.org/officeDocument/2006/relationships/image" Target="../media/image21.jpeg"/></Relationships>
</file>

<file path=ppt/slides/_rels/slide6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17.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5" Type="http://schemas.openxmlformats.org/officeDocument/2006/relationships/image" Target="../media/image71.png"/><Relationship Id="rId4" Type="http://schemas.openxmlformats.org/officeDocument/2006/relationships/image" Target="../media/image70.png"/></Relationships>
</file>

<file path=ppt/slides/_rels/slide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2.png"/></Relationships>
</file>

<file path=ppt/slides/_rels/slide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3.png"/></Relationships>
</file>

<file path=ppt/slides/_rels/slide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4.png"/></Relationships>
</file>

<file path=ppt/slides/_rels/slide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5.png"/></Relationships>
</file>

<file path=ppt/slides/_rels/slide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6.png"/></Relationships>
</file>

<file path=ppt/slides/_rels/slide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7.png"/></Relationships>
</file>

<file path=ppt/slides/_rels/slide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8.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79.png"/></Relationships>
</file>

<file path=ppt/slides/_rels/slide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0.png"/></Relationships>
</file>

<file path=ppt/slides/_rels/slide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1.png"/></Relationships>
</file>

<file path=ppt/slides/_rels/slide7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2.png"/></Relationships>
</file>

<file path=ppt/slides/_rels/slide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3.png"/></Relationships>
</file>

<file path=ppt/slides/_rels/slide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4.png"/></Relationships>
</file>

<file path=ppt/slides/_rels/slide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5.png"/></Relationships>
</file>

<file path=ppt/slides/_rels/slide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6.png"/></Relationships>
</file>

<file path=ppt/slides/_rels/slide7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7.png"/></Relationships>
</file>

<file path=ppt/slides/_rels/slide7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8.png"/></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image" Target="../media/image30.svg"/><Relationship Id="rId4"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89.png"/></Relationships>
</file>

<file path=ppt/slides/_rels/slide8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0.png"/></Relationships>
</file>

<file path=ppt/slides/_rels/slide8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1.png"/></Relationships>
</file>

<file path=ppt/slides/_rels/slide8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2.png"/></Relationships>
</file>

<file path=ppt/slides/_rels/slide8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3.png"/></Relationships>
</file>

<file path=ppt/slides/_rels/slide8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4.png"/></Relationships>
</file>

<file path=ppt/slides/_rels/slide8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5.png"/></Relationships>
</file>

<file path=ppt/slides/_rels/slide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6.png"/></Relationships>
</file>

<file path=ppt/slides/_rels/slide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7.png"/></Relationships>
</file>

<file path=ppt/slides/_rels/slide8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9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9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1.xml"/><Relationship Id="rId1" Type="http://schemas.openxmlformats.org/officeDocument/2006/relationships/slideLayout" Target="../slideLayouts/slideLayout2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99.jpeg"/></Relationships>
</file>

<file path=ppt/slides/_rels/slide9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54.png"/><Relationship Id="rId1" Type="http://schemas.openxmlformats.org/officeDocument/2006/relationships/slideLayout" Target="../slideLayouts/slideLayout21.xml"/><Relationship Id="rId5" Type="http://schemas.openxmlformats.org/officeDocument/2006/relationships/image" Target="../media/image18.png"/><Relationship Id="rId4" Type="http://schemas.openxmlformats.org/officeDocument/2006/relationships/image" Target="../media/image17.png"/></Relationships>
</file>

<file path=ppt/slides/_rels/slide92.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54.png"/><Relationship Id="rId1" Type="http://schemas.openxmlformats.org/officeDocument/2006/relationships/slideLayout" Target="../slideLayouts/slideLayout21.xml"/><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E9A4F85-2A2A-43CD-804B-773BEF22259C}"/>
              </a:ext>
            </a:extLst>
          </p:cNvPr>
          <p:cNvSpPr>
            <a:spLocks noGrp="1"/>
          </p:cNvSpPr>
          <p:nvPr>
            <p:ph type="body" sz="quarter" idx="10"/>
          </p:nvPr>
        </p:nvSpPr>
        <p:spPr>
          <a:xfrm>
            <a:off x="2709646" y="3325524"/>
            <a:ext cx="6772275" cy="1582737"/>
          </a:xfrm>
        </p:spPr>
        <p:txBody>
          <a:bodyPr/>
          <a:lstStyle/>
          <a:p>
            <a:r>
              <a:rPr lang="en-US"/>
              <a:t>APPLICATION REQUIREMENTS</a:t>
            </a:r>
          </a:p>
        </p:txBody>
      </p:sp>
      <p:sp>
        <p:nvSpPr>
          <p:cNvPr id="11" name="Text Placeholder 10">
            <a:extLst>
              <a:ext uri="{FF2B5EF4-FFF2-40B4-BE49-F238E27FC236}">
                <a16:creationId xmlns:a16="http://schemas.microsoft.com/office/drawing/2014/main" id="{B01F4352-D80A-48DB-8308-01C9F70FE773}"/>
              </a:ext>
            </a:extLst>
          </p:cNvPr>
          <p:cNvSpPr>
            <a:spLocks noGrp="1"/>
          </p:cNvSpPr>
          <p:nvPr>
            <p:ph type="body" sz="quarter" idx="11"/>
          </p:nvPr>
        </p:nvSpPr>
        <p:spPr>
          <a:xfrm>
            <a:off x="2709646" y="4829216"/>
            <a:ext cx="6743700" cy="457108"/>
          </a:xfrm>
        </p:spPr>
        <p:txBody>
          <a:bodyPr>
            <a:normAutofit/>
          </a:bodyPr>
          <a:lstStyle/>
          <a:p>
            <a:r>
              <a:rPr lang="en-US"/>
              <a:t>TRAINING AND EDUCATION</a:t>
            </a:r>
          </a:p>
        </p:txBody>
      </p:sp>
      <p:sp>
        <p:nvSpPr>
          <p:cNvPr id="13" name="Text Placeholder 12">
            <a:extLst>
              <a:ext uri="{FF2B5EF4-FFF2-40B4-BE49-F238E27FC236}">
                <a16:creationId xmlns:a16="http://schemas.microsoft.com/office/drawing/2014/main" id="{84D99A74-A58F-4B40-867C-7899B8FD8693}"/>
              </a:ext>
            </a:extLst>
          </p:cNvPr>
          <p:cNvSpPr>
            <a:spLocks noGrp="1"/>
          </p:cNvSpPr>
          <p:nvPr>
            <p:ph type="body" sz="quarter" idx="12"/>
          </p:nvPr>
        </p:nvSpPr>
        <p:spPr>
          <a:xfrm>
            <a:off x="1281881" y="3144890"/>
            <a:ext cx="841248" cy="2670048"/>
          </a:xfrm>
        </p:spPr>
        <p:txBody>
          <a:bodyPr>
            <a:noAutofit/>
          </a:bodyPr>
          <a:lstStyle/>
          <a:p>
            <a:r>
              <a:rPr lang="en-US" sz="5400">
                <a:solidFill>
                  <a:schemeClr val="bg1"/>
                </a:solidFill>
              </a:rPr>
              <a:t>2021</a:t>
            </a:r>
          </a:p>
        </p:txBody>
      </p:sp>
      <p:sp>
        <p:nvSpPr>
          <p:cNvPr id="14" name="Text Placeholder 13">
            <a:extLst>
              <a:ext uri="{FF2B5EF4-FFF2-40B4-BE49-F238E27FC236}">
                <a16:creationId xmlns:a16="http://schemas.microsoft.com/office/drawing/2014/main" id="{90B9BC5D-74DF-47CF-A593-BBB6F43FFB21}"/>
              </a:ext>
            </a:extLst>
          </p:cNvPr>
          <p:cNvSpPr>
            <a:spLocks noGrp="1"/>
          </p:cNvSpPr>
          <p:nvPr>
            <p:ph type="body" sz="quarter" idx="13"/>
          </p:nvPr>
        </p:nvSpPr>
        <p:spPr/>
        <p:txBody>
          <a:bodyPr/>
          <a:lstStyle/>
          <a:p>
            <a:r>
              <a:rPr lang="en-US"/>
              <a:t>APPROVED DICAMBA FORMULATIONS </a:t>
            </a:r>
          </a:p>
        </p:txBody>
      </p:sp>
      <p:sp>
        <p:nvSpPr>
          <p:cNvPr id="18" name="Text Placeholder 17">
            <a:extLst>
              <a:ext uri="{FF2B5EF4-FFF2-40B4-BE49-F238E27FC236}">
                <a16:creationId xmlns:a16="http://schemas.microsoft.com/office/drawing/2014/main" id="{7F364EF3-62BB-4D6F-87F2-1B618BA7ECC5}"/>
              </a:ext>
            </a:extLst>
          </p:cNvPr>
          <p:cNvSpPr>
            <a:spLocks noGrp="1"/>
          </p:cNvSpPr>
          <p:nvPr>
            <p:ph type="body" sz="quarter" idx="14"/>
          </p:nvPr>
        </p:nvSpPr>
        <p:spPr/>
        <p:txBody>
          <a:bodyPr/>
          <a:lstStyle/>
          <a:p>
            <a:r>
              <a:rPr lang="en-US"/>
              <a:t>FOR USE IN THE ROUNDUP READY</a:t>
            </a:r>
            <a:r>
              <a:rPr lang="en-US" baseline="30000"/>
              <a:t>®</a:t>
            </a:r>
            <a:r>
              <a:rPr lang="en-US"/>
              <a:t> XTEND CROP SYSTEM</a:t>
            </a:r>
          </a:p>
        </p:txBody>
      </p:sp>
      <p:sp>
        <p:nvSpPr>
          <p:cNvPr id="15" name="Text Placeholder 10">
            <a:extLst>
              <a:ext uri="{FF2B5EF4-FFF2-40B4-BE49-F238E27FC236}">
                <a16:creationId xmlns:a16="http://schemas.microsoft.com/office/drawing/2014/main" id="{B2FBBD57-B3C9-4EA6-9987-490237528F80}"/>
              </a:ext>
            </a:extLst>
          </p:cNvPr>
          <p:cNvSpPr txBox="1">
            <a:spLocks/>
          </p:cNvSpPr>
          <p:nvPr/>
        </p:nvSpPr>
        <p:spPr>
          <a:xfrm>
            <a:off x="2709646" y="5404766"/>
            <a:ext cx="4610103" cy="211050"/>
          </a:xfrm>
          <a:prstGeom prst="rect">
            <a:avLst/>
          </a:pr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lang="en-US" sz="2400" kern="1200" cap="all" spc="600" baseline="0" dirty="0" smtClean="0">
                <a:solidFill>
                  <a:schemeClr val="bg1"/>
                </a:solidFill>
                <a:latin typeface="+mn-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a:t>Provided by Bayer</a:t>
            </a:r>
          </a:p>
        </p:txBody>
      </p:sp>
      <p:sp>
        <p:nvSpPr>
          <p:cNvPr id="10" name="Text Placeholder 17">
            <a:extLst>
              <a:ext uri="{FF2B5EF4-FFF2-40B4-BE49-F238E27FC236}">
                <a16:creationId xmlns:a16="http://schemas.microsoft.com/office/drawing/2014/main" id="{D468C8D8-80E2-4379-9DFA-411A0F635631}"/>
              </a:ext>
            </a:extLst>
          </p:cNvPr>
          <p:cNvSpPr txBox="1">
            <a:spLocks/>
          </p:cNvSpPr>
          <p:nvPr/>
        </p:nvSpPr>
        <p:spPr>
          <a:xfrm>
            <a:off x="6167336" y="1470169"/>
            <a:ext cx="5358320" cy="369332"/>
          </a:xfrm>
          <a:prstGeom prst="rect">
            <a:avLst/>
          </a:prstGeom>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tabLst>
                <a:tab pos="57150" algn="l"/>
                <a:tab pos="114300" algn="l"/>
              </a:tabLst>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B050"/>
                </a:solidFill>
                <a:latin typeface="Arial Narrow"/>
              </a:rPr>
              <a:t>New information for 2021</a:t>
            </a:r>
          </a:p>
        </p:txBody>
      </p:sp>
      <p:cxnSp>
        <p:nvCxnSpPr>
          <p:cNvPr id="12" name="Straight Connector 11">
            <a:extLst>
              <a:ext uri="{FF2B5EF4-FFF2-40B4-BE49-F238E27FC236}">
                <a16:creationId xmlns:a16="http://schemas.microsoft.com/office/drawing/2014/main" id="{9BADEE8B-AE36-4F33-8836-FAF3AFF79563}"/>
              </a:ext>
            </a:extLst>
          </p:cNvPr>
          <p:cNvCxnSpPr>
            <a:cxnSpLocks/>
          </p:cNvCxnSpPr>
          <p:nvPr/>
        </p:nvCxnSpPr>
        <p:spPr>
          <a:xfrm>
            <a:off x="5973426" y="1849462"/>
            <a:ext cx="57456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B609D03-93D6-44B8-A905-7F83F7B72EBC}"/>
              </a:ext>
            </a:extLst>
          </p:cNvPr>
          <p:cNvCxnSpPr>
            <a:cxnSpLocks/>
          </p:cNvCxnSpPr>
          <p:nvPr/>
        </p:nvCxnSpPr>
        <p:spPr>
          <a:xfrm>
            <a:off x="5973426" y="1468823"/>
            <a:ext cx="57456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5725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026BA755-9AB2-45A4-B0AB-21630D4AEE0D}"/>
              </a:ext>
            </a:extLst>
          </p:cNvPr>
          <p:cNvSpPr/>
          <p:nvPr/>
        </p:nvSpPr>
        <p:spPr>
          <a:xfrm>
            <a:off x="0" y="4550917"/>
            <a:ext cx="5003548" cy="1767514"/>
          </a:xfrm>
          <a:prstGeom prst="rect">
            <a:avLst/>
          </a:prstGeom>
          <a:gradFill>
            <a:gsLst>
              <a:gs pos="0">
                <a:schemeClr val="tx1">
                  <a:alpha val="0"/>
                </a:schemeClr>
              </a:gs>
              <a:gs pos="100000">
                <a:schemeClr val="tx1">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 Placeholder 15">
            <a:extLst>
              <a:ext uri="{FF2B5EF4-FFF2-40B4-BE49-F238E27FC236}">
                <a16:creationId xmlns:a16="http://schemas.microsoft.com/office/drawing/2014/main" id="{272973D0-9E81-4F47-A2BB-ED2E3E7BAC54}"/>
              </a:ext>
            </a:extLst>
          </p:cNvPr>
          <p:cNvSpPr>
            <a:spLocks noGrp="1"/>
          </p:cNvSpPr>
          <p:nvPr>
            <p:ph type="body" sz="quarter" idx="14"/>
          </p:nvPr>
        </p:nvSpPr>
        <p:spPr>
          <a:xfrm>
            <a:off x="5450546" y="870295"/>
            <a:ext cx="5903254" cy="341632"/>
          </a:xfrm>
        </p:spPr>
        <p:txBody>
          <a:bodyPr/>
          <a:lstStyle/>
          <a:p>
            <a:r>
              <a:rPr lang="en-US"/>
              <a:t>Requirements</a:t>
            </a:r>
          </a:p>
        </p:txBody>
      </p:sp>
      <p:sp>
        <p:nvSpPr>
          <p:cNvPr id="13" name="Title 12">
            <a:extLst>
              <a:ext uri="{FF2B5EF4-FFF2-40B4-BE49-F238E27FC236}">
                <a16:creationId xmlns:a16="http://schemas.microsoft.com/office/drawing/2014/main" id="{38BD1F65-4B67-4A5A-9A60-ACC4549C7E87}"/>
              </a:ext>
            </a:extLst>
          </p:cNvPr>
          <p:cNvSpPr>
            <a:spLocks noGrp="1"/>
          </p:cNvSpPr>
          <p:nvPr>
            <p:ph type="title"/>
          </p:nvPr>
        </p:nvSpPr>
        <p:spPr>
          <a:xfrm>
            <a:off x="5450546" y="318014"/>
            <a:ext cx="5903254" cy="590931"/>
          </a:xfrm>
        </p:spPr>
        <p:txBody>
          <a:bodyPr/>
          <a:lstStyle/>
          <a:p>
            <a:r>
              <a:rPr lang="en-US"/>
              <a:t>Record Keeping</a:t>
            </a:r>
          </a:p>
        </p:txBody>
      </p:sp>
      <p:sp>
        <p:nvSpPr>
          <p:cNvPr id="37" name="Content Placeholder 12">
            <a:extLst>
              <a:ext uri="{FF2B5EF4-FFF2-40B4-BE49-F238E27FC236}">
                <a16:creationId xmlns:a16="http://schemas.microsoft.com/office/drawing/2014/main" id="{6C54333C-63EC-4EA0-A7DE-0E32441AF9E6}"/>
              </a:ext>
            </a:extLst>
          </p:cNvPr>
          <p:cNvSpPr>
            <a:spLocks noGrp="1"/>
          </p:cNvSpPr>
          <p:nvPr>
            <p:ph sz="half" idx="1"/>
          </p:nvPr>
        </p:nvSpPr>
        <p:spPr>
          <a:xfrm>
            <a:off x="5280578" y="1513704"/>
            <a:ext cx="6833419" cy="4727075"/>
          </a:xfrm>
        </p:spPr>
        <p:txBody>
          <a:bodyPr vert="horz" lIns="91440" tIns="45720" rIns="91440" bIns="45720" rtlCol="0" anchor="t">
            <a:noAutofit/>
          </a:bodyPr>
          <a:lstStyle/>
          <a:p>
            <a:pPr>
              <a:lnSpc>
                <a:spcPct val="100000"/>
              </a:lnSpc>
              <a:spcBef>
                <a:spcPts val="600"/>
              </a:spcBef>
              <a:spcAft>
                <a:spcPts val="600"/>
              </a:spcAft>
            </a:pPr>
            <a:r>
              <a:rPr lang="en-US" sz="1800">
                <a:solidFill>
                  <a:schemeClr val="bg2">
                    <a:lumMod val="10000"/>
                  </a:schemeClr>
                </a:solidFill>
              </a:rPr>
              <a:t>Required for each application of these products.</a:t>
            </a:r>
          </a:p>
          <a:p>
            <a:pPr>
              <a:lnSpc>
                <a:spcPct val="100000"/>
              </a:lnSpc>
              <a:spcBef>
                <a:spcPts val="600"/>
              </a:spcBef>
              <a:spcAft>
                <a:spcPts val="600"/>
              </a:spcAft>
            </a:pPr>
            <a:r>
              <a:rPr lang="en-US" sz="1800">
                <a:solidFill>
                  <a:schemeClr val="bg2">
                    <a:lumMod val="10000"/>
                  </a:schemeClr>
                </a:solidFill>
              </a:rPr>
              <a:t>The certified applicator must keep required documentation for a period of two years; records must be generated as soon as practical but no later than </a:t>
            </a:r>
            <a:r>
              <a:rPr lang="en-US" sz="1800" b="1">
                <a:solidFill>
                  <a:schemeClr val="bg2">
                    <a:lumMod val="10000"/>
                  </a:schemeClr>
                </a:solidFill>
              </a:rPr>
              <a:t>72 hours</a:t>
            </a:r>
            <a:r>
              <a:rPr lang="en-US" sz="1800">
                <a:solidFill>
                  <a:schemeClr val="bg2">
                    <a:lumMod val="10000"/>
                  </a:schemeClr>
                </a:solidFill>
              </a:rPr>
              <a:t> after application.</a:t>
            </a:r>
            <a:endParaRPr lang="en-US" sz="1800">
              <a:solidFill>
                <a:schemeClr val="bg2">
                  <a:lumMod val="10000"/>
                </a:schemeClr>
              </a:solidFill>
              <a:cs typeface="Arial"/>
            </a:endParaRPr>
          </a:p>
          <a:p>
            <a:pPr marL="457200" lvl="1" indent="0">
              <a:lnSpc>
                <a:spcPct val="100000"/>
              </a:lnSpc>
              <a:spcBef>
                <a:spcPts val="600"/>
              </a:spcBef>
              <a:spcAft>
                <a:spcPts val="600"/>
              </a:spcAft>
              <a:buNone/>
            </a:pPr>
            <a:r>
              <a:rPr lang="en-US" sz="1600"/>
              <a:t>e.g., if 10 fields are sprayed, 10 sets of records are required, including if the same field is sprayed twice</a:t>
            </a:r>
            <a:endParaRPr lang="en-US" sz="1600">
              <a:cs typeface="Arial"/>
            </a:endParaRPr>
          </a:p>
          <a:p>
            <a:pPr>
              <a:lnSpc>
                <a:spcPct val="100000"/>
              </a:lnSpc>
              <a:spcBef>
                <a:spcPts val="600"/>
              </a:spcBef>
              <a:spcAft>
                <a:spcPts val="600"/>
              </a:spcAft>
            </a:pPr>
            <a:r>
              <a:rPr lang="en-US" sz="1800">
                <a:solidFill>
                  <a:srgbClr val="00B050"/>
                </a:solidFill>
              </a:rPr>
              <a:t>Copies of receipts for required VRA and DRA purchases are required and the amounts used in each tank load must be recorded.</a:t>
            </a:r>
            <a:endParaRPr lang="en-US" sz="1800">
              <a:solidFill>
                <a:srgbClr val="00B050"/>
              </a:solidFill>
              <a:cs typeface="Arial"/>
            </a:endParaRPr>
          </a:p>
          <a:p>
            <a:pPr marL="0" indent="0">
              <a:lnSpc>
                <a:spcPct val="100000"/>
              </a:lnSpc>
              <a:spcBef>
                <a:spcPts val="600"/>
              </a:spcBef>
              <a:spcAft>
                <a:spcPts val="600"/>
              </a:spcAft>
              <a:buNone/>
            </a:pPr>
            <a:r>
              <a:rPr lang="en-US" sz="1800">
                <a:solidFill>
                  <a:schemeClr val="bg2">
                    <a:lumMod val="10000"/>
                  </a:schemeClr>
                </a:solidFill>
              </a:rPr>
              <a:t>Records must be made available to State Pesticide Control Official(s), USDA and EPA upon request.   </a:t>
            </a:r>
            <a:endParaRPr lang="en-US" sz="1800"/>
          </a:p>
        </p:txBody>
      </p:sp>
      <p:cxnSp>
        <p:nvCxnSpPr>
          <p:cNvPr id="15" name="Straight Connector 14">
            <a:extLst>
              <a:ext uri="{FF2B5EF4-FFF2-40B4-BE49-F238E27FC236}">
                <a16:creationId xmlns:a16="http://schemas.microsoft.com/office/drawing/2014/main" id="{0E77C8DB-9618-46E8-9DD9-DEA0C152ADCA}"/>
              </a:ext>
            </a:extLst>
          </p:cNvPr>
          <p:cNvCxnSpPr>
            <a:cxnSpLocks/>
          </p:cNvCxnSpPr>
          <p:nvPr/>
        </p:nvCxnSpPr>
        <p:spPr>
          <a:xfrm>
            <a:off x="5638113" y="3016580"/>
            <a:ext cx="0" cy="438807"/>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0EE6370-EC98-4FAA-BECE-9F20AFA94AB1}"/>
              </a:ext>
            </a:extLst>
          </p:cNvPr>
          <p:cNvCxnSpPr>
            <a:cxnSpLocks/>
          </p:cNvCxnSpPr>
          <p:nvPr/>
        </p:nvCxnSpPr>
        <p:spPr>
          <a:xfrm>
            <a:off x="5367772" y="1309150"/>
            <a:ext cx="66268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284CCD1-60B5-4895-863D-C483A740E9FC}"/>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45555EDE-BE05-453B-A7D1-B2DD409C4570}"/>
              </a:ext>
            </a:extLst>
          </p:cNvPr>
          <p:cNvGrpSpPr/>
          <p:nvPr/>
        </p:nvGrpSpPr>
        <p:grpSpPr>
          <a:xfrm>
            <a:off x="950173" y="6425309"/>
            <a:ext cx="1075910" cy="230941"/>
            <a:chOff x="201074" y="6425309"/>
            <a:chExt cx="1075910" cy="230941"/>
          </a:xfrm>
        </p:grpSpPr>
        <p:sp>
          <p:nvSpPr>
            <p:cNvPr id="19" name="Rectangle 18">
              <a:extLst>
                <a:ext uri="{FF2B5EF4-FFF2-40B4-BE49-F238E27FC236}">
                  <a16:creationId xmlns:a16="http://schemas.microsoft.com/office/drawing/2014/main" id="{0D9C1011-F66E-4E4D-B774-4DDB013A00AC}"/>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EC3BDCBB-0B12-4BF3-865F-07C8DAE32318}"/>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6A5E8EBA-39C0-4E59-A8CA-AC714962F8C3}"/>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22" name="Title 1">
              <a:extLst>
                <a:ext uri="{FF2B5EF4-FFF2-40B4-BE49-F238E27FC236}">
                  <a16:creationId xmlns:a16="http://schemas.microsoft.com/office/drawing/2014/main" id="{70652322-3779-4935-9220-D4EADA3A08A0}"/>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2" name="Footer Placeholder 1">
            <a:extLst>
              <a:ext uri="{FF2B5EF4-FFF2-40B4-BE49-F238E27FC236}">
                <a16:creationId xmlns:a16="http://schemas.microsoft.com/office/drawing/2014/main" id="{0B8C2399-C574-45D1-801E-DDD16DCDF5A1}"/>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899C1F41-B51A-4400-862C-1ABE095A4771}"/>
              </a:ext>
            </a:extLst>
          </p:cNvPr>
          <p:cNvSpPr>
            <a:spLocks noGrp="1"/>
          </p:cNvSpPr>
          <p:nvPr>
            <p:ph type="sldNum" sz="quarter" idx="16"/>
          </p:nvPr>
        </p:nvSpPr>
        <p:spPr/>
        <p:txBody>
          <a:bodyPr/>
          <a:lstStyle/>
          <a:p>
            <a:fld id="{5382645D-9DD6-408C-B0EA-C65795F9B1DE}" type="slidenum">
              <a:rPr lang="en-US" smtClean="0"/>
              <a:pPr/>
              <a:t>10</a:t>
            </a:fld>
            <a:endParaRPr lang="en-US"/>
          </a:p>
        </p:txBody>
      </p:sp>
      <p:pic>
        <p:nvPicPr>
          <p:cNvPr id="23" name="Picture 22">
            <a:extLst>
              <a:ext uri="{FF2B5EF4-FFF2-40B4-BE49-F238E27FC236}">
                <a16:creationId xmlns:a16="http://schemas.microsoft.com/office/drawing/2014/main" id="{A2FC6335-D132-4D5C-A7DD-22EB1674FBF5}"/>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24" name="Picture 4" descr="A person standing in front of a truck&#10;&#10;Description automatically generated">
            <a:extLst>
              <a:ext uri="{FF2B5EF4-FFF2-40B4-BE49-F238E27FC236}">
                <a16:creationId xmlns:a16="http://schemas.microsoft.com/office/drawing/2014/main" id="{291F3CD4-D4BA-4C64-8902-2EC74000BB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 b="-214"/>
          <a:stretch/>
        </p:blipFill>
        <p:spPr>
          <a:xfrm>
            <a:off x="-1325708" y="7945"/>
            <a:ext cx="6513936" cy="6324275"/>
          </a:xfrm>
          <a:prstGeom prst="rect">
            <a:avLst/>
          </a:prstGeom>
        </p:spPr>
      </p:pic>
    </p:spTree>
    <p:extLst>
      <p:ext uri="{BB962C8B-B14F-4D97-AF65-F5344CB8AC3E}">
        <p14:creationId xmlns:p14="http://schemas.microsoft.com/office/powerpoint/2010/main" val="28832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026BA755-9AB2-45A4-B0AB-21630D4AEE0D}"/>
              </a:ext>
            </a:extLst>
          </p:cNvPr>
          <p:cNvSpPr/>
          <p:nvPr/>
        </p:nvSpPr>
        <p:spPr>
          <a:xfrm>
            <a:off x="-1" y="4435764"/>
            <a:ext cx="12191999" cy="1882667"/>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 Placeholder 15">
            <a:extLst>
              <a:ext uri="{FF2B5EF4-FFF2-40B4-BE49-F238E27FC236}">
                <a16:creationId xmlns:a16="http://schemas.microsoft.com/office/drawing/2014/main" id="{272973D0-9E81-4F47-A2BB-ED2E3E7BAC54}"/>
              </a:ext>
            </a:extLst>
          </p:cNvPr>
          <p:cNvSpPr>
            <a:spLocks noGrp="1"/>
          </p:cNvSpPr>
          <p:nvPr>
            <p:ph type="body" sz="quarter" idx="14"/>
          </p:nvPr>
        </p:nvSpPr>
        <p:spPr>
          <a:xfrm>
            <a:off x="5450546" y="870295"/>
            <a:ext cx="5903254" cy="341632"/>
          </a:xfrm>
        </p:spPr>
        <p:txBody>
          <a:bodyPr/>
          <a:lstStyle/>
          <a:p>
            <a:r>
              <a:rPr lang="en-US"/>
              <a:t>Requirements</a:t>
            </a:r>
          </a:p>
        </p:txBody>
      </p:sp>
      <p:sp>
        <p:nvSpPr>
          <p:cNvPr id="13" name="Title 12">
            <a:extLst>
              <a:ext uri="{FF2B5EF4-FFF2-40B4-BE49-F238E27FC236}">
                <a16:creationId xmlns:a16="http://schemas.microsoft.com/office/drawing/2014/main" id="{38BD1F65-4B67-4A5A-9A60-ACC4549C7E87}"/>
              </a:ext>
            </a:extLst>
          </p:cNvPr>
          <p:cNvSpPr>
            <a:spLocks noGrp="1"/>
          </p:cNvSpPr>
          <p:nvPr>
            <p:ph type="title"/>
          </p:nvPr>
        </p:nvSpPr>
        <p:spPr>
          <a:xfrm>
            <a:off x="5450546" y="318014"/>
            <a:ext cx="5903254" cy="590931"/>
          </a:xfrm>
        </p:spPr>
        <p:txBody>
          <a:bodyPr/>
          <a:lstStyle/>
          <a:p>
            <a:r>
              <a:rPr lang="en-US"/>
              <a:t>Record Keeping</a:t>
            </a:r>
          </a:p>
        </p:txBody>
      </p:sp>
      <p:sp>
        <p:nvSpPr>
          <p:cNvPr id="37" name="Content Placeholder 12">
            <a:extLst>
              <a:ext uri="{FF2B5EF4-FFF2-40B4-BE49-F238E27FC236}">
                <a16:creationId xmlns:a16="http://schemas.microsoft.com/office/drawing/2014/main" id="{6C54333C-63EC-4EA0-A7DE-0E32441AF9E6}"/>
              </a:ext>
            </a:extLst>
          </p:cNvPr>
          <p:cNvSpPr>
            <a:spLocks noGrp="1"/>
          </p:cNvSpPr>
          <p:nvPr>
            <p:ph sz="half" idx="1"/>
          </p:nvPr>
        </p:nvSpPr>
        <p:spPr>
          <a:xfrm>
            <a:off x="5260258" y="1402715"/>
            <a:ext cx="6833419" cy="4351338"/>
          </a:xfrm>
        </p:spPr>
        <p:txBody>
          <a:bodyPr>
            <a:noAutofit/>
          </a:bodyPr>
          <a:lstStyle/>
          <a:p>
            <a:pPr>
              <a:lnSpc>
                <a:spcPct val="100000"/>
              </a:lnSpc>
              <a:spcBef>
                <a:spcPts val="600"/>
              </a:spcBef>
              <a:spcAft>
                <a:spcPts val="600"/>
              </a:spcAft>
            </a:pPr>
            <a:r>
              <a:rPr lang="en-US" dirty="0"/>
              <a:t>14 categories for record keeping requirements </a:t>
            </a:r>
          </a:p>
          <a:p>
            <a:pPr>
              <a:lnSpc>
                <a:spcPct val="100000"/>
              </a:lnSpc>
              <a:spcBef>
                <a:spcPts val="600"/>
              </a:spcBef>
              <a:spcAft>
                <a:spcPts val="600"/>
              </a:spcAft>
            </a:pPr>
            <a:endParaRPr lang="en-US" dirty="0">
              <a:solidFill>
                <a:srgbClr val="FF0000"/>
              </a:solidFill>
            </a:endParaRPr>
          </a:p>
          <a:p>
            <a:pPr>
              <a:lnSpc>
                <a:spcPct val="100000"/>
              </a:lnSpc>
              <a:spcBef>
                <a:spcPts val="600"/>
              </a:spcBef>
              <a:spcAft>
                <a:spcPts val="600"/>
              </a:spcAft>
            </a:pPr>
            <a:r>
              <a:rPr lang="en-US" dirty="0"/>
              <a:t>Link for the XtendiMax record keeping form will be shared via email</a:t>
            </a:r>
          </a:p>
          <a:p>
            <a:pPr>
              <a:lnSpc>
                <a:spcPct val="100000"/>
              </a:lnSpc>
              <a:spcBef>
                <a:spcPts val="600"/>
              </a:spcBef>
              <a:spcAft>
                <a:spcPts val="600"/>
              </a:spcAft>
            </a:pPr>
            <a:endParaRPr lang="en-US" dirty="0">
              <a:solidFill>
                <a:srgbClr val="FF0000"/>
              </a:solidFill>
            </a:endParaRPr>
          </a:p>
          <a:p>
            <a:pPr>
              <a:lnSpc>
                <a:spcPct val="100000"/>
              </a:lnSpc>
              <a:spcBef>
                <a:spcPts val="600"/>
              </a:spcBef>
              <a:spcAft>
                <a:spcPts val="600"/>
              </a:spcAft>
            </a:pPr>
            <a:r>
              <a:rPr lang="en-US" dirty="0"/>
              <a:t>Record keeping form available online:</a:t>
            </a:r>
          </a:p>
          <a:p>
            <a:pPr>
              <a:lnSpc>
                <a:spcPct val="100000"/>
              </a:lnSpc>
              <a:spcBef>
                <a:spcPts val="600"/>
              </a:spcBef>
              <a:spcAft>
                <a:spcPts val="600"/>
              </a:spcAft>
            </a:pPr>
            <a:endParaRPr lang="en-US" dirty="0"/>
          </a:p>
        </p:txBody>
      </p:sp>
      <p:sp>
        <p:nvSpPr>
          <p:cNvPr id="17" name="Rectangle 16">
            <a:extLst>
              <a:ext uri="{FF2B5EF4-FFF2-40B4-BE49-F238E27FC236}">
                <a16:creationId xmlns:a16="http://schemas.microsoft.com/office/drawing/2014/main" id="{7284CCD1-60B5-4895-863D-C483A740E9FC}"/>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45555EDE-BE05-453B-A7D1-B2DD409C4570}"/>
              </a:ext>
            </a:extLst>
          </p:cNvPr>
          <p:cNvGrpSpPr/>
          <p:nvPr/>
        </p:nvGrpSpPr>
        <p:grpSpPr>
          <a:xfrm>
            <a:off x="950173" y="6425309"/>
            <a:ext cx="1075910" cy="230941"/>
            <a:chOff x="201074" y="6425309"/>
            <a:chExt cx="1075910" cy="230941"/>
          </a:xfrm>
        </p:grpSpPr>
        <p:sp>
          <p:nvSpPr>
            <p:cNvPr id="19" name="Rectangle 18">
              <a:extLst>
                <a:ext uri="{FF2B5EF4-FFF2-40B4-BE49-F238E27FC236}">
                  <a16:creationId xmlns:a16="http://schemas.microsoft.com/office/drawing/2014/main" id="{0D9C1011-F66E-4E4D-B774-4DDB013A00AC}"/>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EC3BDCBB-0B12-4BF3-865F-07C8DAE32318}"/>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6A5E8EBA-39C0-4E59-A8CA-AC714962F8C3}"/>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22" name="Title 1">
              <a:extLst>
                <a:ext uri="{FF2B5EF4-FFF2-40B4-BE49-F238E27FC236}">
                  <a16:creationId xmlns:a16="http://schemas.microsoft.com/office/drawing/2014/main" id="{70652322-3779-4935-9220-D4EADA3A08A0}"/>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2" name="Footer Placeholder 1">
            <a:extLst>
              <a:ext uri="{FF2B5EF4-FFF2-40B4-BE49-F238E27FC236}">
                <a16:creationId xmlns:a16="http://schemas.microsoft.com/office/drawing/2014/main" id="{0B8C2399-C574-45D1-801E-DDD16DCDF5A1}"/>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899C1F41-B51A-4400-862C-1ABE095A4771}"/>
              </a:ext>
            </a:extLst>
          </p:cNvPr>
          <p:cNvSpPr>
            <a:spLocks noGrp="1"/>
          </p:cNvSpPr>
          <p:nvPr>
            <p:ph type="sldNum" sz="quarter" idx="16"/>
          </p:nvPr>
        </p:nvSpPr>
        <p:spPr/>
        <p:txBody>
          <a:bodyPr/>
          <a:lstStyle/>
          <a:p>
            <a:fld id="{5382645D-9DD6-408C-B0EA-C65795F9B1DE}" type="slidenum">
              <a:rPr lang="en-US" smtClean="0"/>
              <a:pPr/>
              <a:t>11</a:t>
            </a:fld>
            <a:endParaRPr lang="en-US"/>
          </a:p>
        </p:txBody>
      </p:sp>
      <p:sp>
        <p:nvSpPr>
          <p:cNvPr id="6" name="TextBox 5">
            <a:extLst>
              <a:ext uri="{FF2B5EF4-FFF2-40B4-BE49-F238E27FC236}">
                <a16:creationId xmlns:a16="http://schemas.microsoft.com/office/drawing/2014/main" id="{E94A60EE-087B-405C-9A79-23164A7ED984}"/>
              </a:ext>
            </a:extLst>
          </p:cNvPr>
          <p:cNvSpPr txBox="1"/>
          <p:nvPr/>
        </p:nvSpPr>
        <p:spPr>
          <a:xfrm>
            <a:off x="5730949" y="3967788"/>
            <a:ext cx="5160150" cy="646331"/>
          </a:xfrm>
          <a:prstGeom prst="rect">
            <a:avLst/>
          </a:prstGeom>
          <a:noFill/>
        </p:spPr>
        <p:txBody>
          <a:bodyPr wrap="square" rtlCol="0">
            <a:spAutoFit/>
          </a:bodyPr>
          <a:lstStyle/>
          <a:p>
            <a:r>
              <a:rPr lang="en-US" b="1" u="sng">
                <a:solidFill>
                  <a:schemeClr val="accent1"/>
                </a:solidFill>
              </a:rPr>
              <a:t>www.xtendimaxapplicationrequirements.com</a:t>
            </a:r>
          </a:p>
          <a:p>
            <a:endParaRPr lang="en-US"/>
          </a:p>
        </p:txBody>
      </p:sp>
      <p:cxnSp>
        <p:nvCxnSpPr>
          <p:cNvPr id="23" name="Straight Connector 22">
            <a:extLst>
              <a:ext uri="{FF2B5EF4-FFF2-40B4-BE49-F238E27FC236}">
                <a16:creationId xmlns:a16="http://schemas.microsoft.com/office/drawing/2014/main" id="{8C8B1669-6219-4130-B99B-661750CBF614}"/>
              </a:ext>
            </a:extLst>
          </p:cNvPr>
          <p:cNvCxnSpPr>
            <a:cxnSpLocks/>
          </p:cNvCxnSpPr>
          <p:nvPr/>
        </p:nvCxnSpPr>
        <p:spPr>
          <a:xfrm>
            <a:off x="5542446" y="2049905"/>
            <a:ext cx="57351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BB4B3F6-1B76-4B1A-B0C8-F70B7AE64438}"/>
              </a:ext>
            </a:extLst>
          </p:cNvPr>
          <p:cNvCxnSpPr>
            <a:cxnSpLocks/>
          </p:cNvCxnSpPr>
          <p:nvPr/>
        </p:nvCxnSpPr>
        <p:spPr>
          <a:xfrm>
            <a:off x="5542446" y="3162942"/>
            <a:ext cx="57351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211ED7AC-1C22-4D52-8C0C-A0E178361E4A}"/>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9" name="Picture 8">
            <a:extLst>
              <a:ext uri="{FF2B5EF4-FFF2-40B4-BE49-F238E27FC236}">
                <a16:creationId xmlns:a16="http://schemas.microsoft.com/office/drawing/2014/main" id="{451B53DB-72FF-4A5F-8130-B946B207DCA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49915" y="4638126"/>
            <a:ext cx="1314134" cy="1335076"/>
          </a:xfrm>
          <a:prstGeom prst="rect">
            <a:avLst/>
          </a:prstGeom>
          <a:effectLst>
            <a:softEdge rad="31750"/>
          </a:effectLst>
        </p:spPr>
      </p:pic>
      <p:sp>
        <p:nvSpPr>
          <p:cNvPr id="26" name="Content Placeholder 12">
            <a:extLst>
              <a:ext uri="{FF2B5EF4-FFF2-40B4-BE49-F238E27FC236}">
                <a16:creationId xmlns:a16="http://schemas.microsoft.com/office/drawing/2014/main" id="{E6974E7E-F38B-4183-BC48-6F6911BE33F0}"/>
              </a:ext>
            </a:extLst>
          </p:cNvPr>
          <p:cNvSpPr txBox="1">
            <a:spLocks/>
          </p:cNvSpPr>
          <p:nvPr/>
        </p:nvSpPr>
        <p:spPr>
          <a:xfrm>
            <a:off x="5158520" y="4761457"/>
            <a:ext cx="6833419" cy="16273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Font typeface="Arial" panose="020B0604020202020204" pitchFamily="34" charset="0"/>
              <a:buNone/>
            </a:pPr>
            <a:r>
              <a:rPr lang="en-US"/>
              <a:t>Roundup Ready Xtend Spray App for Apple and Android</a:t>
            </a:r>
          </a:p>
          <a:p>
            <a:pPr marL="0" indent="0">
              <a:lnSpc>
                <a:spcPct val="100000"/>
              </a:lnSpc>
              <a:spcBef>
                <a:spcPts val="600"/>
              </a:spcBef>
              <a:spcAft>
                <a:spcPts val="600"/>
              </a:spcAft>
              <a:buFont typeface="Arial" panose="020B0604020202020204" pitchFamily="34" charset="0"/>
              <a:buNone/>
            </a:pPr>
            <a:r>
              <a:rPr lang="en-US"/>
              <a:t>Support for label and other application requirements resource materials, weather forecasting, recordkeeping</a:t>
            </a:r>
          </a:p>
        </p:txBody>
      </p:sp>
      <p:pic>
        <p:nvPicPr>
          <p:cNvPr id="8" name="Picture 7">
            <a:extLst>
              <a:ext uri="{FF2B5EF4-FFF2-40B4-BE49-F238E27FC236}">
                <a16:creationId xmlns:a16="http://schemas.microsoft.com/office/drawing/2014/main" id="{281F602C-8EB1-4B3C-8A18-3048718C3A9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4900" y="236569"/>
            <a:ext cx="3352780" cy="3991534"/>
          </a:xfrm>
          <a:prstGeom prst="rect">
            <a:avLst/>
          </a:prstGeom>
        </p:spPr>
      </p:pic>
    </p:spTree>
    <p:extLst>
      <p:ext uri="{BB962C8B-B14F-4D97-AF65-F5344CB8AC3E}">
        <p14:creationId xmlns:p14="http://schemas.microsoft.com/office/powerpoint/2010/main" val="91967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Arial Black"/>
              </a:rPr>
              <a:t>types of OFF-TARGET MOVEMENT*</a:t>
            </a:r>
          </a:p>
        </p:txBody>
      </p:sp>
      <p:sp>
        <p:nvSpPr>
          <p:cNvPr id="5" name="Footer Placeholder 4">
            <a:extLst>
              <a:ext uri="{FF2B5EF4-FFF2-40B4-BE49-F238E27FC236}">
                <a16:creationId xmlns:a16="http://schemas.microsoft.com/office/drawing/2014/main" id="{B292B3E5-CA91-4950-878C-949AD5EF6BF8}"/>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a:extLst>
              <a:ext uri="{FF2B5EF4-FFF2-40B4-BE49-F238E27FC236}">
                <a16:creationId xmlns:a16="http://schemas.microsoft.com/office/drawing/2014/main" id="{FE8636A6-6BD1-4D03-8925-E05DD772F9D7}"/>
              </a:ext>
            </a:extLst>
          </p:cNvPr>
          <p:cNvSpPr>
            <a:spLocks noGrp="1"/>
          </p:cNvSpPr>
          <p:nvPr>
            <p:ph type="sldNum" sz="quarter" idx="16"/>
          </p:nvPr>
        </p:nvSpPr>
        <p:spPr/>
        <p:txBody>
          <a:bodyPr/>
          <a:lstStyle/>
          <a:p>
            <a:fld id="{5382645D-9DD6-408C-B0EA-C65795F9B1DE}" type="slidenum">
              <a:rPr lang="en-US" smtClean="0"/>
              <a:pPr/>
              <a:t>12</a:t>
            </a:fld>
            <a:endParaRPr lang="en-US"/>
          </a:p>
        </p:txBody>
      </p:sp>
      <p:grpSp>
        <p:nvGrpSpPr>
          <p:cNvPr id="4" name="Group 3">
            <a:extLst>
              <a:ext uri="{FF2B5EF4-FFF2-40B4-BE49-F238E27FC236}">
                <a16:creationId xmlns:a16="http://schemas.microsoft.com/office/drawing/2014/main" id="{F69F26B9-D4C6-4BE9-A695-B901AD84E891}"/>
              </a:ext>
            </a:extLst>
          </p:cNvPr>
          <p:cNvGrpSpPr/>
          <p:nvPr/>
        </p:nvGrpSpPr>
        <p:grpSpPr>
          <a:xfrm>
            <a:off x="883236" y="1311327"/>
            <a:ext cx="6313083" cy="4610032"/>
            <a:chOff x="883236" y="1494207"/>
            <a:chExt cx="6313083" cy="4610032"/>
          </a:xfrm>
        </p:grpSpPr>
        <p:sp>
          <p:nvSpPr>
            <p:cNvPr id="27" name="Rectangle 26">
              <a:extLst>
                <a:ext uri="{FF2B5EF4-FFF2-40B4-BE49-F238E27FC236}">
                  <a16:creationId xmlns:a16="http://schemas.microsoft.com/office/drawing/2014/main" id="{EFA6026B-9BEE-BA42-B815-015A272EF8CD}"/>
                </a:ext>
              </a:extLst>
            </p:cNvPr>
            <p:cNvSpPr/>
            <p:nvPr/>
          </p:nvSpPr>
          <p:spPr>
            <a:xfrm>
              <a:off x="883236" y="1494207"/>
              <a:ext cx="3032978" cy="1446234"/>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Text Placeholder 20">
              <a:extLst>
                <a:ext uri="{FF2B5EF4-FFF2-40B4-BE49-F238E27FC236}">
                  <a16:creationId xmlns:a16="http://schemas.microsoft.com/office/drawing/2014/main" id="{BDD7C28C-E70E-B348-8539-1B715A05DFA4}"/>
                </a:ext>
              </a:extLst>
            </p:cNvPr>
            <p:cNvSpPr txBox="1">
              <a:spLocks/>
            </p:cNvSpPr>
            <p:nvPr/>
          </p:nvSpPr>
          <p:spPr>
            <a:xfrm>
              <a:off x="4264252" y="1744105"/>
              <a:ext cx="2187202" cy="80118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mn-lt"/>
                  <a:ea typeface="+mn-ea"/>
                  <a:cs typeface="+mn-cs"/>
                </a:rPr>
                <a:t>Physical movement of</a:t>
              </a:r>
              <a:br>
                <a:rPr kumimoji="0" lang="en-US" sz="1600" b="0" i="0" u="none" strike="noStrike" kern="1200" cap="none" spc="0" normalizeH="0" baseline="0" noProof="0">
                  <a:ln>
                    <a:noFill/>
                  </a:ln>
                  <a:solidFill>
                    <a:schemeClr val="tx1"/>
                  </a:solidFill>
                  <a:effectLst/>
                  <a:uLnTx/>
                  <a:uFillTx/>
                  <a:latin typeface="+mn-lt"/>
                  <a:ea typeface="+mn-ea"/>
                  <a:cs typeface="+mn-cs"/>
                </a:rPr>
              </a:br>
              <a:r>
                <a:rPr kumimoji="0" lang="en-US" sz="1600" b="0" i="0" u="none" strike="noStrike" kern="1200" cap="none" spc="0" normalizeH="0" baseline="0" noProof="0">
                  <a:ln>
                    <a:noFill/>
                  </a:ln>
                  <a:solidFill>
                    <a:schemeClr val="tx1"/>
                  </a:solidFill>
                  <a:effectLst/>
                  <a:uLnTx/>
                  <a:uFillTx/>
                  <a:latin typeface="+mn-lt"/>
                  <a:ea typeface="+mn-ea"/>
                  <a:cs typeface="+mn-cs"/>
                </a:rPr>
                <a:t>spray particles </a:t>
              </a:r>
              <a:r>
                <a:rPr kumimoji="0" lang="en-US" sz="1600" b="1" i="0" u="none" strike="noStrike" kern="1200" cap="none" spc="0" normalizeH="0" baseline="0" noProof="0">
                  <a:ln>
                    <a:noFill/>
                  </a:ln>
                  <a:solidFill>
                    <a:schemeClr val="tx1"/>
                  </a:solidFill>
                  <a:effectLst/>
                  <a:uLnTx/>
                  <a:uFillTx/>
                  <a:latin typeface="+mn-lt"/>
                  <a:ea typeface="+mn-ea"/>
                  <a:cs typeface="+mn-cs"/>
                </a:rPr>
                <a:t>during</a:t>
              </a:r>
              <a:r>
                <a:rPr kumimoji="0" lang="en-US" sz="1600" b="0" i="0" u="none" strike="noStrike" kern="1200" cap="none" spc="0" normalizeH="0" baseline="0" noProof="0">
                  <a:ln>
                    <a:noFill/>
                  </a:ln>
                  <a:solidFill>
                    <a:schemeClr val="tx1"/>
                  </a:solidFill>
                  <a:effectLst/>
                  <a:uLnTx/>
                  <a:uFillTx/>
                  <a:latin typeface="+mn-lt"/>
                  <a:ea typeface="+mn-ea"/>
                  <a:cs typeface="+mn-cs"/>
                </a:rPr>
                <a:t/>
              </a:r>
              <a:br>
                <a:rPr kumimoji="0" lang="en-US" sz="1600" b="0" i="0" u="none" strike="noStrike" kern="1200" cap="none" spc="0" normalizeH="0" baseline="0" noProof="0">
                  <a:ln>
                    <a:noFill/>
                  </a:ln>
                  <a:solidFill>
                    <a:schemeClr val="tx1"/>
                  </a:solidFill>
                  <a:effectLst/>
                  <a:uLnTx/>
                  <a:uFillTx/>
                  <a:latin typeface="+mn-lt"/>
                  <a:ea typeface="+mn-ea"/>
                  <a:cs typeface="+mn-cs"/>
                </a:rPr>
              </a:br>
              <a:r>
                <a:rPr kumimoji="0" lang="en-US" sz="1600" b="0" i="0" u="none" strike="noStrike" kern="1200" cap="none" spc="0" normalizeH="0" baseline="0" noProof="0">
                  <a:ln>
                    <a:noFill/>
                  </a:ln>
                  <a:solidFill>
                    <a:schemeClr val="tx1"/>
                  </a:solidFill>
                  <a:effectLst/>
                  <a:uLnTx/>
                  <a:uFillTx/>
                  <a:latin typeface="+mn-lt"/>
                  <a:ea typeface="+mn-ea"/>
                  <a:cs typeface="+mn-cs"/>
                </a:rPr>
                <a:t>spray application</a:t>
              </a:r>
              <a:endParaRPr kumimoji="0" 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44" name="TextBox 43">
              <a:extLst>
                <a:ext uri="{FF2B5EF4-FFF2-40B4-BE49-F238E27FC236}">
                  <a16:creationId xmlns:a16="http://schemas.microsoft.com/office/drawing/2014/main" id="{059D597F-B5D9-674E-9912-D862A7630FFA}"/>
                </a:ext>
              </a:extLst>
            </p:cNvPr>
            <p:cNvSpPr txBox="1"/>
            <p:nvPr/>
          </p:nvSpPr>
          <p:spPr>
            <a:xfrm>
              <a:off x="883237" y="1898963"/>
              <a:ext cx="3032976"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mj-lt"/>
                </a:rPr>
                <a:t>PHYSICAL</a:t>
              </a:r>
              <a:br>
                <a:rPr kumimoji="0" lang="en-US" sz="1800" b="0" i="0" u="none" strike="noStrike" kern="0" cap="none" spc="0" normalizeH="0" baseline="0" noProof="0">
                  <a:ln>
                    <a:noFill/>
                  </a:ln>
                  <a:solidFill>
                    <a:schemeClr val="bg1"/>
                  </a:solidFill>
                  <a:effectLst/>
                  <a:uLnTx/>
                  <a:uFillTx/>
                  <a:latin typeface="+mj-lt"/>
                </a:rPr>
              </a:br>
              <a:r>
                <a:rPr kumimoji="0" lang="en-US" sz="1800" b="0" i="0" u="none" strike="noStrike" kern="0" cap="none" spc="0" normalizeH="0" baseline="0" noProof="0">
                  <a:ln>
                    <a:noFill/>
                  </a:ln>
                  <a:solidFill>
                    <a:schemeClr val="bg1"/>
                  </a:solidFill>
                  <a:effectLst/>
                  <a:uLnTx/>
                  <a:uFillTx/>
                  <a:latin typeface="+mj-lt"/>
                </a:rPr>
                <a:t>DRIFT</a:t>
              </a:r>
            </a:p>
          </p:txBody>
        </p:sp>
        <p:sp>
          <p:nvSpPr>
            <p:cNvPr id="45" name="Rectangle 44">
              <a:extLst>
                <a:ext uri="{FF2B5EF4-FFF2-40B4-BE49-F238E27FC236}">
                  <a16:creationId xmlns:a16="http://schemas.microsoft.com/office/drawing/2014/main" id="{B4C3BD59-72BD-914D-B58F-44C7CC2FDAB9}"/>
                </a:ext>
              </a:extLst>
            </p:cNvPr>
            <p:cNvSpPr/>
            <p:nvPr/>
          </p:nvSpPr>
          <p:spPr>
            <a:xfrm>
              <a:off x="883236" y="4658005"/>
              <a:ext cx="3032978" cy="1446234"/>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TextBox 45">
              <a:extLst>
                <a:ext uri="{FF2B5EF4-FFF2-40B4-BE49-F238E27FC236}">
                  <a16:creationId xmlns:a16="http://schemas.microsoft.com/office/drawing/2014/main" id="{EFE56186-6A9B-F24B-A913-BC69E2C17A78}"/>
                </a:ext>
              </a:extLst>
            </p:cNvPr>
            <p:cNvSpPr txBox="1"/>
            <p:nvPr/>
          </p:nvSpPr>
          <p:spPr>
            <a:xfrm>
              <a:off x="883237" y="5204474"/>
              <a:ext cx="3032976"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mj-lt"/>
                </a:rPr>
                <a:t>VOLATILITY</a:t>
              </a:r>
            </a:p>
          </p:txBody>
        </p:sp>
        <p:sp>
          <p:nvSpPr>
            <p:cNvPr id="49" name="Rectangle 48">
              <a:extLst>
                <a:ext uri="{FF2B5EF4-FFF2-40B4-BE49-F238E27FC236}">
                  <a16:creationId xmlns:a16="http://schemas.microsoft.com/office/drawing/2014/main" id="{B15FD67B-6A3F-7345-8251-7C5E01669343}"/>
                </a:ext>
              </a:extLst>
            </p:cNvPr>
            <p:cNvSpPr/>
            <p:nvPr/>
          </p:nvSpPr>
          <p:spPr>
            <a:xfrm>
              <a:off x="883236" y="3076106"/>
              <a:ext cx="3032978" cy="1446234"/>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TextBox 49">
              <a:extLst>
                <a:ext uri="{FF2B5EF4-FFF2-40B4-BE49-F238E27FC236}">
                  <a16:creationId xmlns:a16="http://schemas.microsoft.com/office/drawing/2014/main" id="{5FCD5382-10C6-2941-B99E-934BB59175C9}"/>
                </a:ext>
              </a:extLst>
            </p:cNvPr>
            <p:cNvSpPr txBox="1"/>
            <p:nvPr/>
          </p:nvSpPr>
          <p:spPr>
            <a:xfrm>
              <a:off x="883237" y="3476057"/>
              <a:ext cx="3032976"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mj-lt"/>
                </a:rPr>
                <a:t>SPRAY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mj-lt"/>
                </a:rPr>
                <a:t>CONTAMINATION</a:t>
              </a:r>
            </a:p>
          </p:txBody>
        </p:sp>
        <p:grpSp>
          <p:nvGrpSpPr>
            <p:cNvPr id="11" name="Group 10">
              <a:extLst>
                <a:ext uri="{FF2B5EF4-FFF2-40B4-BE49-F238E27FC236}">
                  <a16:creationId xmlns:a16="http://schemas.microsoft.com/office/drawing/2014/main" id="{8D758409-B305-2549-86CA-E84B5A7BB370}"/>
                </a:ext>
              </a:extLst>
            </p:cNvPr>
            <p:cNvGrpSpPr/>
            <p:nvPr/>
          </p:nvGrpSpPr>
          <p:grpSpPr>
            <a:xfrm>
              <a:off x="7065108" y="1494207"/>
              <a:ext cx="131211" cy="1446234"/>
              <a:chOff x="6833884" y="1494207"/>
              <a:chExt cx="131211" cy="1446234"/>
            </a:xfrm>
          </p:grpSpPr>
          <p:sp>
            <p:nvSpPr>
              <p:cNvPr id="54" name="Isosceles Triangle 32">
                <a:extLst>
                  <a:ext uri="{FF2B5EF4-FFF2-40B4-BE49-F238E27FC236}">
                    <a16:creationId xmlns:a16="http://schemas.microsoft.com/office/drawing/2014/main" id="{6A547A6D-D15D-BA49-A484-7F4F2745C2E5}"/>
                  </a:ext>
                </a:extLst>
              </p:cNvPr>
              <p:cNvSpPr/>
              <p:nvPr/>
            </p:nvSpPr>
            <p:spPr>
              <a:xfrm rot="5400000">
                <a:off x="6765739" y="207909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55" name="Straight Connector 54">
                <a:extLst>
                  <a:ext uri="{FF2B5EF4-FFF2-40B4-BE49-F238E27FC236}">
                    <a16:creationId xmlns:a16="http://schemas.microsoft.com/office/drawing/2014/main" id="{B5AACFCD-AC7F-DD48-8FC6-47B9897F4F2D}"/>
                  </a:ext>
                </a:extLst>
              </p:cNvPr>
              <p:cNvCxnSpPr>
                <a:cxnSpLocks/>
              </p:cNvCxnSpPr>
              <p:nvPr/>
            </p:nvCxnSpPr>
            <p:spPr>
              <a:xfrm>
                <a:off x="6841529" y="1494207"/>
                <a:ext cx="0" cy="144623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CD865FE7-3B14-0040-8DE3-F3017728F426}"/>
                </a:ext>
              </a:extLst>
            </p:cNvPr>
            <p:cNvGrpSpPr/>
            <p:nvPr/>
          </p:nvGrpSpPr>
          <p:grpSpPr>
            <a:xfrm>
              <a:off x="7065108" y="4657820"/>
              <a:ext cx="131211" cy="1446234"/>
              <a:chOff x="6833884" y="1494207"/>
              <a:chExt cx="131211" cy="1446234"/>
            </a:xfrm>
          </p:grpSpPr>
          <p:sp>
            <p:nvSpPr>
              <p:cNvPr id="57" name="Isosceles Triangle 32">
                <a:extLst>
                  <a:ext uri="{FF2B5EF4-FFF2-40B4-BE49-F238E27FC236}">
                    <a16:creationId xmlns:a16="http://schemas.microsoft.com/office/drawing/2014/main" id="{207C99B9-6D70-8243-B948-F4970BB70C44}"/>
                  </a:ext>
                </a:extLst>
              </p:cNvPr>
              <p:cNvSpPr/>
              <p:nvPr/>
            </p:nvSpPr>
            <p:spPr>
              <a:xfrm rot="5400000">
                <a:off x="6765739" y="207909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66" name="Straight Connector 65">
                <a:extLst>
                  <a:ext uri="{FF2B5EF4-FFF2-40B4-BE49-F238E27FC236}">
                    <a16:creationId xmlns:a16="http://schemas.microsoft.com/office/drawing/2014/main" id="{07D47FCA-70BC-E745-B83C-3555DA396E33}"/>
                  </a:ext>
                </a:extLst>
              </p:cNvPr>
              <p:cNvCxnSpPr>
                <a:cxnSpLocks/>
              </p:cNvCxnSpPr>
              <p:nvPr/>
            </p:nvCxnSpPr>
            <p:spPr>
              <a:xfrm>
                <a:off x="6841529" y="1494207"/>
                <a:ext cx="0" cy="144623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0F91B5DC-F994-7D44-B17E-D20535408228}"/>
                </a:ext>
              </a:extLst>
            </p:cNvPr>
            <p:cNvGrpSpPr/>
            <p:nvPr/>
          </p:nvGrpSpPr>
          <p:grpSpPr>
            <a:xfrm>
              <a:off x="7065108" y="3071130"/>
              <a:ext cx="131211" cy="1446234"/>
              <a:chOff x="6833884" y="1494207"/>
              <a:chExt cx="131211" cy="1446234"/>
            </a:xfrm>
          </p:grpSpPr>
          <p:sp>
            <p:nvSpPr>
              <p:cNvPr id="76" name="Isosceles Triangle 32">
                <a:extLst>
                  <a:ext uri="{FF2B5EF4-FFF2-40B4-BE49-F238E27FC236}">
                    <a16:creationId xmlns:a16="http://schemas.microsoft.com/office/drawing/2014/main" id="{0F8E6BFE-AE33-B747-B630-7D4A0D14EC02}"/>
                  </a:ext>
                </a:extLst>
              </p:cNvPr>
              <p:cNvSpPr/>
              <p:nvPr/>
            </p:nvSpPr>
            <p:spPr>
              <a:xfrm rot="5400000">
                <a:off x="6765739" y="207909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77" name="Straight Connector 76">
                <a:extLst>
                  <a:ext uri="{FF2B5EF4-FFF2-40B4-BE49-F238E27FC236}">
                    <a16:creationId xmlns:a16="http://schemas.microsoft.com/office/drawing/2014/main" id="{49E70E78-D21F-434C-9AF7-09D1D8E61548}"/>
                  </a:ext>
                </a:extLst>
              </p:cNvPr>
              <p:cNvCxnSpPr>
                <a:cxnSpLocks/>
              </p:cNvCxnSpPr>
              <p:nvPr/>
            </p:nvCxnSpPr>
            <p:spPr>
              <a:xfrm>
                <a:off x="6841529" y="1494207"/>
                <a:ext cx="0" cy="144623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8" name="Text Placeholder 20">
              <a:extLst>
                <a:ext uri="{FF2B5EF4-FFF2-40B4-BE49-F238E27FC236}">
                  <a16:creationId xmlns:a16="http://schemas.microsoft.com/office/drawing/2014/main" id="{4FED66FE-67A0-9C41-8C17-123DE95F38D8}"/>
                </a:ext>
              </a:extLst>
            </p:cNvPr>
            <p:cNvSpPr txBox="1">
              <a:spLocks/>
            </p:cNvSpPr>
            <p:nvPr/>
          </p:nvSpPr>
          <p:spPr>
            <a:xfrm>
              <a:off x="4264252" y="3268107"/>
              <a:ext cx="2262671" cy="103038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mn-lt"/>
                  <a:ea typeface="+mn-ea"/>
                  <a:cs typeface="+mn-cs"/>
                </a:rPr>
                <a:t>Off-target movement from herbicide residue remaining in sprayer components</a:t>
              </a:r>
              <a:endParaRPr kumimoji="0" 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79" name="Text Placeholder 20">
              <a:extLst>
                <a:ext uri="{FF2B5EF4-FFF2-40B4-BE49-F238E27FC236}">
                  <a16:creationId xmlns:a16="http://schemas.microsoft.com/office/drawing/2014/main" id="{B2153BF3-198E-6E49-ABD8-F5AA3F7D6D2A}"/>
                </a:ext>
              </a:extLst>
            </p:cNvPr>
            <p:cNvSpPr txBox="1">
              <a:spLocks/>
            </p:cNvSpPr>
            <p:nvPr/>
          </p:nvSpPr>
          <p:spPr>
            <a:xfrm>
              <a:off x="4264251" y="4922024"/>
              <a:ext cx="2540662" cy="1178233"/>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spcAft>
                  <a:spcPts val="600"/>
                </a:spcAft>
                <a:buNone/>
                <a:defRPr/>
              </a:pPr>
              <a:r>
                <a:rPr kumimoji="0" lang="en-US" sz="1600" b="0" i="0" u="none" strike="noStrike" kern="1200" cap="none" spc="0" normalizeH="0" baseline="0" noProof="0">
                  <a:ln>
                    <a:noFill/>
                  </a:ln>
                  <a:effectLst/>
                  <a:uLnTx/>
                  <a:uFillTx/>
                  <a:latin typeface="+mn-lt"/>
                  <a:ea typeface="+mn-ea"/>
                  <a:cs typeface="+mn-cs"/>
                </a:rPr>
                <a:t>Movement of </a:t>
              </a:r>
              <a:r>
                <a:rPr lang="en-US" sz="1600"/>
                <a:t>an </a:t>
              </a:r>
              <a:r>
                <a:rPr kumimoji="0" lang="en-US" sz="1600" b="0" i="0" u="none" strike="noStrike" kern="1200" cap="none" spc="0" normalizeH="0" baseline="0" noProof="0">
                  <a:ln>
                    <a:noFill/>
                  </a:ln>
                  <a:effectLst/>
                  <a:uLnTx/>
                  <a:uFillTx/>
                  <a:latin typeface="+mn-lt"/>
                  <a:ea typeface="+mn-ea"/>
                  <a:cs typeface="+mn-cs"/>
                </a:rPr>
                <a:t>herbicide as a gas or vapor </a:t>
              </a:r>
              <a:r>
                <a:rPr kumimoji="0" lang="en-US" sz="1600" b="1" i="0" u="none" strike="noStrike" kern="1200" cap="none" spc="0" normalizeH="0" baseline="0" noProof="0">
                  <a:ln>
                    <a:noFill/>
                  </a:ln>
                  <a:effectLst/>
                  <a:uLnTx/>
                  <a:uFillTx/>
                  <a:latin typeface="+mn-lt"/>
                  <a:ea typeface="+mn-ea"/>
                  <a:cs typeface="+mn-cs"/>
                </a:rPr>
                <a:t>after</a:t>
              </a:r>
              <a:r>
                <a:rPr kumimoji="0" lang="en-US" sz="1600" b="0" i="0" u="none" strike="noStrike" kern="1200" cap="none" spc="0" normalizeH="0" baseline="0" noProof="0">
                  <a:ln>
                    <a:noFill/>
                  </a:ln>
                  <a:effectLst/>
                  <a:uLnTx/>
                  <a:uFillTx/>
                  <a:latin typeface="+mn-lt"/>
                  <a:ea typeface="+mn-ea"/>
                  <a:cs typeface="+mn-cs"/>
                </a:rPr>
                <a:t> spray application.</a:t>
              </a:r>
              <a:r>
                <a:rPr lang="en-US" sz="1600"/>
                <a:t> </a:t>
              </a:r>
              <a:endParaRPr kumimoji="0" lang="en-US" sz="1200" b="0" i="0" u="none" strike="noStrike" kern="1200" cap="none" spc="0" normalizeH="0" baseline="0" noProof="0">
                <a:ln>
                  <a:noFill/>
                </a:ln>
                <a:effectLst/>
                <a:uLnTx/>
                <a:uFillTx/>
                <a:latin typeface="+mn-lt"/>
                <a:ea typeface="+mn-ea"/>
                <a:cs typeface="+mn-cs"/>
              </a:endParaRPr>
            </a:p>
          </p:txBody>
        </p:sp>
      </p:grpSp>
      <p:sp>
        <p:nvSpPr>
          <p:cNvPr id="3" name="TextBox 2">
            <a:extLst>
              <a:ext uri="{FF2B5EF4-FFF2-40B4-BE49-F238E27FC236}">
                <a16:creationId xmlns:a16="http://schemas.microsoft.com/office/drawing/2014/main" id="{D18425FF-82DA-4528-949D-B99A072ABFD7}"/>
              </a:ext>
            </a:extLst>
          </p:cNvPr>
          <p:cNvSpPr txBox="1"/>
          <p:nvPr/>
        </p:nvSpPr>
        <p:spPr>
          <a:xfrm>
            <a:off x="1026161" y="5909780"/>
            <a:ext cx="10850880" cy="600164"/>
          </a:xfrm>
          <a:prstGeom prst="rect">
            <a:avLst/>
          </a:prstGeom>
          <a:noFill/>
        </p:spPr>
        <p:txBody>
          <a:bodyPr wrap="square" rtlCol="0">
            <a:spAutoFit/>
          </a:bodyPr>
          <a:lstStyle/>
          <a:p>
            <a:r>
              <a:rPr lang="en-US" sz="1100"/>
              <a:t>*Movement through surface runoff or soil is another form of off target movement. Applicators should be aware of weather forecasts and avoid applications if rainfall that may exceed field capacity is expected in the next 48 hours.</a:t>
            </a:r>
            <a:endParaRPr lang="en-US" sz="1100">
              <a:cs typeface="Calibri"/>
            </a:endParaRPr>
          </a:p>
          <a:p>
            <a:endParaRPr lang="en-US" sz="1100"/>
          </a:p>
        </p:txBody>
      </p:sp>
      <p:grpSp>
        <p:nvGrpSpPr>
          <p:cNvPr id="1207" name="Group 1206">
            <a:extLst>
              <a:ext uri="{FF2B5EF4-FFF2-40B4-BE49-F238E27FC236}">
                <a16:creationId xmlns:a16="http://schemas.microsoft.com/office/drawing/2014/main" id="{3EE4E891-CF52-43E3-95CB-092EBB41326F}"/>
              </a:ext>
            </a:extLst>
          </p:cNvPr>
          <p:cNvGrpSpPr/>
          <p:nvPr/>
        </p:nvGrpSpPr>
        <p:grpSpPr>
          <a:xfrm>
            <a:off x="7567491" y="1317033"/>
            <a:ext cx="4032325" cy="1471207"/>
            <a:chOff x="7567491" y="1317033"/>
            <a:chExt cx="4032325" cy="1471207"/>
          </a:xfrm>
        </p:grpSpPr>
        <p:sp>
          <p:nvSpPr>
            <p:cNvPr id="30" name="Rectangle 41">
              <a:extLst>
                <a:ext uri="{FF2B5EF4-FFF2-40B4-BE49-F238E27FC236}">
                  <a16:creationId xmlns:a16="http://schemas.microsoft.com/office/drawing/2014/main" id="{962D396A-CF98-4049-825B-4EB257A4FF7D}"/>
                </a:ext>
              </a:extLst>
            </p:cNvPr>
            <p:cNvSpPr>
              <a:spLocks noChangeArrowheads="1"/>
            </p:cNvSpPr>
            <p:nvPr/>
          </p:nvSpPr>
          <p:spPr bwMode="auto">
            <a:xfrm>
              <a:off x="8668510" y="1398397"/>
              <a:ext cx="51850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200" b="1" kern="0" spc="140">
                  <a:solidFill>
                    <a:sysClr val="windowText" lastClr="000000"/>
                  </a:solidFill>
                  <a:latin typeface="Arial Narrow" charset="0"/>
                </a:rPr>
                <a:t>WIND</a:t>
              </a:r>
            </a:p>
          </p:txBody>
        </p:sp>
        <p:sp>
          <p:nvSpPr>
            <p:cNvPr id="31" name="Rectangle 41">
              <a:extLst>
                <a:ext uri="{FF2B5EF4-FFF2-40B4-BE49-F238E27FC236}">
                  <a16:creationId xmlns:a16="http://schemas.microsoft.com/office/drawing/2014/main" id="{D3A80013-288A-411E-B315-7481E875F2C3}"/>
                </a:ext>
              </a:extLst>
            </p:cNvPr>
            <p:cNvSpPr>
              <a:spLocks noChangeArrowheads="1"/>
            </p:cNvSpPr>
            <p:nvPr/>
          </p:nvSpPr>
          <p:spPr bwMode="auto">
            <a:xfrm>
              <a:off x="9621000" y="1633877"/>
              <a:ext cx="13518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200" b="1" kern="0" spc="140">
                  <a:solidFill>
                    <a:schemeClr val="accent6"/>
                  </a:solidFill>
                  <a:latin typeface="Arial Narrow" charset="0"/>
                </a:rPr>
                <a:t>PARTICLE DRIFT</a:t>
              </a:r>
            </a:p>
          </p:txBody>
        </p:sp>
        <p:sp>
          <p:nvSpPr>
            <p:cNvPr id="32" name="Rectangle 41">
              <a:extLst>
                <a:ext uri="{FF2B5EF4-FFF2-40B4-BE49-F238E27FC236}">
                  <a16:creationId xmlns:a16="http://schemas.microsoft.com/office/drawing/2014/main" id="{B889942E-175E-4294-93B3-140D1A5B7031}"/>
                </a:ext>
              </a:extLst>
            </p:cNvPr>
            <p:cNvSpPr>
              <a:spLocks noChangeArrowheads="1"/>
            </p:cNvSpPr>
            <p:nvPr/>
          </p:nvSpPr>
          <p:spPr bwMode="auto">
            <a:xfrm>
              <a:off x="8863903" y="2557408"/>
              <a:ext cx="135180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750" b="1" kern="0" spc="140">
                  <a:latin typeface="Arial Narrow" charset="0"/>
                </a:rPr>
                <a:t>TARGET CROP</a:t>
              </a:r>
            </a:p>
          </p:txBody>
        </p:sp>
        <p:sp>
          <p:nvSpPr>
            <p:cNvPr id="35" name="Rectangle 41">
              <a:extLst>
                <a:ext uri="{FF2B5EF4-FFF2-40B4-BE49-F238E27FC236}">
                  <a16:creationId xmlns:a16="http://schemas.microsoft.com/office/drawing/2014/main" id="{B9208A7E-E51C-4AD0-8312-1B7B91A73669}"/>
                </a:ext>
              </a:extLst>
            </p:cNvPr>
            <p:cNvSpPr>
              <a:spLocks noChangeArrowheads="1"/>
            </p:cNvSpPr>
            <p:nvPr/>
          </p:nvSpPr>
          <p:spPr bwMode="auto">
            <a:xfrm>
              <a:off x="10248016" y="2557408"/>
              <a:ext cx="13518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750" b="1" kern="0" spc="140" dirty="0">
                  <a:latin typeface="Arial Narrow" charset="0"/>
                </a:rPr>
                <a:t>SENSITIVE</a:t>
              </a:r>
              <a:br>
                <a:rPr lang="en-US" altLang="en-US" sz="750" b="1" kern="0" spc="140" dirty="0">
                  <a:latin typeface="Arial Narrow" charset="0"/>
                </a:rPr>
              </a:br>
              <a:r>
                <a:rPr lang="en-US" altLang="en-US" sz="750" b="1" kern="0" spc="140" dirty="0">
                  <a:latin typeface="Arial Narrow" charset="0"/>
                </a:rPr>
                <a:t>CROP</a:t>
              </a:r>
            </a:p>
          </p:txBody>
        </p:sp>
        <p:grpSp>
          <p:nvGrpSpPr>
            <p:cNvPr id="236" name="Group 235">
              <a:extLst>
                <a:ext uri="{FF2B5EF4-FFF2-40B4-BE49-F238E27FC236}">
                  <a16:creationId xmlns:a16="http://schemas.microsoft.com/office/drawing/2014/main" id="{5FAE0239-A0C9-465C-A505-774CEA506BF6}"/>
                </a:ext>
              </a:extLst>
            </p:cNvPr>
            <p:cNvGrpSpPr/>
            <p:nvPr/>
          </p:nvGrpSpPr>
          <p:grpSpPr>
            <a:xfrm>
              <a:off x="7567491" y="1317033"/>
              <a:ext cx="3716372" cy="1148869"/>
              <a:chOff x="-5807076" y="3560763"/>
              <a:chExt cx="4986339" cy="1541463"/>
            </a:xfrm>
          </p:grpSpPr>
          <p:sp>
            <p:nvSpPr>
              <p:cNvPr id="237" name="Freeform 16">
                <a:extLst>
                  <a:ext uri="{FF2B5EF4-FFF2-40B4-BE49-F238E27FC236}">
                    <a16:creationId xmlns:a16="http://schemas.microsoft.com/office/drawing/2014/main" id="{26306A9B-D416-40C8-A215-F0BB3F90BB54}"/>
                  </a:ext>
                </a:extLst>
              </p:cNvPr>
              <p:cNvSpPr>
                <a:spLocks noEditPoints="1"/>
              </p:cNvSpPr>
              <p:nvPr/>
            </p:nvSpPr>
            <p:spPr bwMode="auto">
              <a:xfrm>
                <a:off x="-5238750" y="4710113"/>
                <a:ext cx="407988" cy="157163"/>
              </a:xfrm>
              <a:custGeom>
                <a:avLst/>
                <a:gdLst>
                  <a:gd name="T0" fmla="*/ 76 w 96"/>
                  <a:gd name="T1" fmla="*/ 37 h 37"/>
                  <a:gd name="T2" fmla="*/ 21 w 96"/>
                  <a:gd name="T3" fmla="*/ 37 h 37"/>
                  <a:gd name="T4" fmla="*/ 16 w 96"/>
                  <a:gd name="T5" fmla="*/ 34 h 37"/>
                  <a:gd name="T6" fmla="*/ 1 w 96"/>
                  <a:gd name="T7" fmla="*/ 9 h 37"/>
                  <a:gd name="T8" fmla="*/ 2 w 96"/>
                  <a:gd name="T9" fmla="*/ 3 h 37"/>
                  <a:gd name="T10" fmla="*/ 7 w 96"/>
                  <a:gd name="T11" fmla="*/ 0 h 37"/>
                  <a:gd name="T12" fmla="*/ 48 w 96"/>
                  <a:gd name="T13" fmla="*/ 6 h 37"/>
                  <a:gd name="T14" fmla="*/ 89 w 96"/>
                  <a:gd name="T15" fmla="*/ 0 h 37"/>
                  <a:gd name="T16" fmla="*/ 95 w 96"/>
                  <a:gd name="T17" fmla="*/ 3 h 37"/>
                  <a:gd name="T18" fmla="*/ 95 w 96"/>
                  <a:gd name="T19" fmla="*/ 9 h 37"/>
                  <a:gd name="T20" fmla="*/ 81 w 96"/>
                  <a:gd name="T21" fmla="*/ 34 h 37"/>
                  <a:gd name="T22" fmla="*/ 76 w 96"/>
                  <a:gd name="T23" fmla="*/ 37 h 37"/>
                  <a:gd name="T24" fmla="*/ 24 w 96"/>
                  <a:gd name="T25" fmla="*/ 25 h 37"/>
                  <a:gd name="T26" fmla="*/ 72 w 96"/>
                  <a:gd name="T27" fmla="*/ 25 h 37"/>
                  <a:gd name="T28" fmla="*/ 79 w 96"/>
                  <a:gd name="T29" fmla="*/ 14 h 37"/>
                  <a:gd name="T30" fmla="*/ 49 w 96"/>
                  <a:gd name="T31" fmla="*/ 18 h 37"/>
                  <a:gd name="T32" fmla="*/ 47 w 96"/>
                  <a:gd name="T33" fmla="*/ 18 h 37"/>
                  <a:gd name="T34" fmla="*/ 18 w 96"/>
                  <a:gd name="T35" fmla="*/ 14 h 37"/>
                  <a:gd name="T36" fmla="*/ 24 w 96"/>
                  <a:gd name="T37"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37">
                    <a:moveTo>
                      <a:pt x="76" y="37"/>
                    </a:moveTo>
                    <a:cubicBezTo>
                      <a:pt x="21" y="37"/>
                      <a:pt x="21" y="37"/>
                      <a:pt x="21" y="37"/>
                    </a:cubicBezTo>
                    <a:cubicBezTo>
                      <a:pt x="19" y="37"/>
                      <a:pt x="17" y="36"/>
                      <a:pt x="16" y="34"/>
                    </a:cubicBezTo>
                    <a:cubicBezTo>
                      <a:pt x="1" y="9"/>
                      <a:pt x="1" y="9"/>
                      <a:pt x="1" y="9"/>
                    </a:cubicBezTo>
                    <a:cubicBezTo>
                      <a:pt x="0" y="7"/>
                      <a:pt x="0" y="5"/>
                      <a:pt x="2" y="3"/>
                    </a:cubicBezTo>
                    <a:cubicBezTo>
                      <a:pt x="3" y="1"/>
                      <a:pt x="5" y="0"/>
                      <a:pt x="7" y="0"/>
                    </a:cubicBezTo>
                    <a:cubicBezTo>
                      <a:pt x="48" y="6"/>
                      <a:pt x="48" y="6"/>
                      <a:pt x="48" y="6"/>
                    </a:cubicBezTo>
                    <a:cubicBezTo>
                      <a:pt x="89" y="0"/>
                      <a:pt x="89" y="0"/>
                      <a:pt x="89" y="0"/>
                    </a:cubicBezTo>
                    <a:cubicBezTo>
                      <a:pt x="92" y="0"/>
                      <a:pt x="94" y="1"/>
                      <a:pt x="95" y="3"/>
                    </a:cubicBezTo>
                    <a:cubicBezTo>
                      <a:pt x="96" y="5"/>
                      <a:pt x="96" y="7"/>
                      <a:pt x="95" y="9"/>
                    </a:cubicBezTo>
                    <a:cubicBezTo>
                      <a:pt x="81" y="34"/>
                      <a:pt x="81" y="34"/>
                      <a:pt x="81" y="34"/>
                    </a:cubicBezTo>
                    <a:cubicBezTo>
                      <a:pt x="80" y="36"/>
                      <a:pt x="78" y="37"/>
                      <a:pt x="76" y="37"/>
                    </a:cubicBezTo>
                    <a:close/>
                    <a:moveTo>
                      <a:pt x="24" y="25"/>
                    </a:moveTo>
                    <a:cubicBezTo>
                      <a:pt x="72" y="25"/>
                      <a:pt x="72" y="25"/>
                      <a:pt x="72" y="25"/>
                    </a:cubicBezTo>
                    <a:cubicBezTo>
                      <a:pt x="79" y="14"/>
                      <a:pt x="79" y="14"/>
                      <a:pt x="79" y="14"/>
                    </a:cubicBezTo>
                    <a:cubicBezTo>
                      <a:pt x="49" y="18"/>
                      <a:pt x="49" y="18"/>
                      <a:pt x="49" y="18"/>
                    </a:cubicBezTo>
                    <a:cubicBezTo>
                      <a:pt x="49" y="18"/>
                      <a:pt x="48" y="18"/>
                      <a:pt x="47" y="18"/>
                    </a:cubicBezTo>
                    <a:cubicBezTo>
                      <a:pt x="18" y="14"/>
                      <a:pt x="18" y="14"/>
                      <a:pt x="18" y="14"/>
                    </a:cubicBezTo>
                    <a:lnTo>
                      <a:pt x="24" y="2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
                <a:extLst>
                  <a:ext uri="{FF2B5EF4-FFF2-40B4-BE49-F238E27FC236}">
                    <a16:creationId xmlns:a16="http://schemas.microsoft.com/office/drawing/2014/main" id="{FFCC7E30-1674-44AE-A893-A5F853889DC3}"/>
                  </a:ext>
                </a:extLst>
              </p:cNvPr>
              <p:cNvSpPr>
                <a:spLocks/>
              </p:cNvSpPr>
              <p:nvPr/>
            </p:nvSpPr>
            <p:spPr bwMode="auto">
              <a:xfrm>
                <a:off x="-3582988" y="3613150"/>
                <a:ext cx="649288" cy="204788"/>
              </a:xfrm>
              <a:custGeom>
                <a:avLst/>
                <a:gdLst>
                  <a:gd name="T0" fmla="*/ 129 w 153"/>
                  <a:gd name="T1" fmla="*/ 48 h 48"/>
                  <a:gd name="T2" fmla="*/ 6 w 153"/>
                  <a:gd name="T3" fmla="*/ 48 h 48"/>
                  <a:gd name="T4" fmla="*/ 0 w 153"/>
                  <a:gd name="T5" fmla="*/ 42 h 48"/>
                  <a:gd name="T6" fmla="*/ 6 w 153"/>
                  <a:gd name="T7" fmla="*/ 36 h 48"/>
                  <a:gd name="T8" fmla="*/ 129 w 153"/>
                  <a:gd name="T9" fmla="*/ 36 h 48"/>
                  <a:gd name="T10" fmla="*/ 141 w 153"/>
                  <a:gd name="T11" fmla="*/ 24 h 48"/>
                  <a:gd name="T12" fmla="*/ 129 w 153"/>
                  <a:gd name="T13" fmla="*/ 12 h 48"/>
                  <a:gd name="T14" fmla="*/ 117 w 153"/>
                  <a:gd name="T15" fmla="*/ 24 h 48"/>
                  <a:gd name="T16" fmla="*/ 111 w 153"/>
                  <a:gd name="T17" fmla="*/ 30 h 48"/>
                  <a:gd name="T18" fmla="*/ 105 w 153"/>
                  <a:gd name="T19" fmla="*/ 24 h 48"/>
                  <a:gd name="T20" fmla="*/ 129 w 153"/>
                  <a:gd name="T21" fmla="*/ 0 h 48"/>
                  <a:gd name="T22" fmla="*/ 153 w 153"/>
                  <a:gd name="T23" fmla="*/ 24 h 48"/>
                  <a:gd name="T24" fmla="*/ 129 w 153"/>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3" h="48">
                    <a:moveTo>
                      <a:pt x="129" y="48"/>
                    </a:moveTo>
                    <a:cubicBezTo>
                      <a:pt x="6" y="48"/>
                      <a:pt x="6" y="48"/>
                      <a:pt x="6" y="48"/>
                    </a:cubicBezTo>
                    <a:cubicBezTo>
                      <a:pt x="2" y="48"/>
                      <a:pt x="0" y="46"/>
                      <a:pt x="0" y="42"/>
                    </a:cubicBezTo>
                    <a:cubicBezTo>
                      <a:pt x="0" y="39"/>
                      <a:pt x="2" y="36"/>
                      <a:pt x="6" y="36"/>
                    </a:cubicBezTo>
                    <a:cubicBezTo>
                      <a:pt x="129" y="36"/>
                      <a:pt x="129" y="36"/>
                      <a:pt x="129" y="36"/>
                    </a:cubicBezTo>
                    <a:cubicBezTo>
                      <a:pt x="136" y="36"/>
                      <a:pt x="141" y="31"/>
                      <a:pt x="141" y="24"/>
                    </a:cubicBezTo>
                    <a:cubicBezTo>
                      <a:pt x="141" y="18"/>
                      <a:pt x="136" y="12"/>
                      <a:pt x="129" y="12"/>
                    </a:cubicBezTo>
                    <a:cubicBezTo>
                      <a:pt x="122" y="12"/>
                      <a:pt x="117" y="18"/>
                      <a:pt x="117" y="24"/>
                    </a:cubicBezTo>
                    <a:cubicBezTo>
                      <a:pt x="117" y="28"/>
                      <a:pt x="114" y="30"/>
                      <a:pt x="111" y="30"/>
                    </a:cubicBezTo>
                    <a:cubicBezTo>
                      <a:pt x="108" y="30"/>
                      <a:pt x="105" y="28"/>
                      <a:pt x="105" y="24"/>
                    </a:cubicBezTo>
                    <a:cubicBezTo>
                      <a:pt x="105" y="11"/>
                      <a:pt x="116" y="0"/>
                      <a:pt x="129" y="0"/>
                    </a:cubicBezTo>
                    <a:cubicBezTo>
                      <a:pt x="142" y="0"/>
                      <a:pt x="153" y="11"/>
                      <a:pt x="153" y="24"/>
                    </a:cubicBezTo>
                    <a:cubicBezTo>
                      <a:pt x="153" y="38"/>
                      <a:pt x="142" y="48"/>
                      <a:pt x="129"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9">
                <a:extLst>
                  <a:ext uri="{FF2B5EF4-FFF2-40B4-BE49-F238E27FC236}">
                    <a16:creationId xmlns:a16="http://schemas.microsoft.com/office/drawing/2014/main" id="{2AEC03B6-270C-42A1-996A-93AC86993FA9}"/>
                  </a:ext>
                </a:extLst>
              </p:cNvPr>
              <p:cNvSpPr>
                <a:spLocks/>
              </p:cNvSpPr>
              <p:nvPr/>
            </p:nvSpPr>
            <p:spPr bwMode="auto">
              <a:xfrm>
                <a:off x="-3536950" y="3560763"/>
                <a:ext cx="390525" cy="171450"/>
              </a:xfrm>
              <a:custGeom>
                <a:avLst/>
                <a:gdLst>
                  <a:gd name="T0" fmla="*/ 72 w 92"/>
                  <a:gd name="T1" fmla="*/ 40 h 40"/>
                  <a:gd name="T2" fmla="*/ 6 w 92"/>
                  <a:gd name="T3" fmla="*/ 40 h 40"/>
                  <a:gd name="T4" fmla="*/ 0 w 92"/>
                  <a:gd name="T5" fmla="*/ 34 h 40"/>
                  <a:gd name="T6" fmla="*/ 6 w 92"/>
                  <a:gd name="T7" fmla="*/ 28 h 40"/>
                  <a:gd name="T8" fmla="*/ 72 w 92"/>
                  <a:gd name="T9" fmla="*/ 28 h 40"/>
                  <a:gd name="T10" fmla="*/ 80 w 92"/>
                  <a:gd name="T11" fmla="*/ 20 h 40"/>
                  <a:gd name="T12" fmla="*/ 72 w 92"/>
                  <a:gd name="T13" fmla="*/ 12 h 40"/>
                  <a:gd name="T14" fmla="*/ 64 w 92"/>
                  <a:gd name="T15" fmla="*/ 18 h 40"/>
                  <a:gd name="T16" fmla="*/ 57 w 92"/>
                  <a:gd name="T17" fmla="*/ 22 h 40"/>
                  <a:gd name="T18" fmla="*/ 53 w 92"/>
                  <a:gd name="T19" fmla="*/ 14 h 40"/>
                  <a:gd name="T20" fmla="*/ 72 w 92"/>
                  <a:gd name="T21" fmla="*/ 0 h 40"/>
                  <a:gd name="T22" fmla="*/ 92 w 92"/>
                  <a:gd name="T23" fmla="*/ 20 h 40"/>
                  <a:gd name="T24" fmla="*/ 72 w 92"/>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40">
                    <a:moveTo>
                      <a:pt x="72" y="40"/>
                    </a:moveTo>
                    <a:cubicBezTo>
                      <a:pt x="6" y="40"/>
                      <a:pt x="6" y="40"/>
                      <a:pt x="6" y="40"/>
                    </a:cubicBezTo>
                    <a:cubicBezTo>
                      <a:pt x="3" y="40"/>
                      <a:pt x="0" y="38"/>
                      <a:pt x="0" y="34"/>
                    </a:cubicBezTo>
                    <a:cubicBezTo>
                      <a:pt x="0" y="31"/>
                      <a:pt x="3" y="28"/>
                      <a:pt x="6" y="28"/>
                    </a:cubicBezTo>
                    <a:cubicBezTo>
                      <a:pt x="72" y="28"/>
                      <a:pt x="72" y="28"/>
                      <a:pt x="72" y="28"/>
                    </a:cubicBezTo>
                    <a:cubicBezTo>
                      <a:pt x="77" y="28"/>
                      <a:pt x="80" y="25"/>
                      <a:pt x="80" y="20"/>
                    </a:cubicBezTo>
                    <a:cubicBezTo>
                      <a:pt x="80" y="16"/>
                      <a:pt x="77" y="12"/>
                      <a:pt x="72" y="12"/>
                    </a:cubicBezTo>
                    <a:cubicBezTo>
                      <a:pt x="69" y="12"/>
                      <a:pt x="65" y="14"/>
                      <a:pt x="64" y="18"/>
                    </a:cubicBezTo>
                    <a:cubicBezTo>
                      <a:pt x="63" y="21"/>
                      <a:pt x="60" y="23"/>
                      <a:pt x="57" y="22"/>
                    </a:cubicBezTo>
                    <a:cubicBezTo>
                      <a:pt x="54" y="21"/>
                      <a:pt x="52" y="17"/>
                      <a:pt x="53" y="14"/>
                    </a:cubicBezTo>
                    <a:cubicBezTo>
                      <a:pt x="55" y="6"/>
                      <a:pt x="63" y="0"/>
                      <a:pt x="72" y="0"/>
                    </a:cubicBezTo>
                    <a:cubicBezTo>
                      <a:pt x="83" y="0"/>
                      <a:pt x="92" y="9"/>
                      <a:pt x="92" y="20"/>
                    </a:cubicBezTo>
                    <a:cubicBezTo>
                      <a:pt x="92" y="31"/>
                      <a:pt x="83" y="40"/>
                      <a:pt x="72"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23">
                <a:extLst>
                  <a:ext uri="{FF2B5EF4-FFF2-40B4-BE49-F238E27FC236}">
                    <a16:creationId xmlns:a16="http://schemas.microsoft.com/office/drawing/2014/main" id="{76A33D1D-936B-422B-ABAF-75DFD01F85F5}"/>
                  </a:ext>
                </a:extLst>
              </p:cNvPr>
              <p:cNvSpPr>
                <a:spLocks noChangeArrowheads="1"/>
              </p:cNvSpPr>
              <p:nvPr/>
            </p:nvSpPr>
            <p:spPr bwMode="auto">
              <a:xfrm>
                <a:off x="-5318125" y="4576763"/>
                <a:ext cx="546100" cy="2301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24">
                <a:extLst>
                  <a:ext uri="{FF2B5EF4-FFF2-40B4-BE49-F238E27FC236}">
                    <a16:creationId xmlns:a16="http://schemas.microsoft.com/office/drawing/2014/main" id="{902E6676-057D-4829-8F91-5208C3E50697}"/>
                  </a:ext>
                </a:extLst>
              </p:cNvPr>
              <p:cNvSpPr>
                <a:spLocks noEditPoints="1"/>
              </p:cNvSpPr>
              <p:nvPr/>
            </p:nvSpPr>
            <p:spPr bwMode="auto">
              <a:xfrm>
                <a:off x="-5343525" y="4551363"/>
                <a:ext cx="598488" cy="282575"/>
              </a:xfrm>
              <a:custGeom>
                <a:avLst/>
                <a:gdLst>
                  <a:gd name="T0" fmla="*/ 135 w 141"/>
                  <a:gd name="T1" fmla="*/ 66 h 66"/>
                  <a:gd name="T2" fmla="*/ 6 w 141"/>
                  <a:gd name="T3" fmla="*/ 66 h 66"/>
                  <a:gd name="T4" fmla="*/ 0 w 141"/>
                  <a:gd name="T5" fmla="*/ 60 h 66"/>
                  <a:gd name="T6" fmla="*/ 0 w 141"/>
                  <a:gd name="T7" fmla="*/ 6 h 66"/>
                  <a:gd name="T8" fmla="*/ 6 w 141"/>
                  <a:gd name="T9" fmla="*/ 0 h 66"/>
                  <a:gd name="T10" fmla="*/ 135 w 141"/>
                  <a:gd name="T11" fmla="*/ 0 h 66"/>
                  <a:gd name="T12" fmla="*/ 141 w 141"/>
                  <a:gd name="T13" fmla="*/ 6 h 66"/>
                  <a:gd name="T14" fmla="*/ 141 w 141"/>
                  <a:gd name="T15" fmla="*/ 60 h 66"/>
                  <a:gd name="T16" fmla="*/ 135 w 141"/>
                  <a:gd name="T17" fmla="*/ 66 h 66"/>
                  <a:gd name="T18" fmla="*/ 12 w 141"/>
                  <a:gd name="T19" fmla="*/ 54 h 66"/>
                  <a:gd name="T20" fmla="*/ 129 w 141"/>
                  <a:gd name="T21" fmla="*/ 54 h 66"/>
                  <a:gd name="T22" fmla="*/ 129 w 141"/>
                  <a:gd name="T23" fmla="*/ 12 h 66"/>
                  <a:gd name="T24" fmla="*/ 12 w 141"/>
                  <a:gd name="T25" fmla="*/ 12 h 66"/>
                  <a:gd name="T26" fmla="*/ 12 w 141"/>
                  <a:gd name="T27" fmla="*/ 5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66">
                    <a:moveTo>
                      <a:pt x="135" y="66"/>
                    </a:moveTo>
                    <a:cubicBezTo>
                      <a:pt x="6" y="66"/>
                      <a:pt x="6" y="66"/>
                      <a:pt x="6" y="66"/>
                    </a:cubicBezTo>
                    <a:cubicBezTo>
                      <a:pt x="2" y="66"/>
                      <a:pt x="0" y="63"/>
                      <a:pt x="0" y="60"/>
                    </a:cubicBezTo>
                    <a:cubicBezTo>
                      <a:pt x="0" y="6"/>
                      <a:pt x="0" y="6"/>
                      <a:pt x="0" y="6"/>
                    </a:cubicBezTo>
                    <a:cubicBezTo>
                      <a:pt x="0" y="2"/>
                      <a:pt x="2" y="0"/>
                      <a:pt x="6" y="0"/>
                    </a:cubicBezTo>
                    <a:cubicBezTo>
                      <a:pt x="135" y="0"/>
                      <a:pt x="135" y="0"/>
                      <a:pt x="135" y="0"/>
                    </a:cubicBezTo>
                    <a:cubicBezTo>
                      <a:pt x="138" y="0"/>
                      <a:pt x="141" y="2"/>
                      <a:pt x="141" y="6"/>
                    </a:cubicBezTo>
                    <a:cubicBezTo>
                      <a:pt x="141" y="60"/>
                      <a:pt x="141" y="60"/>
                      <a:pt x="141" y="60"/>
                    </a:cubicBezTo>
                    <a:cubicBezTo>
                      <a:pt x="141" y="63"/>
                      <a:pt x="138" y="66"/>
                      <a:pt x="135" y="66"/>
                    </a:cubicBezTo>
                    <a:close/>
                    <a:moveTo>
                      <a:pt x="12" y="54"/>
                    </a:moveTo>
                    <a:cubicBezTo>
                      <a:pt x="129" y="54"/>
                      <a:pt x="129" y="54"/>
                      <a:pt x="129" y="54"/>
                    </a:cubicBezTo>
                    <a:cubicBezTo>
                      <a:pt x="129" y="12"/>
                      <a:pt x="129" y="12"/>
                      <a:pt x="129" y="12"/>
                    </a:cubicBezTo>
                    <a:cubicBezTo>
                      <a:pt x="12" y="12"/>
                      <a:pt x="12" y="12"/>
                      <a:pt x="12" y="12"/>
                    </a:cubicBezTo>
                    <a:lnTo>
                      <a:pt x="12"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42" name="Group 241">
                <a:extLst>
                  <a:ext uri="{FF2B5EF4-FFF2-40B4-BE49-F238E27FC236}">
                    <a16:creationId xmlns:a16="http://schemas.microsoft.com/office/drawing/2014/main" id="{404D02E4-1FF4-471A-B1B0-9B497F6FDA47}"/>
                  </a:ext>
                </a:extLst>
              </p:cNvPr>
              <p:cNvGrpSpPr/>
              <p:nvPr/>
            </p:nvGrpSpPr>
            <p:grpSpPr>
              <a:xfrm>
                <a:off x="-5500688" y="4637088"/>
                <a:ext cx="258763" cy="465138"/>
                <a:chOff x="-5500688" y="4637088"/>
                <a:chExt cx="258763" cy="465138"/>
              </a:xfrm>
              <a:solidFill>
                <a:schemeClr val="tx1"/>
              </a:solidFill>
            </p:grpSpPr>
            <p:sp>
              <p:nvSpPr>
                <p:cNvPr id="399" name="Rectangle 25">
                  <a:extLst>
                    <a:ext uri="{FF2B5EF4-FFF2-40B4-BE49-F238E27FC236}">
                      <a16:creationId xmlns:a16="http://schemas.microsoft.com/office/drawing/2014/main" id="{920C7ED2-C877-4EA9-8D5E-9A09AED015D0}"/>
                    </a:ext>
                  </a:extLst>
                </p:cNvPr>
                <p:cNvSpPr>
                  <a:spLocks noChangeArrowheads="1"/>
                </p:cNvSpPr>
                <p:nvPr/>
              </p:nvSpPr>
              <p:spPr bwMode="auto">
                <a:xfrm>
                  <a:off x="-5475288" y="4662488"/>
                  <a:ext cx="207963" cy="414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6">
                  <a:extLst>
                    <a:ext uri="{FF2B5EF4-FFF2-40B4-BE49-F238E27FC236}">
                      <a16:creationId xmlns:a16="http://schemas.microsoft.com/office/drawing/2014/main" id="{C6EF3DFF-4AF5-4385-A2CE-E9DAF8EB1469}"/>
                    </a:ext>
                  </a:extLst>
                </p:cNvPr>
                <p:cNvSpPr>
                  <a:spLocks noEditPoints="1"/>
                </p:cNvSpPr>
                <p:nvPr/>
              </p:nvSpPr>
              <p:spPr bwMode="auto">
                <a:xfrm>
                  <a:off x="-5500688" y="4637088"/>
                  <a:ext cx="258763" cy="465138"/>
                </a:xfrm>
                <a:custGeom>
                  <a:avLst/>
                  <a:gdLst>
                    <a:gd name="T0" fmla="*/ 55 w 61"/>
                    <a:gd name="T1" fmla="*/ 109 h 109"/>
                    <a:gd name="T2" fmla="*/ 6 w 61"/>
                    <a:gd name="T3" fmla="*/ 109 h 109"/>
                    <a:gd name="T4" fmla="*/ 0 w 61"/>
                    <a:gd name="T5" fmla="*/ 103 h 109"/>
                    <a:gd name="T6" fmla="*/ 0 w 61"/>
                    <a:gd name="T7" fmla="*/ 6 h 109"/>
                    <a:gd name="T8" fmla="*/ 6 w 61"/>
                    <a:gd name="T9" fmla="*/ 0 h 109"/>
                    <a:gd name="T10" fmla="*/ 55 w 61"/>
                    <a:gd name="T11" fmla="*/ 0 h 109"/>
                    <a:gd name="T12" fmla="*/ 61 w 61"/>
                    <a:gd name="T13" fmla="*/ 6 h 109"/>
                    <a:gd name="T14" fmla="*/ 61 w 61"/>
                    <a:gd name="T15" fmla="*/ 103 h 109"/>
                    <a:gd name="T16" fmla="*/ 55 w 61"/>
                    <a:gd name="T17" fmla="*/ 109 h 109"/>
                    <a:gd name="T18" fmla="*/ 12 w 61"/>
                    <a:gd name="T19" fmla="*/ 97 h 109"/>
                    <a:gd name="T20" fmla="*/ 49 w 61"/>
                    <a:gd name="T21" fmla="*/ 97 h 109"/>
                    <a:gd name="T22" fmla="*/ 49 w 61"/>
                    <a:gd name="T23" fmla="*/ 12 h 109"/>
                    <a:gd name="T24" fmla="*/ 12 w 61"/>
                    <a:gd name="T25" fmla="*/ 12 h 109"/>
                    <a:gd name="T26" fmla="*/ 12 w 61"/>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9">
                      <a:moveTo>
                        <a:pt x="55" y="109"/>
                      </a:moveTo>
                      <a:cubicBezTo>
                        <a:pt x="6" y="109"/>
                        <a:pt x="6" y="109"/>
                        <a:pt x="6" y="109"/>
                      </a:cubicBezTo>
                      <a:cubicBezTo>
                        <a:pt x="3" y="109"/>
                        <a:pt x="0" y="107"/>
                        <a:pt x="0" y="103"/>
                      </a:cubicBezTo>
                      <a:cubicBezTo>
                        <a:pt x="0" y="6"/>
                        <a:pt x="0" y="6"/>
                        <a:pt x="0" y="6"/>
                      </a:cubicBezTo>
                      <a:cubicBezTo>
                        <a:pt x="0" y="3"/>
                        <a:pt x="3" y="0"/>
                        <a:pt x="6" y="0"/>
                      </a:cubicBezTo>
                      <a:cubicBezTo>
                        <a:pt x="55" y="0"/>
                        <a:pt x="55" y="0"/>
                        <a:pt x="55" y="0"/>
                      </a:cubicBezTo>
                      <a:cubicBezTo>
                        <a:pt x="58" y="0"/>
                        <a:pt x="61" y="3"/>
                        <a:pt x="61" y="6"/>
                      </a:cubicBezTo>
                      <a:cubicBezTo>
                        <a:pt x="61" y="103"/>
                        <a:pt x="61" y="103"/>
                        <a:pt x="61" y="103"/>
                      </a:cubicBezTo>
                      <a:cubicBezTo>
                        <a:pt x="61" y="107"/>
                        <a:pt x="58" y="109"/>
                        <a:pt x="55" y="109"/>
                      </a:cubicBezTo>
                      <a:close/>
                      <a:moveTo>
                        <a:pt x="12" y="97"/>
                      </a:moveTo>
                      <a:cubicBezTo>
                        <a:pt x="49" y="97"/>
                        <a:pt x="49" y="97"/>
                        <a:pt x="49" y="97"/>
                      </a:cubicBezTo>
                      <a:cubicBezTo>
                        <a:pt x="49" y="12"/>
                        <a:pt x="49" y="12"/>
                        <a:pt x="49"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7">
                  <a:extLst>
                    <a:ext uri="{FF2B5EF4-FFF2-40B4-BE49-F238E27FC236}">
                      <a16:creationId xmlns:a16="http://schemas.microsoft.com/office/drawing/2014/main" id="{0CBD4034-12F1-43A5-9D2C-37933A8E0365}"/>
                    </a:ext>
                  </a:extLst>
                </p:cNvPr>
                <p:cNvSpPr>
                  <a:spLocks/>
                </p:cNvSpPr>
                <p:nvPr/>
              </p:nvSpPr>
              <p:spPr bwMode="auto">
                <a:xfrm>
                  <a:off x="-5497513" y="4730750"/>
                  <a:ext cx="250825" cy="119063"/>
                </a:xfrm>
                <a:custGeom>
                  <a:avLst/>
                  <a:gdLst>
                    <a:gd name="T0" fmla="*/ 29 w 59"/>
                    <a:gd name="T1" fmla="*/ 28 h 28"/>
                    <a:gd name="T2" fmla="*/ 26 w 59"/>
                    <a:gd name="T3" fmla="*/ 27 h 28"/>
                    <a:gd name="T4" fmla="*/ 3 w 59"/>
                    <a:gd name="T5" fmla="*/ 12 h 28"/>
                    <a:gd name="T6" fmla="*/ 2 w 59"/>
                    <a:gd name="T7" fmla="*/ 4 h 28"/>
                    <a:gd name="T8" fmla="*/ 10 w 59"/>
                    <a:gd name="T9" fmla="*/ 2 h 28"/>
                    <a:gd name="T10" fmla="*/ 29 w 59"/>
                    <a:gd name="T11" fmla="*/ 14 h 28"/>
                    <a:gd name="T12" fmla="*/ 49 w 59"/>
                    <a:gd name="T13" fmla="*/ 2 h 28"/>
                    <a:gd name="T14" fmla="*/ 57 w 59"/>
                    <a:gd name="T15" fmla="*/ 4 h 28"/>
                    <a:gd name="T16" fmla="*/ 56 w 59"/>
                    <a:gd name="T17" fmla="*/ 12 h 28"/>
                    <a:gd name="T18" fmla="*/ 33 w 59"/>
                    <a:gd name="T19" fmla="*/ 27 h 28"/>
                    <a:gd name="T20" fmla="*/ 29 w 59"/>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8">
                      <a:moveTo>
                        <a:pt x="29" y="28"/>
                      </a:moveTo>
                      <a:cubicBezTo>
                        <a:pt x="28" y="28"/>
                        <a:pt x="27" y="27"/>
                        <a:pt x="26" y="27"/>
                      </a:cubicBezTo>
                      <a:cubicBezTo>
                        <a:pt x="3" y="12"/>
                        <a:pt x="3" y="12"/>
                        <a:pt x="3" y="12"/>
                      </a:cubicBezTo>
                      <a:cubicBezTo>
                        <a:pt x="1" y="10"/>
                        <a:pt x="0" y="6"/>
                        <a:pt x="2" y="4"/>
                      </a:cubicBezTo>
                      <a:cubicBezTo>
                        <a:pt x="3" y="1"/>
                        <a:pt x="7" y="0"/>
                        <a:pt x="10" y="2"/>
                      </a:cubicBezTo>
                      <a:cubicBezTo>
                        <a:pt x="29" y="14"/>
                        <a:pt x="29" y="14"/>
                        <a:pt x="29" y="14"/>
                      </a:cubicBezTo>
                      <a:cubicBezTo>
                        <a:pt x="49" y="2"/>
                        <a:pt x="49" y="2"/>
                        <a:pt x="49" y="2"/>
                      </a:cubicBezTo>
                      <a:cubicBezTo>
                        <a:pt x="52" y="0"/>
                        <a:pt x="56" y="1"/>
                        <a:pt x="57" y="4"/>
                      </a:cubicBezTo>
                      <a:cubicBezTo>
                        <a:pt x="59" y="6"/>
                        <a:pt x="58" y="10"/>
                        <a:pt x="56" y="12"/>
                      </a:cubicBezTo>
                      <a:cubicBezTo>
                        <a:pt x="33" y="27"/>
                        <a:pt x="33" y="27"/>
                        <a:pt x="33" y="27"/>
                      </a:cubicBezTo>
                      <a:cubicBezTo>
                        <a:pt x="32" y="27"/>
                        <a:pt x="31" y="28"/>
                        <a:pt x="2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8">
                  <a:extLst>
                    <a:ext uri="{FF2B5EF4-FFF2-40B4-BE49-F238E27FC236}">
                      <a16:creationId xmlns:a16="http://schemas.microsoft.com/office/drawing/2014/main" id="{F5E45FD2-2005-4FC5-BFC5-2EBD6D6AC902}"/>
                    </a:ext>
                  </a:extLst>
                </p:cNvPr>
                <p:cNvSpPr>
                  <a:spLocks/>
                </p:cNvSpPr>
                <p:nvPr/>
              </p:nvSpPr>
              <p:spPr bwMode="auto">
                <a:xfrm>
                  <a:off x="-5497513" y="4837113"/>
                  <a:ext cx="250825" cy="115888"/>
                </a:xfrm>
                <a:custGeom>
                  <a:avLst/>
                  <a:gdLst>
                    <a:gd name="T0" fmla="*/ 29 w 59"/>
                    <a:gd name="T1" fmla="*/ 27 h 27"/>
                    <a:gd name="T2" fmla="*/ 26 w 59"/>
                    <a:gd name="T3" fmla="*/ 26 h 27"/>
                    <a:gd name="T4" fmla="*/ 3 w 59"/>
                    <a:gd name="T5" fmla="*/ 12 h 27"/>
                    <a:gd name="T6" fmla="*/ 2 w 59"/>
                    <a:gd name="T7" fmla="*/ 3 h 27"/>
                    <a:gd name="T8" fmla="*/ 10 w 59"/>
                    <a:gd name="T9" fmla="*/ 1 h 27"/>
                    <a:gd name="T10" fmla="*/ 29 w 59"/>
                    <a:gd name="T11" fmla="*/ 14 h 27"/>
                    <a:gd name="T12" fmla="*/ 49 w 59"/>
                    <a:gd name="T13" fmla="*/ 1 h 27"/>
                    <a:gd name="T14" fmla="*/ 57 w 59"/>
                    <a:gd name="T15" fmla="*/ 3 h 27"/>
                    <a:gd name="T16" fmla="*/ 56 w 59"/>
                    <a:gd name="T17" fmla="*/ 12 h 27"/>
                    <a:gd name="T18" fmla="*/ 33 w 59"/>
                    <a:gd name="T19" fmla="*/ 26 h 27"/>
                    <a:gd name="T20" fmla="*/ 29 w 59"/>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7">
                      <a:moveTo>
                        <a:pt x="29" y="27"/>
                      </a:moveTo>
                      <a:cubicBezTo>
                        <a:pt x="28" y="27"/>
                        <a:pt x="27" y="27"/>
                        <a:pt x="26" y="26"/>
                      </a:cubicBezTo>
                      <a:cubicBezTo>
                        <a:pt x="3" y="12"/>
                        <a:pt x="3" y="12"/>
                        <a:pt x="3" y="12"/>
                      </a:cubicBezTo>
                      <a:cubicBezTo>
                        <a:pt x="1" y="10"/>
                        <a:pt x="0" y="6"/>
                        <a:pt x="2" y="3"/>
                      </a:cubicBezTo>
                      <a:cubicBezTo>
                        <a:pt x="3" y="0"/>
                        <a:pt x="7" y="0"/>
                        <a:pt x="10" y="1"/>
                      </a:cubicBezTo>
                      <a:cubicBezTo>
                        <a:pt x="29" y="14"/>
                        <a:pt x="29" y="14"/>
                        <a:pt x="29" y="14"/>
                      </a:cubicBezTo>
                      <a:cubicBezTo>
                        <a:pt x="49" y="1"/>
                        <a:pt x="49" y="1"/>
                        <a:pt x="49" y="1"/>
                      </a:cubicBezTo>
                      <a:cubicBezTo>
                        <a:pt x="52" y="0"/>
                        <a:pt x="56" y="0"/>
                        <a:pt x="57" y="3"/>
                      </a:cubicBezTo>
                      <a:cubicBezTo>
                        <a:pt x="59" y="6"/>
                        <a:pt x="58" y="10"/>
                        <a:pt x="56" y="12"/>
                      </a:cubicBezTo>
                      <a:cubicBezTo>
                        <a:pt x="33" y="26"/>
                        <a:pt x="33" y="26"/>
                        <a:pt x="33" y="26"/>
                      </a:cubicBezTo>
                      <a:cubicBezTo>
                        <a:pt x="32" y="27"/>
                        <a:pt x="31" y="27"/>
                        <a:pt x="29"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9">
                  <a:extLst>
                    <a:ext uri="{FF2B5EF4-FFF2-40B4-BE49-F238E27FC236}">
                      <a16:creationId xmlns:a16="http://schemas.microsoft.com/office/drawing/2014/main" id="{07719FF8-BADE-457B-99CD-67AD85098AA0}"/>
                    </a:ext>
                  </a:extLst>
                </p:cNvPr>
                <p:cNvSpPr>
                  <a:spLocks/>
                </p:cNvSpPr>
                <p:nvPr/>
              </p:nvSpPr>
              <p:spPr bwMode="auto">
                <a:xfrm>
                  <a:off x="-5497513" y="4940300"/>
                  <a:ext cx="250825" cy="119063"/>
                </a:xfrm>
                <a:custGeom>
                  <a:avLst/>
                  <a:gdLst>
                    <a:gd name="T0" fmla="*/ 29 w 59"/>
                    <a:gd name="T1" fmla="*/ 28 h 28"/>
                    <a:gd name="T2" fmla="*/ 26 w 59"/>
                    <a:gd name="T3" fmla="*/ 27 h 28"/>
                    <a:gd name="T4" fmla="*/ 3 w 59"/>
                    <a:gd name="T5" fmla="*/ 12 h 28"/>
                    <a:gd name="T6" fmla="*/ 2 w 59"/>
                    <a:gd name="T7" fmla="*/ 4 h 28"/>
                    <a:gd name="T8" fmla="*/ 10 w 59"/>
                    <a:gd name="T9" fmla="*/ 2 h 28"/>
                    <a:gd name="T10" fmla="*/ 29 w 59"/>
                    <a:gd name="T11" fmla="*/ 15 h 28"/>
                    <a:gd name="T12" fmla="*/ 49 w 59"/>
                    <a:gd name="T13" fmla="*/ 2 h 28"/>
                    <a:gd name="T14" fmla="*/ 57 w 59"/>
                    <a:gd name="T15" fmla="*/ 4 h 28"/>
                    <a:gd name="T16" fmla="*/ 56 w 59"/>
                    <a:gd name="T17" fmla="*/ 12 h 28"/>
                    <a:gd name="T18" fmla="*/ 33 w 59"/>
                    <a:gd name="T19" fmla="*/ 27 h 28"/>
                    <a:gd name="T20" fmla="*/ 29 w 59"/>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8">
                      <a:moveTo>
                        <a:pt x="29" y="28"/>
                      </a:moveTo>
                      <a:cubicBezTo>
                        <a:pt x="28" y="28"/>
                        <a:pt x="27" y="28"/>
                        <a:pt x="26" y="27"/>
                      </a:cubicBezTo>
                      <a:cubicBezTo>
                        <a:pt x="3" y="12"/>
                        <a:pt x="3" y="12"/>
                        <a:pt x="3" y="12"/>
                      </a:cubicBezTo>
                      <a:cubicBezTo>
                        <a:pt x="1" y="10"/>
                        <a:pt x="0" y="7"/>
                        <a:pt x="2" y="4"/>
                      </a:cubicBezTo>
                      <a:cubicBezTo>
                        <a:pt x="3" y="1"/>
                        <a:pt x="7" y="0"/>
                        <a:pt x="10" y="2"/>
                      </a:cubicBezTo>
                      <a:cubicBezTo>
                        <a:pt x="29" y="15"/>
                        <a:pt x="29" y="15"/>
                        <a:pt x="29" y="15"/>
                      </a:cubicBezTo>
                      <a:cubicBezTo>
                        <a:pt x="49" y="2"/>
                        <a:pt x="49" y="2"/>
                        <a:pt x="49" y="2"/>
                      </a:cubicBezTo>
                      <a:cubicBezTo>
                        <a:pt x="52" y="0"/>
                        <a:pt x="56" y="1"/>
                        <a:pt x="57" y="4"/>
                      </a:cubicBezTo>
                      <a:cubicBezTo>
                        <a:pt x="59" y="7"/>
                        <a:pt x="58" y="10"/>
                        <a:pt x="56" y="12"/>
                      </a:cubicBezTo>
                      <a:cubicBezTo>
                        <a:pt x="33" y="27"/>
                        <a:pt x="33" y="27"/>
                        <a:pt x="33" y="27"/>
                      </a:cubicBezTo>
                      <a:cubicBezTo>
                        <a:pt x="32" y="28"/>
                        <a:pt x="31" y="28"/>
                        <a:pt x="2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3" name="Group 242">
                <a:extLst>
                  <a:ext uri="{FF2B5EF4-FFF2-40B4-BE49-F238E27FC236}">
                    <a16:creationId xmlns:a16="http://schemas.microsoft.com/office/drawing/2014/main" id="{8F84D86F-1651-4304-9A00-AD5F17E8271F}"/>
                  </a:ext>
                </a:extLst>
              </p:cNvPr>
              <p:cNvGrpSpPr/>
              <p:nvPr/>
            </p:nvGrpSpPr>
            <p:grpSpPr>
              <a:xfrm>
                <a:off x="-4826000" y="4637088"/>
                <a:ext cx="258763" cy="465138"/>
                <a:chOff x="-4826000" y="4637088"/>
                <a:chExt cx="258763" cy="465138"/>
              </a:xfrm>
              <a:solidFill>
                <a:schemeClr val="tx1"/>
              </a:solidFill>
            </p:grpSpPr>
            <p:sp>
              <p:nvSpPr>
                <p:cNvPr id="394" name="Rectangle 30">
                  <a:extLst>
                    <a:ext uri="{FF2B5EF4-FFF2-40B4-BE49-F238E27FC236}">
                      <a16:creationId xmlns:a16="http://schemas.microsoft.com/office/drawing/2014/main" id="{2C516B55-0B08-49FB-B23B-336AE8A47CBC}"/>
                    </a:ext>
                  </a:extLst>
                </p:cNvPr>
                <p:cNvSpPr>
                  <a:spLocks noChangeArrowheads="1"/>
                </p:cNvSpPr>
                <p:nvPr/>
              </p:nvSpPr>
              <p:spPr bwMode="auto">
                <a:xfrm>
                  <a:off x="-4800600" y="4662488"/>
                  <a:ext cx="207963" cy="414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1">
                  <a:extLst>
                    <a:ext uri="{FF2B5EF4-FFF2-40B4-BE49-F238E27FC236}">
                      <a16:creationId xmlns:a16="http://schemas.microsoft.com/office/drawing/2014/main" id="{CFA0A6A8-25D0-4793-B287-C8336167EF9D}"/>
                    </a:ext>
                  </a:extLst>
                </p:cNvPr>
                <p:cNvSpPr>
                  <a:spLocks noEditPoints="1"/>
                </p:cNvSpPr>
                <p:nvPr/>
              </p:nvSpPr>
              <p:spPr bwMode="auto">
                <a:xfrm>
                  <a:off x="-4826000" y="4637088"/>
                  <a:ext cx="258763" cy="465138"/>
                </a:xfrm>
                <a:custGeom>
                  <a:avLst/>
                  <a:gdLst>
                    <a:gd name="T0" fmla="*/ 55 w 61"/>
                    <a:gd name="T1" fmla="*/ 109 h 109"/>
                    <a:gd name="T2" fmla="*/ 6 w 61"/>
                    <a:gd name="T3" fmla="*/ 109 h 109"/>
                    <a:gd name="T4" fmla="*/ 0 w 61"/>
                    <a:gd name="T5" fmla="*/ 103 h 109"/>
                    <a:gd name="T6" fmla="*/ 0 w 61"/>
                    <a:gd name="T7" fmla="*/ 6 h 109"/>
                    <a:gd name="T8" fmla="*/ 6 w 61"/>
                    <a:gd name="T9" fmla="*/ 0 h 109"/>
                    <a:gd name="T10" fmla="*/ 55 w 61"/>
                    <a:gd name="T11" fmla="*/ 0 h 109"/>
                    <a:gd name="T12" fmla="*/ 61 w 61"/>
                    <a:gd name="T13" fmla="*/ 6 h 109"/>
                    <a:gd name="T14" fmla="*/ 61 w 61"/>
                    <a:gd name="T15" fmla="*/ 103 h 109"/>
                    <a:gd name="T16" fmla="*/ 55 w 61"/>
                    <a:gd name="T17" fmla="*/ 109 h 109"/>
                    <a:gd name="T18" fmla="*/ 12 w 61"/>
                    <a:gd name="T19" fmla="*/ 97 h 109"/>
                    <a:gd name="T20" fmla="*/ 49 w 61"/>
                    <a:gd name="T21" fmla="*/ 97 h 109"/>
                    <a:gd name="T22" fmla="*/ 49 w 61"/>
                    <a:gd name="T23" fmla="*/ 12 h 109"/>
                    <a:gd name="T24" fmla="*/ 12 w 61"/>
                    <a:gd name="T25" fmla="*/ 12 h 109"/>
                    <a:gd name="T26" fmla="*/ 12 w 61"/>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9">
                      <a:moveTo>
                        <a:pt x="55" y="109"/>
                      </a:moveTo>
                      <a:cubicBezTo>
                        <a:pt x="6" y="109"/>
                        <a:pt x="6" y="109"/>
                        <a:pt x="6" y="109"/>
                      </a:cubicBezTo>
                      <a:cubicBezTo>
                        <a:pt x="3" y="109"/>
                        <a:pt x="0" y="107"/>
                        <a:pt x="0" y="103"/>
                      </a:cubicBezTo>
                      <a:cubicBezTo>
                        <a:pt x="0" y="6"/>
                        <a:pt x="0" y="6"/>
                        <a:pt x="0" y="6"/>
                      </a:cubicBezTo>
                      <a:cubicBezTo>
                        <a:pt x="0" y="3"/>
                        <a:pt x="3" y="0"/>
                        <a:pt x="6" y="0"/>
                      </a:cubicBezTo>
                      <a:cubicBezTo>
                        <a:pt x="55" y="0"/>
                        <a:pt x="55" y="0"/>
                        <a:pt x="55" y="0"/>
                      </a:cubicBezTo>
                      <a:cubicBezTo>
                        <a:pt x="58" y="0"/>
                        <a:pt x="61" y="3"/>
                        <a:pt x="61" y="6"/>
                      </a:cubicBezTo>
                      <a:cubicBezTo>
                        <a:pt x="61" y="103"/>
                        <a:pt x="61" y="103"/>
                        <a:pt x="61" y="103"/>
                      </a:cubicBezTo>
                      <a:cubicBezTo>
                        <a:pt x="61" y="107"/>
                        <a:pt x="58" y="109"/>
                        <a:pt x="55" y="109"/>
                      </a:cubicBezTo>
                      <a:close/>
                      <a:moveTo>
                        <a:pt x="12" y="97"/>
                      </a:moveTo>
                      <a:cubicBezTo>
                        <a:pt x="49" y="97"/>
                        <a:pt x="49" y="97"/>
                        <a:pt x="49" y="97"/>
                      </a:cubicBezTo>
                      <a:cubicBezTo>
                        <a:pt x="49" y="12"/>
                        <a:pt x="49" y="12"/>
                        <a:pt x="49"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2">
                  <a:extLst>
                    <a:ext uri="{FF2B5EF4-FFF2-40B4-BE49-F238E27FC236}">
                      <a16:creationId xmlns:a16="http://schemas.microsoft.com/office/drawing/2014/main" id="{86A59474-637A-43B8-8444-8B7317D6C4B3}"/>
                    </a:ext>
                  </a:extLst>
                </p:cNvPr>
                <p:cNvSpPr>
                  <a:spLocks/>
                </p:cNvSpPr>
                <p:nvPr/>
              </p:nvSpPr>
              <p:spPr bwMode="auto">
                <a:xfrm>
                  <a:off x="-4822825" y="4730750"/>
                  <a:ext cx="250825" cy="119063"/>
                </a:xfrm>
                <a:custGeom>
                  <a:avLst/>
                  <a:gdLst>
                    <a:gd name="T0" fmla="*/ 29 w 59"/>
                    <a:gd name="T1" fmla="*/ 28 h 28"/>
                    <a:gd name="T2" fmla="*/ 26 w 59"/>
                    <a:gd name="T3" fmla="*/ 27 h 28"/>
                    <a:gd name="T4" fmla="*/ 3 w 59"/>
                    <a:gd name="T5" fmla="*/ 12 h 28"/>
                    <a:gd name="T6" fmla="*/ 2 w 59"/>
                    <a:gd name="T7" fmla="*/ 4 h 28"/>
                    <a:gd name="T8" fmla="*/ 10 w 59"/>
                    <a:gd name="T9" fmla="*/ 2 h 28"/>
                    <a:gd name="T10" fmla="*/ 29 w 59"/>
                    <a:gd name="T11" fmla="*/ 14 h 28"/>
                    <a:gd name="T12" fmla="*/ 49 w 59"/>
                    <a:gd name="T13" fmla="*/ 2 h 28"/>
                    <a:gd name="T14" fmla="*/ 57 w 59"/>
                    <a:gd name="T15" fmla="*/ 4 h 28"/>
                    <a:gd name="T16" fmla="*/ 55 w 59"/>
                    <a:gd name="T17" fmla="*/ 12 h 28"/>
                    <a:gd name="T18" fmla="*/ 33 w 59"/>
                    <a:gd name="T19" fmla="*/ 27 h 28"/>
                    <a:gd name="T20" fmla="*/ 29 w 59"/>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8">
                      <a:moveTo>
                        <a:pt x="29" y="28"/>
                      </a:moveTo>
                      <a:cubicBezTo>
                        <a:pt x="28" y="28"/>
                        <a:pt x="27" y="27"/>
                        <a:pt x="26" y="27"/>
                      </a:cubicBezTo>
                      <a:cubicBezTo>
                        <a:pt x="3" y="12"/>
                        <a:pt x="3" y="12"/>
                        <a:pt x="3" y="12"/>
                      </a:cubicBezTo>
                      <a:cubicBezTo>
                        <a:pt x="1" y="10"/>
                        <a:pt x="0" y="6"/>
                        <a:pt x="2" y="4"/>
                      </a:cubicBezTo>
                      <a:cubicBezTo>
                        <a:pt x="3" y="1"/>
                        <a:pt x="7" y="0"/>
                        <a:pt x="10" y="2"/>
                      </a:cubicBezTo>
                      <a:cubicBezTo>
                        <a:pt x="29" y="14"/>
                        <a:pt x="29" y="14"/>
                        <a:pt x="29" y="14"/>
                      </a:cubicBezTo>
                      <a:cubicBezTo>
                        <a:pt x="49" y="2"/>
                        <a:pt x="49" y="2"/>
                        <a:pt x="49" y="2"/>
                      </a:cubicBezTo>
                      <a:cubicBezTo>
                        <a:pt x="52" y="0"/>
                        <a:pt x="55" y="1"/>
                        <a:pt x="57" y="4"/>
                      </a:cubicBezTo>
                      <a:cubicBezTo>
                        <a:pt x="59" y="6"/>
                        <a:pt x="58" y="10"/>
                        <a:pt x="55" y="12"/>
                      </a:cubicBezTo>
                      <a:cubicBezTo>
                        <a:pt x="33" y="27"/>
                        <a:pt x="33" y="27"/>
                        <a:pt x="33" y="27"/>
                      </a:cubicBezTo>
                      <a:cubicBezTo>
                        <a:pt x="32" y="27"/>
                        <a:pt x="30" y="28"/>
                        <a:pt x="2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33">
                  <a:extLst>
                    <a:ext uri="{FF2B5EF4-FFF2-40B4-BE49-F238E27FC236}">
                      <a16:creationId xmlns:a16="http://schemas.microsoft.com/office/drawing/2014/main" id="{B45B411A-D822-472E-B0E5-E46F417CB35C}"/>
                    </a:ext>
                  </a:extLst>
                </p:cNvPr>
                <p:cNvSpPr>
                  <a:spLocks/>
                </p:cNvSpPr>
                <p:nvPr/>
              </p:nvSpPr>
              <p:spPr bwMode="auto">
                <a:xfrm>
                  <a:off x="-4822825" y="4837113"/>
                  <a:ext cx="250825" cy="115888"/>
                </a:xfrm>
                <a:custGeom>
                  <a:avLst/>
                  <a:gdLst>
                    <a:gd name="T0" fmla="*/ 29 w 59"/>
                    <a:gd name="T1" fmla="*/ 27 h 27"/>
                    <a:gd name="T2" fmla="*/ 26 w 59"/>
                    <a:gd name="T3" fmla="*/ 26 h 27"/>
                    <a:gd name="T4" fmla="*/ 3 w 59"/>
                    <a:gd name="T5" fmla="*/ 12 h 27"/>
                    <a:gd name="T6" fmla="*/ 2 w 59"/>
                    <a:gd name="T7" fmla="*/ 3 h 27"/>
                    <a:gd name="T8" fmla="*/ 10 w 59"/>
                    <a:gd name="T9" fmla="*/ 1 h 27"/>
                    <a:gd name="T10" fmla="*/ 29 w 59"/>
                    <a:gd name="T11" fmla="*/ 14 h 27"/>
                    <a:gd name="T12" fmla="*/ 49 w 59"/>
                    <a:gd name="T13" fmla="*/ 1 h 27"/>
                    <a:gd name="T14" fmla="*/ 57 w 59"/>
                    <a:gd name="T15" fmla="*/ 3 h 27"/>
                    <a:gd name="T16" fmla="*/ 55 w 59"/>
                    <a:gd name="T17" fmla="*/ 12 h 27"/>
                    <a:gd name="T18" fmla="*/ 33 w 59"/>
                    <a:gd name="T19" fmla="*/ 26 h 27"/>
                    <a:gd name="T20" fmla="*/ 29 w 59"/>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7">
                      <a:moveTo>
                        <a:pt x="29" y="27"/>
                      </a:moveTo>
                      <a:cubicBezTo>
                        <a:pt x="28" y="27"/>
                        <a:pt x="27" y="27"/>
                        <a:pt x="26" y="26"/>
                      </a:cubicBezTo>
                      <a:cubicBezTo>
                        <a:pt x="3" y="12"/>
                        <a:pt x="3" y="12"/>
                        <a:pt x="3" y="12"/>
                      </a:cubicBezTo>
                      <a:cubicBezTo>
                        <a:pt x="1" y="10"/>
                        <a:pt x="0" y="6"/>
                        <a:pt x="2" y="3"/>
                      </a:cubicBezTo>
                      <a:cubicBezTo>
                        <a:pt x="3" y="0"/>
                        <a:pt x="7" y="0"/>
                        <a:pt x="10" y="1"/>
                      </a:cubicBezTo>
                      <a:cubicBezTo>
                        <a:pt x="29" y="14"/>
                        <a:pt x="29" y="14"/>
                        <a:pt x="29" y="14"/>
                      </a:cubicBezTo>
                      <a:cubicBezTo>
                        <a:pt x="49" y="1"/>
                        <a:pt x="49" y="1"/>
                        <a:pt x="49" y="1"/>
                      </a:cubicBezTo>
                      <a:cubicBezTo>
                        <a:pt x="52" y="0"/>
                        <a:pt x="55" y="0"/>
                        <a:pt x="57" y="3"/>
                      </a:cubicBezTo>
                      <a:cubicBezTo>
                        <a:pt x="59" y="6"/>
                        <a:pt x="58" y="10"/>
                        <a:pt x="55" y="12"/>
                      </a:cubicBezTo>
                      <a:cubicBezTo>
                        <a:pt x="33" y="26"/>
                        <a:pt x="33" y="26"/>
                        <a:pt x="33" y="26"/>
                      </a:cubicBezTo>
                      <a:cubicBezTo>
                        <a:pt x="32" y="27"/>
                        <a:pt x="30" y="27"/>
                        <a:pt x="29"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34">
                  <a:extLst>
                    <a:ext uri="{FF2B5EF4-FFF2-40B4-BE49-F238E27FC236}">
                      <a16:creationId xmlns:a16="http://schemas.microsoft.com/office/drawing/2014/main" id="{E7B7ACB6-6EE6-47C8-BAD2-F2E82B9BE113}"/>
                    </a:ext>
                  </a:extLst>
                </p:cNvPr>
                <p:cNvSpPr>
                  <a:spLocks/>
                </p:cNvSpPr>
                <p:nvPr/>
              </p:nvSpPr>
              <p:spPr bwMode="auto">
                <a:xfrm>
                  <a:off x="-4822825" y="4940300"/>
                  <a:ext cx="250825" cy="119063"/>
                </a:xfrm>
                <a:custGeom>
                  <a:avLst/>
                  <a:gdLst>
                    <a:gd name="T0" fmla="*/ 29 w 59"/>
                    <a:gd name="T1" fmla="*/ 28 h 28"/>
                    <a:gd name="T2" fmla="*/ 26 w 59"/>
                    <a:gd name="T3" fmla="*/ 27 h 28"/>
                    <a:gd name="T4" fmla="*/ 3 w 59"/>
                    <a:gd name="T5" fmla="*/ 12 h 28"/>
                    <a:gd name="T6" fmla="*/ 2 w 59"/>
                    <a:gd name="T7" fmla="*/ 4 h 28"/>
                    <a:gd name="T8" fmla="*/ 10 w 59"/>
                    <a:gd name="T9" fmla="*/ 2 h 28"/>
                    <a:gd name="T10" fmla="*/ 29 w 59"/>
                    <a:gd name="T11" fmla="*/ 15 h 28"/>
                    <a:gd name="T12" fmla="*/ 49 w 59"/>
                    <a:gd name="T13" fmla="*/ 2 h 28"/>
                    <a:gd name="T14" fmla="*/ 57 w 59"/>
                    <a:gd name="T15" fmla="*/ 4 h 28"/>
                    <a:gd name="T16" fmla="*/ 55 w 59"/>
                    <a:gd name="T17" fmla="*/ 12 h 28"/>
                    <a:gd name="T18" fmla="*/ 33 w 59"/>
                    <a:gd name="T19" fmla="*/ 27 h 28"/>
                    <a:gd name="T20" fmla="*/ 29 w 59"/>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8">
                      <a:moveTo>
                        <a:pt x="29" y="28"/>
                      </a:moveTo>
                      <a:cubicBezTo>
                        <a:pt x="28" y="28"/>
                        <a:pt x="27" y="28"/>
                        <a:pt x="26" y="27"/>
                      </a:cubicBezTo>
                      <a:cubicBezTo>
                        <a:pt x="3" y="12"/>
                        <a:pt x="3" y="12"/>
                        <a:pt x="3" y="12"/>
                      </a:cubicBezTo>
                      <a:cubicBezTo>
                        <a:pt x="1" y="10"/>
                        <a:pt x="0" y="7"/>
                        <a:pt x="2" y="4"/>
                      </a:cubicBezTo>
                      <a:cubicBezTo>
                        <a:pt x="3" y="1"/>
                        <a:pt x="7" y="0"/>
                        <a:pt x="10" y="2"/>
                      </a:cubicBezTo>
                      <a:cubicBezTo>
                        <a:pt x="29" y="15"/>
                        <a:pt x="29" y="15"/>
                        <a:pt x="29" y="15"/>
                      </a:cubicBezTo>
                      <a:cubicBezTo>
                        <a:pt x="49" y="2"/>
                        <a:pt x="49" y="2"/>
                        <a:pt x="49" y="2"/>
                      </a:cubicBezTo>
                      <a:cubicBezTo>
                        <a:pt x="52" y="0"/>
                        <a:pt x="55" y="1"/>
                        <a:pt x="57" y="4"/>
                      </a:cubicBezTo>
                      <a:cubicBezTo>
                        <a:pt x="59" y="7"/>
                        <a:pt x="58" y="10"/>
                        <a:pt x="55" y="12"/>
                      </a:cubicBezTo>
                      <a:cubicBezTo>
                        <a:pt x="33" y="27"/>
                        <a:pt x="33" y="27"/>
                        <a:pt x="33" y="27"/>
                      </a:cubicBezTo>
                      <a:cubicBezTo>
                        <a:pt x="32" y="28"/>
                        <a:pt x="30" y="28"/>
                        <a:pt x="2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4" name="Freeform 35">
                <a:extLst>
                  <a:ext uri="{FF2B5EF4-FFF2-40B4-BE49-F238E27FC236}">
                    <a16:creationId xmlns:a16="http://schemas.microsoft.com/office/drawing/2014/main" id="{99228574-118A-4BB5-8E4C-CA060A078C90}"/>
                  </a:ext>
                </a:extLst>
              </p:cNvPr>
              <p:cNvSpPr>
                <a:spLocks/>
              </p:cNvSpPr>
              <p:nvPr/>
            </p:nvSpPr>
            <p:spPr bwMode="auto">
              <a:xfrm>
                <a:off x="-5314950" y="3894138"/>
                <a:ext cx="560388" cy="106363"/>
              </a:xfrm>
              <a:custGeom>
                <a:avLst/>
                <a:gdLst>
                  <a:gd name="T0" fmla="*/ 353 w 353"/>
                  <a:gd name="T1" fmla="*/ 67 h 67"/>
                  <a:gd name="T2" fmla="*/ 316 w 353"/>
                  <a:gd name="T3" fmla="*/ 0 h 67"/>
                  <a:gd name="T4" fmla="*/ 187 w 353"/>
                  <a:gd name="T5" fmla="*/ 0 h 67"/>
                  <a:gd name="T6" fmla="*/ 166 w 353"/>
                  <a:gd name="T7" fmla="*/ 0 h 67"/>
                  <a:gd name="T8" fmla="*/ 40 w 353"/>
                  <a:gd name="T9" fmla="*/ 0 h 67"/>
                  <a:gd name="T10" fmla="*/ 0 w 353"/>
                  <a:gd name="T11" fmla="*/ 67 h 67"/>
                  <a:gd name="T12" fmla="*/ 177 w 353"/>
                  <a:gd name="T13" fmla="*/ 51 h 67"/>
                  <a:gd name="T14" fmla="*/ 353 w 353"/>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3" h="67">
                    <a:moveTo>
                      <a:pt x="353" y="67"/>
                    </a:moveTo>
                    <a:lnTo>
                      <a:pt x="316" y="0"/>
                    </a:lnTo>
                    <a:lnTo>
                      <a:pt x="187" y="0"/>
                    </a:lnTo>
                    <a:lnTo>
                      <a:pt x="166" y="0"/>
                    </a:lnTo>
                    <a:lnTo>
                      <a:pt x="40" y="0"/>
                    </a:lnTo>
                    <a:lnTo>
                      <a:pt x="0" y="67"/>
                    </a:lnTo>
                    <a:lnTo>
                      <a:pt x="177" y="51"/>
                    </a:lnTo>
                    <a:lnTo>
                      <a:pt x="353"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37">
                <a:extLst>
                  <a:ext uri="{FF2B5EF4-FFF2-40B4-BE49-F238E27FC236}">
                    <a16:creationId xmlns:a16="http://schemas.microsoft.com/office/drawing/2014/main" id="{D7EE7993-6876-4A8A-B5F8-4661740715DB}"/>
                  </a:ext>
                </a:extLst>
              </p:cNvPr>
              <p:cNvSpPr>
                <a:spLocks noChangeArrowheads="1"/>
              </p:cNvSpPr>
              <p:nvPr/>
            </p:nvSpPr>
            <p:spPr bwMode="auto">
              <a:xfrm>
                <a:off x="-5665788" y="3957638"/>
                <a:ext cx="1276350" cy="8239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38">
                <a:extLst>
                  <a:ext uri="{FF2B5EF4-FFF2-40B4-BE49-F238E27FC236}">
                    <a16:creationId xmlns:a16="http://schemas.microsoft.com/office/drawing/2014/main" id="{09452656-046C-48DF-84C9-D382AB0D1305}"/>
                  </a:ext>
                </a:extLst>
              </p:cNvPr>
              <p:cNvSpPr>
                <a:spLocks/>
              </p:cNvSpPr>
              <p:nvPr/>
            </p:nvSpPr>
            <p:spPr bwMode="auto">
              <a:xfrm>
                <a:off x="-5692775" y="4184650"/>
                <a:ext cx="1316038" cy="609600"/>
              </a:xfrm>
              <a:custGeom>
                <a:avLst/>
                <a:gdLst>
                  <a:gd name="T0" fmla="*/ 62 w 310"/>
                  <a:gd name="T1" fmla="*/ 7 h 143"/>
                  <a:gd name="T2" fmla="*/ 154 w 310"/>
                  <a:gd name="T3" fmla="*/ 7 h 143"/>
                  <a:gd name="T4" fmla="*/ 246 w 310"/>
                  <a:gd name="T5" fmla="*/ 7 h 143"/>
                  <a:gd name="T6" fmla="*/ 292 w 310"/>
                  <a:gd name="T7" fmla="*/ 8 h 143"/>
                  <a:gd name="T8" fmla="*/ 296 w 310"/>
                  <a:gd name="T9" fmla="*/ 14 h 143"/>
                  <a:gd name="T10" fmla="*/ 300 w 310"/>
                  <a:gd name="T11" fmla="*/ 20 h 143"/>
                  <a:gd name="T12" fmla="*/ 302 w 310"/>
                  <a:gd name="T13" fmla="*/ 25 h 143"/>
                  <a:gd name="T14" fmla="*/ 303 w 310"/>
                  <a:gd name="T15" fmla="*/ 33 h 143"/>
                  <a:gd name="T16" fmla="*/ 303 w 310"/>
                  <a:gd name="T17" fmla="*/ 40 h 143"/>
                  <a:gd name="T18" fmla="*/ 303 w 310"/>
                  <a:gd name="T19" fmla="*/ 47 h 143"/>
                  <a:gd name="T20" fmla="*/ 300 w 310"/>
                  <a:gd name="T21" fmla="*/ 56 h 143"/>
                  <a:gd name="T22" fmla="*/ 298 w 310"/>
                  <a:gd name="T23" fmla="*/ 65 h 143"/>
                  <a:gd name="T24" fmla="*/ 295 w 310"/>
                  <a:gd name="T25" fmla="*/ 72 h 143"/>
                  <a:gd name="T26" fmla="*/ 289 w 310"/>
                  <a:gd name="T27" fmla="*/ 81 h 143"/>
                  <a:gd name="T28" fmla="*/ 284 w 310"/>
                  <a:gd name="T29" fmla="*/ 89 h 143"/>
                  <a:gd name="T30" fmla="*/ 277 w 310"/>
                  <a:gd name="T31" fmla="*/ 96 h 143"/>
                  <a:gd name="T32" fmla="*/ 267 w 310"/>
                  <a:gd name="T33" fmla="*/ 103 h 143"/>
                  <a:gd name="T34" fmla="*/ 258 w 310"/>
                  <a:gd name="T35" fmla="*/ 111 h 143"/>
                  <a:gd name="T36" fmla="*/ 246 w 310"/>
                  <a:gd name="T37" fmla="*/ 117 h 143"/>
                  <a:gd name="T38" fmla="*/ 231 w 310"/>
                  <a:gd name="T39" fmla="*/ 123 h 143"/>
                  <a:gd name="T40" fmla="*/ 215 w 310"/>
                  <a:gd name="T41" fmla="*/ 129 h 143"/>
                  <a:gd name="T42" fmla="*/ 200 w 310"/>
                  <a:gd name="T43" fmla="*/ 132 h 143"/>
                  <a:gd name="T44" fmla="*/ 184 w 310"/>
                  <a:gd name="T45" fmla="*/ 134 h 143"/>
                  <a:gd name="T46" fmla="*/ 168 w 310"/>
                  <a:gd name="T47" fmla="*/ 136 h 143"/>
                  <a:gd name="T48" fmla="*/ 153 w 310"/>
                  <a:gd name="T49" fmla="*/ 136 h 143"/>
                  <a:gd name="T50" fmla="*/ 139 w 310"/>
                  <a:gd name="T51" fmla="*/ 135 h 143"/>
                  <a:gd name="T52" fmla="*/ 124 w 310"/>
                  <a:gd name="T53" fmla="*/ 134 h 143"/>
                  <a:gd name="T54" fmla="*/ 111 w 310"/>
                  <a:gd name="T55" fmla="*/ 132 h 143"/>
                  <a:gd name="T56" fmla="*/ 98 w 310"/>
                  <a:gd name="T57" fmla="*/ 128 h 143"/>
                  <a:gd name="T58" fmla="*/ 85 w 310"/>
                  <a:gd name="T59" fmla="*/ 125 h 143"/>
                  <a:gd name="T60" fmla="*/ 74 w 310"/>
                  <a:gd name="T61" fmla="*/ 121 h 143"/>
                  <a:gd name="T62" fmla="*/ 64 w 310"/>
                  <a:gd name="T63" fmla="*/ 117 h 143"/>
                  <a:gd name="T64" fmla="*/ 53 w 310"/>
                  <a:gd name="T65" fmla="*/ 112 h 143"/>
                  <a:gd name="T66" fmla="*/ 45 w 310"/>
                  <a:gd name="T67" fmla="*/ 107 h 143"/>
                  <a:gd name="T68" fmla="*/ 38 w 310"/>
                  <a:gd name="T69" fmla="*/ 100 h 143"/>
                  <a:gd name="T70" fmla="*/ 31 w 310"/>
                  <a:gd name="T71" fmla="*/ 94 h 143"/>
                  <a:gd name="T72" fmla="*/ 25 w 310"/>
                  <a:gd name="T73" fmla="*/ 87 h 143"/>
                  <a:gd name="T74" fmla="*/ 20 w 310"/>
                  <a:gd name="T75" fmla="*/ 79 h 143"/>
                  <a:gd name="T76" fmla="*/ 15 w 310"/>
                  <a:gd name="T77" fmla="*/ 71 h 143"/>
                  <a:gd name="T78" fmla="*/ 12 w 310"/>
                  <a:gd name="T79" fmla="*/ 63 h 143"/>
                  <a:gd name="T80" fmla="*/ 9 w 310"/>
                  <a:gd name="T81" fmla="*/ 54 h 143"/>
                  <a:gd name="T82" fmla="*/ 7 w 310"/>
                  <a:gd name="T83" fmla="*/ 45 h 143"/>
                  <a:gd name="T84" fmla="*/ 6 w 310"/>
                  <a:gd name="T85" fmla="*/ 37 h 143"/>
                  <a:gd name="T86" fmla="*/ 8 w 310"/>
                  <a:gd name="T87" fmla="*/ 28 h 143"/>
                  <a:gd name="T88" fmla="*/ 10 w 310"/>
                  <a:gd name="T89" fmla="*/ 20 h 143"/>
                  <a:gd name="T90" fmla="*/ 12 w 310"/>
                  <a:gd name="T91" fmla="*/ 14 h 143"/>
                  <a:gd name="T92" fmla="*/ 14 w 310"/>
                  <a:gd name="T93" fmla="*/ 11 h 143"/>
                  <a:gd name="T94" fmla="*/ 17 w 310"/>
                  <a:gd name="T95" fmla="*/ 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0" h="143">
                    <a:moveTo>
                      <a:pt x="16" y="1"/>
                    </a:moveTo>
                    <a:cubicBezTo>
                      <a:pt x="39" y="0"/>
                      <a:pt x="39" y="7"/>
                      <a:pt x="62" y="7"/>
                    </a:cubicBezTo>
                    <a:cubicBezTo>
                      <a:pt x="85" y="7"/>
                      <a:pt x="85" y="1"/>
                      <a:pt x="108" y="1"/>
                    </a:cubicBezTo>
                    <a:cubicBezTo>
                      <a:pt x="131" y="1"/>
                      <a:pt x="131" y="7"/>
                      <a:pt x="154" y="7"/>
                    </a:cubicBezTo>
                    <a:cubicBezTo>
                      <a:pt x="177" y="7"/>
                      <a:pt x="177" y="1"/>
                      <a:pt x="200" y="1"/>
                    </a:cubicBezTo>
                    <a:cubicBezTo>
                      <a:pt x="223" y="1"/>
                      <a:pt x="223" y="7"/>
                      <a:pt x="246" y="7"/>
                    </a:cubicBezTo>
                    <a:cubicBezTo>
                      <a:pt x="269" y="7"/>
                      <a:pt x="270" y="0"/>
                      <a:pt x="293" y="1"/>
                    </a:cubicBezTo>
                    <a:cubicBezTo>
                      <a:pt x="294" y="1"/>
                      <a:pt x="291" y="7"/>
                      <a:pt x="292" y="8"/>
                    </a:cubicBezTo>
                    <a:cubicBezTo>
                      <a:pt x="293" y="10"/>
                      <a:pt x="298" y="7"/>
                      <a:pt x="299" y="8"/>
                    </a:cubicBezTo>
                    <a:cubicBezTo>
                      <a:pt x="300" y="9"/>
                      <a:pt x="295" y="13"/>
                      <a:pt x="296" y="14"/>
                    </a:cubicBezTo>
                    <a:cubicBezTo>
                      <a:pt x="297" y="16"/>
                      <a:pt x="302" y="12"/>
                      <a:pt x="303" y="14"/>
                    </a:cubicBezTo>
                    <a:cubicBezTo>
                      <a:pt x="304" y="15"/>
                      <a:pt x="299" y="18"/>
                      <a:pt x="300" y="20"/>
                    </a:cubicBezTo>
                    <a:cubicBezTo>
                      <a:pt x="301" y="21"/>
                      <a:pt x="306" y="19"/>
                      <a:pt x="307" y="20"/>
                    </a:cubicBezTo>
                    <a:cubicBezTo>
                      <a:pt x="308" y="22"/>
                      <a:pt x="302" y="23"/>
                      <a:pt x="302" y="25"/>
                    </a:cubicBezTo>
                    <a:cubicBezTo>
                      <a:pt x="302" y="27"/>
                      <a:pt x="308" y="26"/>
                      <a:pt x="308" y="28"/>
                    </a:cubicBezTo>
                    <a:cubicBezTo>
                      <a:pt x="308" y="30"/>
                      <a:pt x="302" y="31"/>
                      <a:pt x="303" y="33"/>
                    </a:cubicBezTo>
                    <a:cubicBezTo>
                      <a:pt x="303" y="35"/>
                      <a:pt x="309" y="34"/>
                      <a:pt x="309" y="36"/>
                    </a:cubicBezTo>
                    <a:cubicBezTo>
                      <a:pt x="309" y="38"/>
                      <a:pt x="303" y="38"/>
                      <a:pt x="303" y="40"/>
                    </a:cubicBezTo>
                    <a:cubicBezTo>
                      <a:pt x="304" y="42"/>
                      <a:pt x="310" y="42"/>
                      <a:pt x="309" y="44"/>
                    </a:cubicBezTo>
                    <a:cubicBezTo>
                      <a:pt x="309" y="46"/>
                      <a:pt x="303" y="45"/>
                      <a:pt x="303" y="47"/>
                    </a:cubicBezTo>
                    <a:cubicBezTo>
                      <a:pt x="302" y="50"/>
                      <a:pt x="308" y="51"/>
                      <a:pt x="307" y="53"/>
                    </a:cubicBezTo>
                    <a:cubicBezTo>
                      <a:pt x="307" y="55"/>
                      <a:pt x="301" y="54"/>
                      <a:pt x="300" y="56"/>
                    </a:cubicBezTo>
                    <a:cubicBezTo>
                      <a:pt x="300" y="58"/>
                      <a:pt x="305" y="60"/>
                      <a:pt x="305" y="62"/>
                    </a:cubicBezTo>
                    <a:cubicBezTo>
                      <a:pt x="304" y="64"/>
                      <a:pt x="299" y="63"/>
                      <a:pt x="298" y="65"/>
                    </a:cubicBezTo>
                    <a:cubicBezTo>
                      <a:pt x="298" y="67"/>
                      <a:pt x="303" y="69"/>
                      <a:pt x="302" y="71"/>
                    </a:cubicBezTo>
                    <a:cubicBezTo>
                      <a:pt x="301" y="73"/>
                      <a:pt x="296" y="70"/>
                      <a:pt x="295" y="72"/>
                    </a:cubicBezTo>
                    <a:cubicBezTo>
                      <a:pt x="293" y="74"/>
                      <a:pt x="298" y="78"/>
                      <a:pt x="297" y="80"/>
                    </a:cubicBezTo>
                    <a:cubicBezTo>
                      <a:pt x="295" y="82"/>
                      <a:pt x="290" y="79"/>
                      <a:pt x="289" y="81"/>
                    </a:cubicBezTo>
                    <a:cubicBezTo>
                      <a:pt x="288" y="83"/>
                      <a:pt x="293" y="86"/>
                      <a:pt x="291" y="88"/>
                    </a:cubicBezTo>
                    <a:cubicBezTo>
                      <a:pt x="290" y="90"/>
                      <a:pt x="285" y="87"/>
                      <a:pt x="284" y="89"/>
                    </a:cubicBezTo>
                    <a:cubicBezTo>
                      <a:pt x="282" y="91"/>
                      <a:pt x="287" y="95"/>
                      <a:pt x="285" y="96"/>
                    </a:cubicBezTo>
                    <a:cubicBezTo>
                      <a:pt x="283" y="99"/>
                      <a:pt x="279" y="94"/>
                      <a:pt x="277" y="96"/>
                    </a:cubicBezTo>
                    <a:cubicBezTo>
                      <a:pt x="274" y="98"/>
                      <a:pt x="278" y="102"/>
                      <a:pt x="276" y="104"/>
                    </a:cubicBezTo>
                    <a:cubicBezTo>
                      <a:pt x="273" y="106"/>
                      <a:pt x="270" y="102"/>
                      <a:pt x="267" y="103"/>
                    </a:cubicBezTo>
                    <a:cubicBezTo>
                      <a:pt x="265" y="105"/>
                      <a:pt x="268" y="110"/>
                      <a:pt x="266" y="112"/>
                    </a:cubicBezTo>
                    <a:cubicBezTo>
                      <a:pt x="264" y="114"/>
                      <a:pt x="260" y="109"/>
                      <a:pt x="258" y="111"/>
                    </a:cubicBezTo>
                    <a:cubicBezTo>
                      <a:pt x="255" y="113"/>
                      <a:pt x="259" y="118"/>
                      <a:pt x="256" y="119"/>
                    </a:cubicBezTo>
                    <a:cubicBezTo>
                      <a:pt x="253" y="122"/>
                      <a:pt x="251" y="115"/>
                      <a:pt x="246" y="117"/>
                    </a:cubicBezTo>
                    <a:cubicBezTo>
                      <a:pt x="244" y="118"/>
                      <a:pt x="243" y="124"/>
                      <a:pt x="241" y="125"/>
                    </a:cubicBezTo>
                    <a:cubicBezTo>
                      <a:pt x="238" y="126"/>
                      <a:pt x="233" y="122"/>
                      <a:pt x="231" y="123"/>
                    </a:cubicBezTo>
                    <a:cubicBezTo>
                      <a:pt x="228" y="124"/>
                      <a:pt x="228" y="130"/>
                      <a:pt x="225" y="131"/>
                    </a:cubicBezTo>
                    <a:cubicBezTo>
                      <a:pt x="222" y="132"/>
                      <a:pt x="218" y="128"/>
                      <a:pt x="215" y="129"/>
                    </a:cubicBezTo>
                    <a:cubicBezTo>
                      <a:pt x="211" y="130"/>
                      <a:pt x="209" y="137"/>
                      <a:pt x="209" y="137"/>
                    </a:cubicBezTo>
                    <a:cubicBezTo>
                      <a:pt x="208" y="137"/>
                      <a:pt x="205" y="132"/>
                      <a:pt x="200" y="132"/>
                    </a:cubicBezTo>
                    <a:cubicBezTo>
                      <a:pt x="198" y="132"/>
                      <a:pt x="196" y="138"/>
                      <a:pt x="193" y="139"/>
                    </a:cubicBezTo>
                    <a:cubicBezTo>
                      <a:pt x="190" y="139"/>
                      <a:pt x="187" y="134"/>
                      <a:pt x="184" y="134"/>
                    </a:cubicBezTo>
                    <a:cubicBezTo>
                      <a:pt x="181" y="134"/>
                      <a:pt x="179" y="141"/>
                      <a:pt x="177" y="141"/>
                    </a:cubicBezTo>
                    <a:cubicBezTo>
                      <a:pt x="174" y="141"/>
                      <a:pt x="170" y="136"/>
                      <a:pt x="168" y="136"/>
                    </a:cubicBezTo>
                    <a:cubicBezTo>
                      <a:pt x="163" y="137"/>
                      <a:pt x="164" y="143"/>
                      <a:pt x="160" y="143"/>
                    </a:cubicBezTo>
                    <a:cubicBezTo>
                      <a:pt x="157" y="143"/>
                      <a:pt x="157" y="137"/>
                      <a:pt x="153" y="136"/>
                    </a:cubicBezTo>
                    <a:cubicBezTo>
                      <a:pt x="150" y="136"/>
                      <a:pt x="149" y="142"/>
                      <a:pt x="145" y="142"/>
                    </a:cubicBezTo>
                    <a:cubicBezTo>
                      <a:pt x="142" y="141"/>
                      <a:pt x="142" y="136"/>
                      <a:pt x="139" y="135"/>
                    </a:cubicBezTo>
                    <a:cubicBezTo>
                      <a:pt x="135" y="135"/>
                      <a:pt x="134" y="141"/>
                      <a:pt x="131" y="140"/>
                    </a:cubicBezTo>
                    <a:cubicBezTo>
                      <a:pt x="127" y="140"/>
                      <a:pt x="127" y="134"/>
                      <a:pt x="124" y="134"/>
                    </a:cubicBezTo>
                    <a:cubicBezTo>
                      <a:pt x="120" y="134"/>
                      <a:pt x="119" y="139"/>
                      <a:pt x="116" y="139"/>
                    </a:cubicBezTo>
                    <a:cubicBezTo>
                      <a:pt x="113" y="138"/>
                      <a:pt x="114" y="133"/>
                      <a:pt x="111" y="132"/>
                    </a:cubicBezTo>
                    <a:cubicBezTo>
                      <a:pt x="109" y="131"/>
                      <a:pt x="105" y="136"/>
                      <a:pt x="103" y="136"/>
                    </a:cubicBezTo>
                    <a:cubicBezTo>
                      <a:pt x="101" y="135"/>
                      <a:pt x="100" y="129"/>
                      <a:pt x="98" y="128"/>
                    </a:cubicBezTo>
                    <a:cubicBezTo>
                      <a:pt x="96" y="128"/>
                      <a:pt x="92" y="133"/>
                      <a:pt x="90" y="132"/>
                    </a:cubicBezTo>
                    <a:cubicBezTo>
                      <a:pt x="88" y="132"/>
                      <a:pt x="87" y="126"/>
                      <a:pt x="85" y="125"/>
                    </a:cubicBezTo>
                    <a:cubicBezTo>
                      <a:pt x="82" y="124"/>
                      <a:pt x="78" y="129"/>
                      <a:pt x="78" y="129"/>
                    </a:cubicBezTo>
                    <a:cubicBezTo>
                      <a:pt x="77" y="129"/>
                      <a:pt x="77" y="122"/>
                      <a:pt x="74" y="121"/>
                    </a:cubicBezTo>
                    <a:cubicBezTo>
                      <a:pt x="73" y="121"/>
                      <a:pt x="69" y="125"/>
                      <a:pt x="67" y="124"/>
                    </a:cubicBezTo>
                    <a:cubicBezTo>
                      <a:pt x="65" y="124"/>
                      <a:pt x="66" y="117"/>
                      <a:pt x="64" y="117"/>
                    </a:cubicBezTo>
                    <a:cubicBezTo>
                      <a:pt x="62" y="116"/>
                      <a:pt x="58" y="120"/>
                      <a:pt x="56" y="120"/>
                    </a:cubicBezTo>
                    <a:cubicBezTo>
                      <a:pt x="54" y="119"/>
                      <a:pt x="55" y="113"/>
                      <a:pt x="53" y="112"/>
                    </a:cubicBezTo>
                    <a:cubicBezTo>
                      <a:pt x="50" y="111"/>
                      <a:pt x="47" y="116"/>
                      <a:pt x="45" y="115"/>
                    </a:cubicBezTo>
                    <a:cubicBezTo>
                      <a:pt x="43" y="113"/>
                      <a:pt x="47" y="109"/>
                      <a:pt x="45" y="107"/>
                    </a:cubicBezTo>
                    <a:cubicBezTo>
                      <a:pt x="43" y="105"/>
                      <a:pt x="39" y="109"/>
                      <a:pt x="38" y="108"/>
                    </a:cubicBezTo>
                    <a:cubicBezTo>
                      <a:pt x="36" y="106"/>
                      <a:pt x="40" y="102"/>
                      <a:pt x="38" y="100"/>
                    </a:cubicBezTo>
                    <a:cubicBezTo>
                      <a:pt x="36" y="99"/>
                      <a:pt x="32" y="103"/>
                      <a:pt x="30" y="101"/>
                    </a:cubicBezTo>
                    <a:cubicBezTo>
                      <a:pt x="28" y="100"/>
                      <a:pt x="32" y="95"/>
                      <a:pt x="31" y="94"/>
                    </a:cubicBezTo>
                    <a:cubicBezTo>
                      <a:pt x="29" y="92"/>
                      <a:pt x="24" y="96"/>
                      <a:pt x="23" y="94"/>
                    </a:cubicBezTo>
                    <a:cubicBezTo>
                      <a:pt x="21" y="92"/>
                      <a:pt x="26" y="89"/>
                      <a:pt x="25" y="87"/>
                    </a:cubicBezTo>
                    <a:cubicBezTo>
                      <a:pt x="24" y="85"/>
                      <a:pt x="19" y="88"/>
                      <a:pt x="18" y="86"/>
                    </a:cubicBezTo>
                    <a:cubicBezTo>
                      <a:pt x="16" y="84"/>
                      <a:pt x="21" y="81"/>
                      <a:pt x="20" y="79"/>
                    </a:cubicBezTo>
                    <a:cubicBezTo>
                      <a:pt x="19" y="77"/>
                      <a:pt x="14" y="80"/>
                      <a:pt x="13" y="78"/>
                    </a:cubicBezTo>
                    <a:cubicBezTo>
                      <a:pt x="12" y="76"/>
                      <a:pt x="17" y="73"/>
                      <a:pt x="15" y="71"/>
                    </a:cubicBezTo>
                    <a:cubicBezTo>
                      <a:pt x="14" y="69"/>
                      <a:pt x="9" y="71"/>
                      <a:pt x="8" y="69"/>
                    </a:cubicBezTo>
                    <a:cubicBezTo>
                      <a:pt x="7" y="67"/>
                      <a:pt x="13" y="65"/>
                      <a:pt x="12" y="63"/>
                    </a:cubicBezTo>
                    <a:cubicBezTo>
                      <a:pt x="11" y="60"/>
                      <a:pt x="6" y="62"/>
                      <a:pt x="5" y="60"/>
                    </a:cubicBezTo>
                    <a:cubicBezTo>
                      <a:pt x="4" y="58"/>
                      <a:pt x="10" y="56"/>
                      <a:pt x="9" y="54"/>
                    </a:cubicBezTo>
                    <a:cubicBezTo>
                      <a:pt x="9" y="51"/>
                      <a:pt x="3" y="53"/>
                      <a:pt x="2" y="51"/>
                    </a:cubicBezTo>
                    <a:cubicBezTo>
                      <a:pt x="2" y="49"/>
                      <a:pt x="7" y="47"/>
                      <a:pt x="7" y="45"/>
                    </a:cubicBezTo>
                    <a:cubicBezTo>
                      <a:pt x="6" y="42"/>
                      <a:pt x="0" y="43"/>
                      <a:pt x="0" y="41"/>
                    </a:cubicBezTo>
                    <a:cubicBezTo>
                      <a:pt x="0" y="39"/>
                      <a:pt x="6" y="39"/>
                      <a:pt x="6" y="37"/>
                    </a:cubicBezTo>
                    <a:cubicBezTo>
                      <a:pt x="7" y="35"/>
                      <a:pt x="1" y="34"/>
                      <a:pt x="2" y="32"/>
                    </a:cubicBezTo>
                    <a:cubicBezTo>
                      <a:pt x="2" y="29"/>
                      <a:pt x="8" y="31"/>
                      <a:pt x="8" y="28"/>
                    </a:cubicBezTo>
                    <a:cubicBezTo>
                      <a:pt x="9" y="26"/>
                      <a:pt x="3" y="25"/>
                      <a:pt x="4" y="23"/>
                    </a:cubicBezTo>
                    <a:cubicBezTo>
                      <a:pt x="4" y="21"/>
                      <a:pt x="10" y="22"/>
                      <a:pt x="10" y="20"/>
                    </a:cubicBezTo>
                    <a:cubicBezTo>
                      <a:pt x="11" y="17"/>
                      <a:pt x="5" y="16"/>
                      <a:pt x="6" y="14"/>
                    </a:cubicBezTo>
                    <a:cubicBezTo>
                      <a:pt x="6" y="13"/>
                      <a:pt x="11" y="15"/>
                      <a:pt x="12" y="14"/>
                    </a:cubicBezTo>
                    <a:cubicBezTo>
                      <a:pt x="13" y="14"/>
                      <a:pt x="8" y="10"/>
                      <a:pt x="8" y="9"/>
                    </a:cubicBezTo>
                    <a:cubicBezTo>
                      <a:pt x="9" y="9"/>
                      <a:pt x="14" y="12"/>
                      <a:pt x="14" y="11"/>
                    </a:cubicBezTo>
                    <a:cubicBezTo>
                      <a:pt x="15" y="10"/>
                      <a:pt x="10" y="7"/>
                      <a:pt x="11" y="6"/>
                    </a:cubicBezTo>
                    <a:cubicBezTo>
                      <a:pt x="12" y="5"/>
                      <a:pt x="17" y="7"/>
                      <a:pt x="17" y="6"/>
                    </a:cubicBezTo>
                    <a:cubicBezTo>
                      <a:pt x="18" y="4"/>
                      <a:pt x="15" y="1"/>
                      <a:pt x="16" y="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7" name="Group 246">
                <a:extLst>
                  <a:ext uri="{FF2B5EF4-FFF2-40B4-BE49-F238E27FC236}">
                    <a16:creationId xmlns:a16="http://schemas.microsoft.com/office/drawing/2014/main" id="{4AF5E20A-E64F-4A9F-8C8C-809EF3BBBBAF}"/>
                  </a:ext>
                </a:extLst>
              </p:cNvPr>
              <p:cNvGrpSpPr/>
              <p:nvPr/>
            </p:nvGrpSpPr>
            <p:grpSpPr>
              <a:xfrm>
                <a:off x="-4292600" y="4897438"/>
                <a:ext cx="3203575" cy="0"/>
                <a:chOff x="-4292600" y="4897438"/>
                <a:chExt cx="3203575" cy="0"/>
              </a:xfrm>
            </p:grpSpPr>
            <p:sp>
              <p:nvSpPr>
                <p:cNvPr id="387" name="Line 66">
                  <a:extLst>
                    <a:ext uri="{FF2B5EF4-FFF2-40B4-BE49-F238E27FC236}">
                      <a16:creationId xmlns:a16="http://schemas.microsoft.com/office/drawing/2014/main" id="{A973F104-73F4-46A7-B5F6-BAAD97CFA106}"/>
                    </a:ext>
                  </a:extLst>
                </p:cNvPr>
                <p:cNvSpPr>
                  <a:spLocks noChangeShapeType="1"/>
                </p:cNvSpPr>
                <p:nvPr/>
              </p:nvSpPr>
              <p:spPr bwMode="auto">
                <a:xfrm>
                  <a:off x="-4292600" y="4897438"/>
                  <a:ext cx="0" cy="0"/>
                </a:xfrm>
                <a:prstGeom prst="line">
                  <a:avLst/>
                </a:prstGeom>
                <a:noFill/>
                <a:ln w="508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8" name="Line 69">
                  <a:extLst>
                    <a:ext uri="{FF2B5EF4-FFF2-40B4-BE49-F238E27FC236}">
                      <a16:creationId xmlns:a16="http://schemas.microsoft.com/office/drawing/2014/main" id="{4E35E8F4-4F66-4595-A6F3-F69738E26354}"/>
                    </a:ext>
                  </a:extLst>
                </p:cNvPr>
                <p:cNvSpPr>
                  <a:spLocks noChangeShapeType="1"/>
                </p:cNvSpPr>
                <p:nvPr/>
              </p:nvSpPr>
              <p:spPr bwMode="auto">
                <a:xfrm>
                  <a:off x="-3757613" y="4897438"/>
                  <a:ext cx="0" cy="0"/>
                </a:xfrm>
                <a:prstGeom prst="line">
                  <a:avLst/>
                </a:prstGeom>
                <a:noFill/>
                <a:ln w="508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9" name="Line 72">
                  <a:extLst>
                    <a:ext uri="{FF2B5EF4-FFF2-40B4-BE49-F238E27FC236}">
                      <a16:creationId xmlns:a16="http://schemas.microsoft.com/office/drawing/2014/main" id="{F99D8877-3529-4D2A-89F8-7D5D506B09A7}"/>
                    </a:ext>
                  </a:extLst>
                </p:cNvPr>
                <p:cNvSpPr>
                  <a:spLocks noChangeShapeType="1"/>
                </p:cNvSpPr>
                <p:nvPr/>
              </p:nvSpPr>
              <p:spPr bwMode="auto">
                <a:xfrm>
                  <a:off x="-3222625" y="4897438"/>
                  <a:ext cx="0" cy="0"/>
                </a:xfrm>
                <a:prstGeom prst="line">
                  <a:avLst/>
                </a:prstGeom>
                <a:noFill/>
                <a:ln w="508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0" name="Line 75">
                  <a:extLst>
                    <a:ext uri="{FF2B5EF4-FFF2-40B4-BE49-F238E27FC236}">
                      <a16:creationId xmlns:a16="http://schemas.microsoft.com/office/drawing/2014/main" id="{87898DE7-1637-487F-923C-CEFD1CCAF538}"/>
                    </a:ext>
                  </a:extLst>
                </p:cNvPr>
                <p:cNvSpPr>
                  <a:spLocks noChangeShapeType="1"/>
                </p:cNvSpPr>
                <p:nvPr/>
              </p:nvSpPr>
              <p:spPr bwMode="auto">
                <a:xfrm>
                  <a:off x="-2687638" y="4897438"/>
                  <a:ext cx="0" cy="0"/>
                </a:xfrm>
                <a:prstGeom prst="line">
                  <a:avLst/>
                </a:prstGeom>
                <a:noFill/>
                <a:ln w="508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1" name="Line 78">
                  <a:extLst>
                    <a:ext uri="{FF2B5EF4-FFF2-40B4-BE49-F238E27FC236}">
                      <a16:creationId xmlns:a16="http://schemas.microsoft.com/office/drawing/2014/main" id="{FC85A1CD-7857-41BE-B727-7B814DE830A9}"/>
                    </a:ext>
                  </a:extLst>
                </p:cNvPr>
                <p:cNvSpPr>
                  <a:spLocks noChangeShapeType="1"/>
                </p:cNvSpPr>
                <p:nvPr/>
              </p:nvSpPr>
              <p:spPr bwMode="auto">
                <a:xfrm>
                  <a:off x="-2157413" y="4897438"/>
                  <a:ext cx="0" cy="0"/>
                </a:xfrm>
                <a:prstGeom prst="line">
                  <a:avLst/>
                </a:prstGeom>
                <a:noFill/>
                <a:ln w="508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2" name="Line 81">
                  <a:extLst>
                    <a:ext uri="{FF2B5EF4-FFF2-40B4-BE49-F238E27FC236}">
                      <a16:creationId xmlns:a16="http://schemas.microsoft.com/office/drawing/2014/main" id="{150D8B9E-3162-49D7-88DA-ED0C73A27FBA}"/>
                    </a:ext>
                  </a:extLst>
                </p:cNvPr>
                <p:cNvSpPr>
                  <a:spLocks noChangeShapeType="1"/>
                </p:cNvSpPr>
                <p:nvPr/>
              </p:nvSpPr>
              <p:spPr bwMode="auto">
                <a:xfrm>
                  <a:off x="-1622425" y="4897438"/>
                  <a:ext cx="0" cy="0"/>
                </a:xfrm>
                <a:prstGeom prst="line">
                  <a:avLst/>
                </a:prstGeom>
                <a:noFill/>
                <a:ln w="508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3" name="Line 84">
                  <a:extLst>
                    <a:ext uri="{FF2B5EF4-FFF2-40B4-BE49-F238E27FC236}">
                      <a16:creationId xmlns:a16="http://schemas.microsoft.com/office/drawing/2014/main" id="{E63F40C9-29FD-4F2A-9515-108DB35C9AF4}"/>
                    </a:ext>
                  </a:extLst>
                </p:cNvPr>
                <p:cNvSpPr>
                  <a:spLocks noChangeShapeType="1"/>
                </p:cNvSpPr>
                <p:nvPr/>
              </p:nvSpPr>
              <p:spPr bwMode="auto">
                <a:xfrm>
                  <a:off x="-1089025" y="4897438"/>
                  <a:ext cx="0" cy="0"/>
                </a:xfrm>
                <a:prstGeom prst="line">
                  <a:avLst/>
                </a:prstGeom>
                <a:noFill/>
                <a:ln w="508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48" name="Group 247">
                <a:extLst>
                  <a:ext uri="{FF2B5EF4-FFF2-40B4-BE49-F238E27FC236}">
                    <a16:creationId xmlns:a16="http://schemas.microsoft.com/office/drawing/2014/main" id="{692FFDDB-D4DC-496C-B883-9F18768E995F}"/>
                  </a:ext>
                </a:extLst>
              </p:cNvPr>
              <p:cNvGrpSpPr/>
              <p:nvPr/>
            </p:nvGrpSpPr>
            <p:grpSpPr>
              <a:xfrm>
                <a:off x="-5807076" y="3843338"/>
                <a:ext cx="3875089" cy="998538"/>
                <a:chOff x="-5807076" y="3843338"/>
                <a:chExt cx="3875089" cy="998538"/>
              </a:xfrm>
            </p:grpSpPr>
            <p:grpSp>
              <p:nvGrpSpPr>
                <p:cNvPr id="369" name="Group 368">
                  <a:extLst>
                    <a:ext uri="{FF2B5EF4-FFF2-40B4-BE49-F238E27FC236}">
                      <a16:creationId xmlns:a16="http://schemas.microsoft.com/office/drawing/2014/main" id="{CC297475-68DE-4CFD-83B3-1720BE7BACBC}"/>
                    </a:ext>
                  </a:extLst>
                </p:cNvPr>
                <p:cNvGrpSpPr/>
                <p:nvPr/>
              </p:nvGrpSpPr>
              <p:grpSpPr>
                <a:xfrm>
                  <a:off x="-5807076" y="3868738"/>
                  <a:ext cx="1443039" cy="973138"/>
                  <a:chOff x="-5807076" y="3868738"/>
                  <a:chExt cx="1443039" cy="973138"/>
                </a:xfrm>
              </p:grpSpPr>
              <p:sp>
                <p:nvSpPr>
                  <p:cNvPr id="381" name="Freeform 12">
                    <a:extLst>
                      <a:ext uri="{FF2B5EF4-FFF2-40B4-BE49-F238E27FC236}">
                        <a16:creationId xmlns:a16="http://schemas.microsoft.com/office/drawing/2014/main" id="{468F02F9-9A1B-4D0C-ACF4-882A277C5033}"/>
                      </a:ext>
                    </a:extLst>
                  </p:cNvPr>
                  <p:cNvSpPr>
                    <a:spLocks/>
                  </p:cNvSpPr>
                  <p:nvPr/>
                </p:nvSpPr>
                <p:spPr bwMode="auto">
                  <a:xfrm>
                    <a:off x="-5802313" y="4478338"/>
                    <a:ext cx="174625" cy="52388"/>
                  </a:xfrm>
                  <a:custGeom>
                    <a:avLst/>
                    <a:gdLst>
                      <a:gd name="T0" fmla="*/ 35 w 41"/>
                      <a:gd name="T1" fmla="*/ 12 h 12"/>
                      <a:gd name="T2" fmla="*/ 6 w 41"/>
                      <a:gd name="T3" fmla="*/ 12 h 12"/>
                      <a:gd name="T4" fmla="*/ 0 w 41"/>
                      <a:gd name="T5" fmla="*/ 6 h 12"/>
                      <a:gd name="T6" fmla="*/ 6 w 41"/>
                      <a:gd name="T7" fmla="*/ 0 h 12"/>
                      <a:gd name="T8" fmla="*/ 35 w 41"/>
                      <a:gd name="T9" fmla="*/ 0 h 12"/>
                      <a:gd name="T10" fmla="*/ 41 w 41"/>
                      <a:gd name="T11" fmla="*/ 6 h 12"/>
                      <a:gd name="T12" fmla="*/ 35 w 4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1" h="12">
                        <a:moveTo>
                          <a:pt x="35" y="12"/>
                        </a:moveTo>
                        <a:cubicBezTo>
                          <a:pt x="6" y="12"/>
                          <a:pt x="6" y="12"/>
                          <a:pt x="6" y="12"/>
                        </a:cubicBezTo>
                        <a:cubicBezTo>
                          <a:pt x="3" y="12"/>
                          <a:pt x="0" y="9"/>
                          <a:pt x="0" y="6"/>
                        </a:cubicBezTo>
                        <a:cubicBezTo>
                          <a:pt x="0" y="3"/>
                          <a:pt x="3" y="0"/>
                          <a:pt x="6" y="0"/>
                        </a:cubicBezTo>
                        <a:cubicBezTo>
                          <a:pt x="35" y="0"/>
                          <a:pt x="35" y="0"/>
                          <a:pt x="35" y="0"/>
                        </a:cubicBezTo>
                        <a:cubicBezTo>
                          <a:pt x="38" y="0"/>
                          <a:pt x="41" y="3"/>
                          <a:pt x="41" y="6"/>
                        </a:cubicBezTo>
                        <a:cubicBezTo>
                          <a:pt x="41" y="9"/>
                          <a:pt x="38" y="12"/>
                          <a:pt x="35"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82" name="Freeform 13">
                    <a:extLst>
                      <a:ext uri="{FF2B5EF4-FFF2-40B4-BE49-F238E27FC236}">
                        <a16:creationId xmlns:a16="http://schemas.microsoft.com/office/drawing/2014/main" id="{A2FB492A-3276-47FC-89D4-F187F50593E1}"/>
                      </a:ext>
                    </a:extLst>
                  </p:cNvPr>
                  <p:cNvSpPr>
                    <a:spLocks/>
                  </p:cNvSpPr>
                  <p:nvPr/>
                </p:nvSpPr>
                <p:spPr bwMode="auto">
                  <a:xfrm>
                    <a:off x="-5807076" y="3954463"/>
                    <a:ext cx="581025" cy="149225"/>
                  </a:xfrm>
                  <a:custGeom>
                    <a:avLst/>
                    <a:gdLst>
                      <a:gd name="T0" fmla="*/ 7 w 137"/>
                      <a:gd name="T1" fmla="*/ 35 h 35"/>
                      <a:gd name="T2" fmla="*/ 1 w 137"/>
                      <a:gd name="T3" fmla="*/ 30 h 35"/>
                      <a:gd name="T4" fmla="*/ 6 w 137"/>
                      <a:gd name="T5" fmla="*/ 23 h 35"/>
                      <a:gd name="T6" fmla="*/ 129 w 137"/>
                      <a:gd name="T7" fmla="*/ 1 h 35"/>
                      <a:gd name="T8" fmla="*/ 136 w 137"/>
                      <a:gd name="T9" fmla="*/ 6 h 35"/>
                      <a:gd name="T10" fmla="*/ 131 w 137"/>
                      <a:gd name="T11" fmla="*/ 13 h 35"/>
                      <a:gd name="T12" fmla="*/ 8 w 137"/>
                      <a:gd name="T13" fmla="*/ 35 h 35"/>
                      <a:gd name="T14" fmla="*/ 7 w 13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5">
                        <a:moveTo>
                          <a:pt x="7" y="35"/>
                        </a:moveTo>
                        <a:cubicBezTo>
                          <a:pt x="4" y="35"/>
                          <a:pt x="2" y="33"/>
                          <a:pt x="1" y="30"/>
                        </a:cubicBezTo>
                        <a:cubicBezTo>
                          <a:pt x="0" y="27"/>
                          <a:pt x="3" y="24"/>
                          <a:pt x="6" y="23"/>
                        </a:cubicBezTo>
                        <a:cubicBezTo>
                          <a:pt x="129" y="1"/>
                          <a:pt x="129" y="1"/>
                          <a:pt x="129" y="1"/>
                        </a:cubicBezTo>
                        <a:cubicBezTo>
                          <a:pt x="132" y="0"/>
                          <a:pt x="135" y="2"/>
                          <a:pt x="136" y="6"/>
                        </a:cubicBezTo>
                        <a:cubicBezTo>
                          <a:pt x="137" y="9"/>
                          <a:pt x="134" y="12"/>
                          <a:pt x="131" y="13"/>
                        </a:cubicBezTo>
                        <a:cubicBezTo>
                          <a:pt x="8" y="35"/>
                          <a:pt x="8" y="35"/>
                          <a:pt x="8" y="35"/>
                        </a:cubicBezTo>
                        <a:cubicBezTo>
                          <a:pt x="8" y="35"/>
                          <a:pt x="7" y="35"/>
                          <a:pt x="7" y="3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83" name="Freeform 36">
                    <a:extLst>
                      <a:ext uri="{FF2B5EF4-FFF2-40B4-BE49-F238E27FC236}">
                        <a16:creationId xmlns:a16="http://schemas.microsoft.com/office/drawing/2014/main" id="{FF38BA9D-7D86-4DCC-9BE3-B1578225A5CF}"/>
                      </a:ext>
                    </a:extLst>
                  </p:cNvPr>
                  <p:cNvSpPr>
                    <a:spLocks noEditPoints="1"/>
                  </p:cNvSpPr>
                  <p:nvPr/>
                </p:nvSpPr>
                <p:spPr bwMode="auto">
                  <a:xfrm>
                    <a:off x="-5340350" y="3868738"/>
                    <a:ext cx="611188" cy="161925"/>
                  </a:xfrm>
                  <a:custGeom>
                    <a:avLst/>
                    <a:gdLst>
                      <a:gd name="T0" fmla="*/ 6 w 144"/>
                      <a:gd name="T1" fmla="*/ 37 h 38"/>
                      <a:gd name="T2" fmla="*/ 1 w 144"/>
                      <a:gd name="T3" fmla="*/ 35 h 38"/>
                      <a:gd name="T4" fmla="*/ 1 w 144"/>
                      <a:gd name="T5" fmla="*/ 28 h 38"/>
                      <a:gd name="T6" fmla="*/ 16 w 144"/>
                      <a:gd name="T7" fmla="*/ 3 h 38"/>
                      <a:gd name="T8" fmla="*/ 21 w 144"/>
                      <a:gd name="T9" fmla="*/ 0 h 38"/>
                      <a:gd name="T10" fmla="*/ 124 w 144"/>
                      <a:gd name="T11" fmla="*/ 0 h 38"/>
                      <a:gd name="T12" fmla="*/ 129 w 144"/>
                      <a:gd name="T13" fmla="*/ 3 h 38"/>
                      <a:gd name="T14" fmla="*/ 143 w 144"/>
                      <a:gd name="T15" fmla="*/ 28 h 38"/>
                      <a:gd name="T16" fmla="*/ 143 w 144"/>
                      <a:gd name="T17" fmla="*/ 35 h 38"/>
                      <a:gd name="T18" fmla="*/ 138 w 144"/>
                      <a:gd name="T19" fmla="*/ 37 h 38"/>
                      <a:gd name="T20" fmla="*/ 72 w 144"/>
                      <a:gd name="T21" fmla="*/ 31 h 38"/>
                      <a:gd name="T22" fmla="*/ 7 w 144"/>
                      <a:gd name="T23" fmla="*/ 37 h 38"/>
                      <a:gd name="T24" fmla="*/ 6 w 144"/>
                      <a:gd name="T25" fmla="*/ 37 h 38"/>
                      <a:gd name="T26" fmla="*/ 24 w 144"/>
                      <a:gd name="T27" fmla="*/ 12 h 38"/>
                      <a:gd name="T28" fmla="*/ 17 w 144"/>
                      <a:gd name="T29" fmla="*/ 24 h 38"/>
                      <a:gd name="T30" fmla="*/ 72 w 144"/>
                      <a:gd name="T31" fmla="*/ 19 h 38"/>
                      <a:gd name="T32" fmla="*/ 73 w 144"/>
                      <a:gd name="T33" fmla="*/ 19 h 38"/>
                      <a:gd name="T34" fmla="*/ 127 w 144"/>
                      <a:gd name="T35" fmla="*/ 24 h 38"/>
                      <a:gd name="T36" fmla="*/ 120 w 144"/>
                      <a:gd name="T37" fmla="*/ 12 h 38"/>
                      <a:gd name="T38" fmla="*/ 24 w 144"/>
                      <a:gd name="T3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38">
                        <a:moveTo>
                          <a:pt x="6" y="37"/>
                        </a:moveTo>
                        <a:cubicBezTo>
                          <a:pt x="4" y="37"/>
                          <a:pt x="3" y="36"/>
                          <a:pt x="1" y="35"/>
                        </a:cubicBezTo>
                        <a:cubicBezTo>
                          <a:pt x="0" y="33"/>
                          <a:pt x="0" y="30"/>
                          <a:pt x="1" y="28"/>
                        </a:cubicBezTo>
                        <a:cubicBezTo>
                          <a:pt x="16" y="3"/>
                          <a:pt x="16" y="3"/>
                          <a:pt x="16" y="3"/>
                        </a:cubicBezTo>
                        <a:cubicBezTo>
                          <a:pt x="17" y="2"/>
                          <a:pt x="19" y="0"/>
                          <a:pt x="21" y="0"/>
                        </a:cubicBezTo>
                        <a:cubicBezTo>
                          <a:pt x="124" y="0"/>
                          <a:pt x="124" y="0"/>
                          <a:pt x="124" y="0"/>
                        </a:cubicBezTo>
                        <a:cubicBezTo>
                          <a:pt x="126" y="0"/>
                          <a:pt x="128" y="2"/>
                          <a:pt x="129" y="3"/>
                        </a:cubicBezTo>
                        <a:cubicBezTo>
                          <a:pt x="143" y="28"/>
                          <a:pt x="143" y="28"/>
                          <a:pt x="143" y="28"/>
                        </a:cubicBezTo>
                        <a:cubicBezTo>
                          <a:pt x="144" y="30"/>
                          <a:pt x="144" y="33"/>
                          <a:pt x="143" y="35"/>
                        </a:cubicBezTo>
                        <a:cubicBezTo>
                          <a:pt x="142" y="37"/>
                          <a:pt x="140" y="38"/>
                          <a:pt x="138" y="37"/>
                        </a:cubicBezTo>
                        <a:cubicBezTo>
                          <a:pt x="72" y="31"/>
                          <a:pt x="72" y="31"/>
                          <a:pt x="72" y="31"/>
                        </a:cubicBezTo>
                        <a:cubicBezTo>
                          <a:pt x="7" y="37"/>
                          <a:pt x="7" y="37"/>
                          <a:pt x="7" y="37"/>
                        </a:cubicBezTo>
                        <a:cubicBezTo>
                          <a:pt x="7" y="37"/>
                          <a:pt x="7" y="37"/>
                          <a:pt x="6" y="37"/>
                        </a:cubicBezTo>
                        <a:close/>
                        <a:moveTo>
                          <a:pt x="24" y="12"/>
                        </a:moveTo>
                        <a:cubicBezTo>
                          <a:pt x="17" y="24"/>
                          <a:pt x="17" y="24"/>
                          <a:pt x="17" y="24"/>
                        </a:cubicBezTo>
                        <a:cubicBezTo>
                          <a:pt x="72" y="19"/>
                          <a:pt x="72" y="19"/>
                          <a:pt x="72" y="19"/>
                        </a:cubicBezTo>
                        <a:cubicBezTo>
                          <a:pt x="72" y="19"/>
                          <a:pt x="72" y="19"/>
                          <a:pt x="73" y="19"/>
                        </a:cubicBezTo>
                        <a:cubicBezTo>
                          <a:pt x="127" y="24"/>
                          <a:pt x="127" y="24"/>
                          <a:pt x="127" y="24"/>
                        </a:cubicBezTo>
                        <a:cubicBezTo>
                          <a:pt x="120" y="12"/>
                          <a:pt x="120" y="12"/>
                          <a:pt x="120" y="12"/>
                        </a:cubicBezTo>
                        <a:lnTo>
                          <a:pt x="24"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84" name="Group 383">
                    <a:extLst>
                      <a:ext uri="{FF2B5EF4-FFF2-40B4-BE49-F238E27FC236}">
                        <a16:creationId xmlns:a16="http://schemas.microsoft.com/office/drawing/2014/main" id="{8FCEA267-375D-4910-A32D-4A49555C750D}"/>
                      </a:ext>
                    </a:extLst>
                  </p:cNvPr>
                  <p:cNvGrpSpPr/>
                  <p:nvPr/>
                </p:nvGrpSpPr>
                <p:grpSpPr>
                  <a:xfrm>
                    <a:off x="-5692775" y="3932238"/>
                    <a:ext cx="1328738" cy="909638"/>
                    <a:chOff x="-5692775" y="3932238"/>
                    <a:chExt cx="1328738" cy="909638"/>
                  </a:xfrm>
                  <a:solidFill>
                    <a:schemeClr val="tx1"/>
                  </a:solidFill>
                </p:grpSpPr>
                <p:sp>
                  <p:nvSpPr>
                    <p:cNvPr id="385" name="Freeform 15">
                      <a:extLst>
                        <a:ext uri="{FF2B5EF4-FFF2-40B4-BE49-F238E27FC236}">
                          <a16:creationId xmlns:a16="http://schemas.microsoft.com/office/drawing/2014/main" id="{CF42C6B6-ABAC-4811-883C-FF49AEDEB438}"/>
                        </a:ext>
                      </a:extLst>
                    </p:cNvPr>
                    <p:cNvSpPr>
                      <a:spLocks/>
                    </p:cNvSpPr>
                    <p:nvPr/>
                  </p:nvSpPr>
                  <p:spPr bwMode="auto">
                    <a:xfrm>
                      <a:off x="-5211763" y="4735513"/>
                      <a:ext cx="355600" cy="106363"/>
                    </a:xfrm>
                    <a:custGeom>
                      <a:avLst/>
                      <a:gdLst>
                        <a:gd name="T0" fmla="*/ 224 w 224"/>
                        <a:gd name="T1" fmla="*/ 0 h 67"/>
                        <a:gd name="T2" fmla="*/ 187 w 224"/>
                        <a:gd name="T3" fmla="*/ 67 h 67"/>
                        <a:gd name="T4" fmla="*/ 122 w 224"/>
                        <a:gd name="T5" fmla="*/ 67 h 67"/>
                        <a:gd name="T6" fmla="*/ 101 w 224"/>
                        <a:gd name="T7" fmla="*/ 67 h 67"/>
                        <a:gd name="T8" fmla="*/ 40 w 224"/>
                        <a:gd name="T9" fmla="*/ 67 h 67"/>
                        <a:gd name="T10" fmla="*/ 0 w 224"/>
                        <a:gd name="T11" fmla="*/ 0 h 67"/>
                        <a:gd name="T12" fmla="*/ 112 w 224"/>
                        <a:gd name="T13" fmla="*/ 16 h 67"/>
                        <a:gd name="T14" fmla="*/ 224 w 224"/>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67">
                          <a:moveTo>
                            <a:pt x="224" y="0"/>
                          </a:moveTo>
                          <a:lnTo>
                            <a:pt x="187" y="67"/>
                          </a:lnTo>
                          <a:lnTo>
                            <a:pt x="122" y="67"/>
                          </a:lnTo>
                          <a:lnTo>
                            <a:pt x="101" y="67"/>
                          </a:lnTo>
                          <a:lnTo>
                            <a:pt x="40" y="67"/>
                          </a:lnTo>
                          <a:lnTo>
                            <a:pt x="0" y="0"/>
                          </a:lnTo>
                          <a:lnTo>
                            <a:pt x="112" y="16"/>
                          </a:lnTo>
                          <a:lnTo>
                            <a:pt x="2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86">
                      <a:extLst>
                        <a:ext uri="{FF2B5EF4-FFF2-40B4-BE49-F238E27FC236}">
                          <a16:creationId xmlns:a16="http://schemas.microsoft.com/office/drawing/2014/main" id="{7E64305B-1B05-4228-90E8-E4F8993533C8}"/>
                        </a:ext>
                      </a:extLst>
                    </p:cNvPr>
                    <p:cNvSpPr>
                      <a:spLocks noEditPoints="1"/>
                    </p:cNvSpPr>
                    <p:nvPr/>
                  </p:nvSpPr>
                  <p:spPr bwMode="auto">
                    <a:xfrm>
                      <a:off x="-5692775" y="3932238"/>
                      <a:ext cx="1328738" cy="874713"/>
                    </a:xfrm>
                    <a:custGeom>
                      <a:avLst/>
                      <a:gdLst>
                        <a:gd name="T0" fmla="*/ 156 w 313"/>
                        <a:gd name="T1" fmla="*/ 205 h 205"/>
                        <a:gd name="T2" fmla="*/ 0 w 313"/>
                        <a:gd name="T3" fmla="*/ 103 h 205"/>
                        <a:gd name="T4" fmla="*/ 156 w 313"/>
                        <a:gd name="T5" fmla="*/ 0 h 205"/>
                        <a:gd name="T6" fmla="*/ 313 w 313"/>
                        <a:gd name="T7" fmla="*/ 103 h 205"/>
                        <a:gd name="T8" fmla="*/ 156 w 313"/>
                        <a:gd name="T9" fmla="*/ 205 h 205"/>
                        <a:gd name="T10" fmla="*/ 156 w 313"/>
                        <a:gd name="T11" fmla="*/ 12 h 205"/>
                        <a:gd name="T12" fmla="*/ 12 w 313"/>
                        <a:gd name="T13" fmla="*/ 103 h 205"/>
                        <a:gd name="T14" fmla="*/ 156 w 313"/>
                        <a:gd name="T15" fmla="*/ 193 h 205"/>
                        <a:gd name="T16" fmla="*/ 301 w 313"/>
                        <a:gd name="T17" fmla="*/ 103 h 205"/>
                        <a:gd name="T18" fmla="*/ 156 w 313"/>
                        <a:gd name="T19" fmla="*/ 1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205">
                          <a:moveTo>
                            <a:pt x="156" y="205"/>
                          </a:moveTo>
                          <a:cubicBezTo>
                            <a:pt x="70" y="205"/>
                            <a:pt x="0" y="159"/>
                            <a:pt x="0" y="103"/>
                          </a:cubicBezTo>
                          <a:cubicBezTo>
                            <a:pt x="0" y="46"/>
                            <a:pt x="70" y="0"/>
                            <a:pt x="156" y="0"/>
                          </a:cubicBezTo>
                          <a:cubicBezTo>
                            <a:pt x="242" y="0"/>
                            <a:pt x="313" y="46"/>
                            <a:pt x="313" y="103"/>
                          </a:cubicBezTo>
                          <a:cubicBezTo>
                            <a:pt x="313" y="159"/>
                            <a:pt x="242" y="205"/>
                            <a:pt x="156" y="205"/>
                          </a:cubicBezTo>
                          <a:close/>
                          <a:moveTo>
                            <a:pt x="156" y="12"/>
                          </a:moveTo>
                          <a:cubicBezTo>
                            <a:pt x="77" y="12"/>
                            <a:pt x="12" y="53"/>
                            <a:pt x="12" y="103"/>
                          </a:cubicBezTo>
                          <a:cubicBezTo>
                            <a:pt x="12" y="153"/>
                            <a:pt x="77" y="193"/>
                            <a:pt x="156" y="193"/>
                          </a:cubicBezTo>
                          <a:cubicBezTo>
                            <a:pt x="236" y="193"/>
                            <a:pt x="301" y="153"/>
                            <a:pt x="301" y="103"/>
                          </a:cubicBezTo>
                          <a:cubicBezTo>
                            <a:pt x="301" y="53"/>
                            <a:pt x="236" y="12"/>
                            <a:pt x="156"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70" name="Group 369">
                  <a:extLst>
                    <a:ext uri="{FF2B5EF4-FFF2-40B4-BE49-F238E27FC236}">
                      <a16:creationId xmlns:a16="http://schemas.microsoft.com/office/drawing/2014/main" id="{6E547314-8E59-4B8E-B314-BE99C8806BB1}"/>
                    </a:ext>
                  </a:extLst>
                </p:cNvPr>
                <p:cNvGrpSpPr/>
                <p:nvPr/>
              </p:nvGrpSpPr>
              <p:grpSpPr>
                <a:xfrm>
                  <a:off x="-4848225" y="3843338"/>
                  <a:ext cx="2916238" cy="687388"/>
                  <a:chOff x="-4848225" y="3843338"/>
                  <a:chExt cx="2916238" cy="687388"/>
                </a:xfrm>
                <a:solidFill>
                  <a:schemeClr val="tx1"/>
                </a:solidFill>
              </p:grpSpPr>
              <p:sp>
                <p:nvSpPr>
                  <p:cNvPr id="371" name="Freeform 10">
                    <a:extLst>
                      <a:ext uri="{FF2B5EF4-FFF2-40B4-BE49-F238E27FC236}">
                        <a16:creationId xmlns:a16="http://schemas.microsoft.com/office/drawing/2014/main" id="{2F2F27A2-4BE4-4FF2-ADD4-ACB33BF26D17}"/>
                      </a:ext>
                    </a:extLst>
                  </p:cNvPr>
                  <p:cNvSpPr>
                    <a:spLocks/>
                  </p:cNvSpPr>
                  <p:nvPr/>
                </p:nvSpPr>
                <p:spPr bwMode="auto">
                  <a:xfrm>
                    <a:off x="-3463925" y="3843338"/>
                    <a:ext cx="398463" cy="114300"/>
                  </a:xfrm>
                  <a:custGeom>
                    <a:avLst/>
                    <a:gdLst>
                      <a:gd name="T0" fmla="*/ 81 w 94"/>
                      <a:gd name="T1" fmla="*/ 27 h 27"/>
                      <a:gd name="T2" fmla="*/ 75 w 94"/>
                      <a:gd name="T3" fmla="*/ 21 h 27"/>
                      <a:gd name="T4" fmla="*/ 81 w 94"/>
                      <a:gd name="T5" fmla="*/ 15 h 27"/>
                      <a:gd name="T6" fmla="*/ 82 w 94"/>
                      <a:gd name="T7" fmla="*/ 14 h 27"/>
                      <a:gd name="T8" fmla="*/ 81 w 94"/>
                      <a:gd name="T9" fmla="*/ 12 h 27"/>
                      <a:gd name="T10" fmla="*/ 6 w 94"/>
                      <a:gd name="T11" fmla="*/ 12 h 27"/>
                      <a:gd name="T12" fmla="*/ 0 w 94"/>
                      <a:gd name="T13" fmla="*/ 6 h 27"/>
                      <a:gd name="T14" fmla="*/ 6 w 94"/>
                      <a:gd name="T15" fmla="*/ 0 h 27"/>
                      <a:gd name="T16" fmla="*/ 81 w 94"/>
                      <a:gd name="T17" fmla="*/ 0 h 27"/>
                      <a:gd name="T18" fmla="*/ 94 w 94"/>
                      <a:gd name="T19" fmla="*/ 14 h 27"/>
                      <a:gd name="T20" fmla="*/ 81 w 94"/>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7">
                        <a:moveTo>
                          <a:pt x="81" y="27"/>
                        </a:moveTo>
                        <a:cubicBezTo>
                          <a:pt x="78" y="27"/>
                          <a:pt x="75" y="24"/>
                          <a:pt x="75" y="21"/>
                        </a:cubicBezTo>
                        <a:cubicBezTo>
                          <a:pt x="75" y="18"/>
                          <a:pt x="78" y="15"/>
                          <a:pt x="81" y="15"/>
                        </a:cubicBezTo>
                        <a:cubicBezTo>
                          <a:pt x="82" y="15"/>
                          <a:pt x="82" y="14"/>
                          <a:pt x="82" y="14"/>
                        </a:cubicBezTo>
                        <a:cubicBezTo>
                          <a:pt x="82" y="13"/>
                          <a:pt x="82" y="12"/>
                          <a:pt x="81" y="12"/>
                        </a:cubicBezTo>
                        <a:cubicBezTo>
                          <a:pt x="6" y="12"/>
                          <a:pt x="6" y="12"/>
                          <a:pt x="6" y="12"/>
                        </a:cubicBezTo>
                        <a:cubicBezTo>
                          <a:pt x="3" y="12"/>
                          <a:pt x="0" y="10"/>
                          <a:pt x="0" y="6"/>
                        </a:cubicBezTo>
                        <a:cubicBezTo>
                          <a:pt x="0" y="3"/>
                          <a:pt x="3" y="0"/>
                          <a:pt x="6" y="0"/>
                        </a:cubicBezTo>
                        <a:cubicBezTo>
                          <a:pt x="81" y="0"/>
                          <a:pt x="81" y="0"/>
                          <a:pt x="81" y="0"/>
                        </a:cubicBezTo>
                        <a:cubicBezTo>
                          <a:pt x="88" y="0"/>
                          <a:pt x="94" y="6"/>
                          <a:pt x="94" y="14"/>
                        </a:cubicBezTo>
                        <a:cubicBezTo>
                          <a:pt x="94" y="21"/>
                          <a:pt x="88" y="27"/>
                          <a:pt x="8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1">
                    <a:extLst>
                      <a:ext uri="{FF2B5EF4-FFF2-40B4-BE49-F238E27FC236}">
                        <a16:creationId xmlns:a16="http://schemas.microsoft.com/office/drawing/2014/main" id="{5A20ED15-F19C-4950-9993-54C4E4A842BE}"/>
                      </a:ext>
                    </a:extLst>
                  </p:cNvPr>
                  <p:cNvSpPr>
                    <a:spLocks/>
                  </p:cNvSpPr>
                  <p:nvPr/>
                </p:nvSpPr>
                <p:spPr bwMode="auto">
                  <a:xfrm>
                    <a:off x="-4848225" y="3954463"/>
                    <a:ext cx="2916238" cy="576263"/>
                  </a:xfrm>
                  <a:custGeom>
                    <a:avLst/>
                    <a:gdLst>
                      <a:gd name="T0" fmla="*/ 681 w 687"/>
                      <a:gd name="T1" fmla="*/ 135 h 135"/>
                      <a:gd name="T2" fmla="*/ 101 w 687"/>
                      <a:gd name="T3" fmla="*/ 135 h 135"/>
                      <a:gd name="T4" fmla="*/ 94 w 687"/>
                      <a:gd name="T5" fmla="*/ 129 h 135"/>
                      <a:gd name="T6" fmla="*/ 101 w 687"/>
                      <a:gd name="T7" fmla="*/ 123 h 135"/>
                      <a:gd name="T8" fmla="*/ 614 w 687"/>
                      <a:gd name="T9" fmla="*/ 123 h 135"/>
                      <a:gd name="T10" fmla="*/ 5 w 687"/>
                      <a:gd name="T11" fmla="*/ 13 h 135"/>
                      <a:gd name="T12" fmla="*/ 0 w 687"/>
                      <a:gd name="T13" fmla="*/ 6 h 135"/>
                      <a:gd name="T14" fmla="*/ 7 w 687"/>
                      <a:gd name="T15" fmla="*/ 1 h 135"/>
                      <a:gd name="T16" fmla="*/ 682 w 687"/>
                      <a:gd name="T17" fmla="*/ 123 h 135"/>
                      <a:gd name="T18" fmla="*/ 687 w 687"/>
                      <a:gd name="T19" fmla="*/ 130 h 135"/>
                      <a:gd name="T20" fmla="*/ 681 w 687"/>
                      <a:gd name="T21"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7" h="135">
                        <a:moveTo>
                          <a:pt x="681" y="135"/>
                        </a:moveTo>
                        <a:cubicBezTo>
                          <a:pt x="101" y="135"/>
                          <a:pt x="101" y="135"/>
                          <a:pt x="101" y="135"/>
                        </a:cubicBezTo>
                        <a:cubicBezTo>
                          <a:pt x="97" y="135"/>
                          <a:pt x="94" y="132"/>
                          <a:pt x="94" y="129"/>
                        </a:cubicBezTo>
                        <a:cubicBezTo>
                          <a:pt x="94" y="126"/>
                          <a:pt x="97" y="123"/>
                          <a:pt x="101" y="123"/>
                        </a:cubicBezTo>
                        <a:cubicBezTo>
                          <a:pt x="614" y="123"/>
                          <a:pt x="614" y="123"/>
                          <a:pt x="614" y="123"/>
                        </a:cubicBezTo>
                        <a:cubicBezTo>
                          <a:pt x="5" y="13"/>
                          <a:pt x="5" y="13"/>
                          <a:pt x="5" y="13"/>
                        </a:cubicBezTo>
                        <a:cubicBezTo>
                          <a:pt x="2" y="12"/>
                          <a:pt x="0" y="9"/>
                          <a:pt x="0" y="6"/>
                        </a:cubicBezTo>
                        <a:cubicBezTo>
                          <a:pt x="1" y="2"/>
                          <a:pt x="4" y="0"/>
                          <a:pt x="7" y="1"/>
                        </a:cubicBezTo>
                        <a:cubicBezTo>
                          <a:pt x="682" y="123"/>
                          <a:pt x="682" y="123"/>
                          <a:pt x="682" y="123"/>
                        </a:cubicBezTo>
                        <a:cubicBezTo>
                          <a:pt x="685" y="124"/>
                          <a:pt x="687" y="127"/>
                          <a:pt x="687" y="130"/>
                        </a:cubicBezTo>
                        <a:cubicBezTo>
                          <a:pt x="687" y="133"/>
                          <a:pt x="684" y="135"/>
                          <a:pt x="681"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14">
                    <a:extLst>
                      <a:ext uri="{FF2B5EF4-FFF2-40B4-BE49-F238E27FC236}">
                        <a16:creationId xmlns:a16="http://schemas.microsoft.com/office/drawing/2014/main" id="{0003B82F-B353-456E-AC44-EB5F376CA041}"/>
                      </a:ext>
                    </a:extLst>
                  </p:cNvPr>
                  <p:cNvSpPr>
                    <a:spLocks/>
                  </p:cNvSpPr>
                  <p:nvPr/>
                </p:nvSpPr>
                <p:spPr bwMode="auto">
                  <a:xfrm>
                    <a:off x="-4270375" y="4056063"/>
                    <a:ext cx="593725" cy="465138"/>
                  </a:xfrm>
                  <a:custGeom>
                    <a:avLst/>
                    <a:gdLst>
                      <a:gd name="T0" fmla="*/ 133 w 140"/>
                      <a:gd name="T1" fmla="*/ 109 h 109"/>
                      <a:gd name="T2" fmla="*/ 129 w 140"/>
                      <a:gd name="T3" fmla="*/ 108 h 109"/>
                      <a:gd name="T4" fmla="*/ 3 w 140"/>
                      <a:gd name="T5" fmla="*/ 12 h 109"/>
                      <a:gd name="T6" fmla="*/ 2 w 140"/>
                      <a:gd name="T7" fmla="*/ 4 h 109"/>
                      <a:gd name="T8" fmla="*/ 10 w 140"/>
                      <a:gd name="T9" fmla="*/ 3 h 109"/>
                      <a:gd name="T10" fmla="*/ 136 w 140"/>
                      <a:gd name="T11" fmla="*/ 99 h 109"/>
                      <a:gd name="T12" fmla="*/ 138 w 140"/>
                      <a:gd name="T13" fmla="*/ 107 h 109"/>
                      <a:gd name="T14" fmla="*/ 133 w 14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09">
                        <a:moveTo>
                          <a:pt x="133" y="109"/>
                        </a:moveTo>
                        <a:cubicBezTo>
                          <a:pt x="131" y="109"/>
                          <a:pt x="130" y="109"/>
                          <a:pt x="129" y="108"/>
                        </a:cubicBezTo>
                        <a:cubicBezTo>
                          <a:pt x="3" y="12"/>
                          <a:pt x="3" y="12"/>
                          <a:pt x="3" y="12"/>
                        </a:cubicBezTo>
                        <a:cubicBezTo>
                          <a:pt x="0" y="10"/>
                          <a:pt x="0" y="6"/>
                          <a:pt x="2" y="4"/>
                        </a:cubicBezTo>
                        <a:cubicBezTo>
                          <a:pt x="4" y="1"/>
                          <a:pt x="8" y="0"/>
                          <a:pt x="10" y="3"/>
                        </a:cubicBezTo>
                        <a:cubicBezTo>
                          <a:pt x="136" y="99"/>
                          <a:pt x="136" y="99"/>
                          <a:pt x="136" y="99"/>
                        </a:cubicBezTo>
                        <a:cubicBezTo>
                          <a:pt x="139" y="101"/>
                          <a:pt x="140" y="104"/>
                          <a:pt x="138" y="107"/>
                        </a:cubicBezTo>
                        <a:cubicBezTo>
                          <a:pt x="136" y="109"/>
                          <a:pt x="135" y="109"/>
                          <a:pt x="13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17">
                    <a:extLst>
                      <a:ext uri="{FF2B5EF4-FFF2-40B4-BE49-F238E27FC236}">
                        <a16:creationId xmlns:a16="http://schemas.microsoft.com/office/drawing/2014/main" id="{27E8BC3E-5703-47C9-B440-8039A816D5CB}"/>
                      </a:ext>
                    </a:extLst>
                  </p:cNvPr>
                  <p:cNvSpPr>
                    <a:spLocks/>
                  </p:cNvSpPr>
                  <p:nvPr/>
                </p:nvSpPr>
                <p:spPr bwMode="auto">
                  <a:xfrm>
                    <a:off x="-3201988" y="4252913"/>
                    <a:ext cx="590550" cy="268288"/>
                  </a:xfrm>
                  <a:custGeom>
                    <a:avLst/>
                    <a:gdLst>
                      <a:gd name="T0" fmla="*/ 133 w 139"/>
                      <a:gd name="T1" fmla="*/ 63 h 63"/>
                      <a:gd name="T2" fmla="*/ 130 w 139"/>
                      <a:gd name="T3" fmla="*/ 63 h 63"/>
                      <a:gd name="T4" fmla="*/ 4 w 139"/>
                      <a:gd name="T5" fmla="*/ 13 h 63"/>
                      <a:gd name="T6" fmla="*/ 1 w 139"/>
                      <a:gd name="T7" fmla="*/ 5 h 63"/>
                      <a:gd name="T8" fmla="*/ 9 w 139"/>
                      <a:gd name="T9" fmla="*/ 1 h 63"/>
                      <a:gd name="T10" fmla="*/ 135 w 139"/>
                      <a:gd name="T11" fmla="*/ 52 h 63"/>
                      <a:gd name="T12" fmla="*/ 138 w 139"/>
                      <a:gd name="T13" fmla="*/ 60 h 63"/>
                      <a:gd name="T14" fmla="*/ 133 w 139"/>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63">
                        <a:moveTo>
                          <a:pt x="133" y="63"/>
                        </a:moveTo>
                        <a:cubicBezTo>
                          <a:pt x="132" y="63"/>
                          <a:pt x="131" y="63"/>
                          <a:pt x="130" y="63"/>
                        </a:cubicBezTo>
                        <a:cubicBezTo>
                          <a:pt x="4" y="13"/>
                          <a:pt x="4" y="13"/>
                          <a:pt x="4" y="13"/>
                        </a:cubicBezTo>
                        <a:cubicBezTo>
                          <a:pt x="1" y="11"/>
                          <a:pt x="0" y="8"/>
                          <a:pt x="1" y="5"/>
                        </a:cubicBezTo>
                        <a:cubicBezTo>
                          <a:pt x="2" y="2"/>
                          <a:pt x="6" y="0"/>
                          <a:pt x="9" y="1"/>
                        </a:cubicBezTo>
                        <a:cubicBezTo>
                          <a:pt x="135" y="52"/>
                          <a:pt x="135" y="52"/>
                          <a:pt x="135" y="52"/>
                        </a:cubicBezTo>
                        <a:cubicBezTo>
                          <a:pt x="138" y="53"/>
                          <a:pt x="139" y="56"/>
                          <a:pt x="138" y="60"/>
                        </a:cubicBezTo>
                        <a:cubicBezTo>
                          <a:pt x="137" y="62"/>
                          <a:pt x="135" y="63"/>
                          <a:pt x="13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18">
                    <a:extLst>
                      <a:ext uri="{FF2B5EF4-FFF2-40B4-BE49-F238E27FC236}">
                        <a16:creationId xmlns:a16="http://schemas.microsoft.com/office/drawing/2014/main" id="{59CC0368-550F-47CF-A897-83023CDA137B}"/>
                      </a:ext>
                    </a:extLst>
                  </p:cNvPr>
                  <p:cNvSpPr>
                    <a:spLocks/>
                  </p:cNvSpPr>
                  <p:nvPr/>
                </p:nvSpPr>
                <p:spPr bwMode="auto">
                  <a:xfrm>
                    <a:off x="-3735388" y="4270375"/>
                    <a:ext cx="593725" cy="250825"/>
                  </a:xfrm>
                  <a:custGeom>
                    <a:avLst/>
                    <a:gdLst>
                      <a:gd name="T0" fmla="*/ 7 w 140"/>
                      <a:gd name="T1" fmla="*/ 59 h 59"/>
                      <a:gd name="T2" fmla="*/ 1 w 140"/>
                      <a:gd name="T3" fmla="*/ 55 h 59"/>
                      <a:gd name="T4" fmla="*/ 5 w 140"/>
                      <a:gd name="T5" fmla="*/ 48 h 59"/>
                      <a:gd name="T6" fmla="*/ 131 w 140"/>
                      <a:gd name="T7" fmla="*/ 1 h 59"/>
                      <a:gd name="T8" fmla="*/ 139 w 140"/>
                      <a:gd name="T9" fmla="*/ 5 h 59"/>
                      <a:gd name="T10" fmla="*/ 136 w 140"/>
                      <a:gd name="T11" fmla="*/ 12 h 59"/>
                      <a:gd name="T12" fmla="*/ 9 w 140"/>
                      <a:gd name="T13" fmla="*/ 59 h 59"/>
                      <a:gd name="T14" fmla="*/ 7 w 140"/>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59">
                        <a:moveTo>
                          <a:pt x="7" y="59"/>
                        </a:moveTo>
                        <a:cubicBezTo>
                          <a:pt x="4" y="59"/>
                          <a:pt x="2" y="58"/>
                          <a:pt x="1" y="55"/>
                        </a:cubicBezTo>
                        <a:cubicBezTo>
                          <a:pt x="0" y="52"/>
                          <a:pt x="2" y="49"/>
                          <a:pt x="5" y="48"/>
                        </a:cubicBezTo>
                        <a:cubicBezTo>
                          <a:pt x="131" y="1"/>
                          <a:pt x="131" y="1"/>
                          <a:pt x="131" y="1"/>
                        </a:cubicBezTo>
                        <a:cubicBezTo>
                          <a:pt x="135" y="0"/>
                          <a:pt x="138" y="1"/>
                          <a:pt x="139" y="5"/>
                        </a:cubicBezTo>
                        <a:cubicBezTo>
                          <a:pt x="140" y="8"/>
                          <a:pt x="139" y="11"/>
                          <a:pt x="136" y="12"/>
                        </a:cubicBezTo>
                        <a:cubicBezTo>
                          <a:pt x="9" y="59"/>
                          <a:pt x="9" y="59"/>
                          <a:pt x="9" y="59"/>
                        </a:cubicBezTo>
                        <a:cubicBezTo>
                          <a:pt x="8" y="59"/>
                          <a:pt x="7" y="59"/>
                          <a:pt x="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19">
                    <a:extLst>
                      <a:ext uri="{FF2B5EF4-FFF2-40B4-BE49-F238E27FC236}">
                        <a16:creationId xmlns:a16="http://schemas.microsoft.com/office/drawing/2014/main" id="{D34115BB-AD0E-4802-B790-327751FCF2C8}"/>
                      </a:ext>
                    </a:extLst>
                  </p:cNvPr>
                  <p:cNvSpPr>
                    <a:spLocks/>
                  </p:cNvSpPr>
                  <p:nvPr/>
                </p:nvSpPr>
                <p:spPr bwMode="auto">
                  <a:xfrm>
                    <a:off x="-3732213" y="4171950"/>
                    <a:ext cx="50800" cy="349250"/>
                  </a:xfrm>
                  <a:custGeom>
                    <a:avLst/>
                    <a:gdLst>
                      <a:gd name="T0" fmla="*/ 6 w 12"/>
                      <a:gd name="T1" fmla="*/ 82 h 82"/>
                      <a:gd name="T2" fmla="*/ 0 w 12"/>
                      <a:gd name="T3" fmla="*/ 76 h 82"/>
                      <a:gd name="T4" fmla="*/ 0 w 12"/>
                      <a:gd name="T5" fmla="*/ 6 h 82"/>
                      <a:gd name="T6" fmla="*/ 6 w 12"/>
                      <a:gd name="T7" fmla="*/ 0 h 82"/>
                      <a:gd name="T8" fmla="*/ 12 w 12"/>
                      <a:gd name="T9" fmla="*/ 6 h 82"/>
                      <a:gd name="T10" fmla="*/ 12 w 12"/>
                      <a:gd name="T11" fmla="*/ 76 h 82"/>
                      <a:gd name="T12" fmla="*/ 6 w 12"/>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12" h="82">
                        <a:moveTo>
                          <a:pt x="6" y="82"/>
                        </a:moveTo>
                        <a:cubicBezTo>
                          <a:pt x="2" y="82"/>
                          <a:pt x="0" y="79"/>
                          <a:pt x="0" y="76"/>
                        </a:cubicBezTo>
                        <a:cubicBezTo>
                          <a:pt x="0" y="6"/>
                          <a:pt x="0" y="6"/>
                          <a:pt x="0" y="6"/>
                        </a:cubicBezTo>
                        <a:cubicBezTo>
                          <a:pt x="0" y="3"/>
                          <a:pt x="2" y="0"/>
                          <a:pt x="6" y="0"/>
                        </a:cubicBezTo>
                        <a:cubicBezTo>
                          <a:pt x="9" y="0"/>
                          <a:pt x="12" y="3"/>
                          <a:pt x="12" y="6"/>
                        </a:cubicBezTo>
                        <a:cubicBezTo>
                          <a:pt x="12" y="76"/>
                          <a:pt x="12" y="76"/>
                          <a:pt x="12" y="76"/>
                        </a:cubicBezTo>
                        <a:cubicBezTo>
                          <a:pt x="12" y="79"/>
                          <a:pt x="9" y="82"/>
                          <a:pt x="6"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20">
                    <a:extLst>
                      <a:ext uri="{FF2B5EF4-FFF2-40B4-BE49-F238E27FC236}">
                        <a16:creationId xmlns:a16="http://schemas.microsoft.com/office/drawing/2014/main" id="{D2B1D85C-0E47-4C0A-9782-A1E8EE4EA305}"/>
                      </a:ext>
                    </a:extLst>
                  </p:cNvPr>
                  <p:cNvSpPr>
                    <a:spLocks/>
                  </p:cNvSpPr>
                  <p:nvPr/>
                </p:nvSpPr>
                <p:spPr bwMode="auto">
                  <a:xfrm>
                    <a:off x="-3197225" y="4273550"/>
                    <a:ext cx="50800" cy="247650"/>
                  </a:xfrm>
                  <a:custGeom>
                    <a:avLst/>
                    <a:gdLst>
                      <a:gd name="T0" fmla="*/ 6 w 12"/>
                      <a:gd name="T1" fmla="*/ 58 h 58"/>
                      <a:gd name="T2" fmla="*/ 0 w 12"/>
                      <a:gd name="T3" fmla="*/ 52 h 58"/>
                      <a:gd name="T4" fmla="*/ 0 w 12"/>
                      <a:gd name="T5" fmla="*/ 6 h 58"/>
                      <a:gd name="T6" fmla="*/ 6 w 12"/>
                      <a:gd name="T7" fmla="*/ 0 h 58"/>
                      <a:gd name="T8" fmla="*/ 12 w 12"/>
                      <a:gd name="T9" fmla="*/ 6 h 58"/>
                      <a:gd name="T10" fmla="*/ 12 w 12"/>
                      <a:gd name="T11" fmla="*/ 52 h 58"/>
                      <a:gd name="T12" fmla="*/ 6 w 12"/>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2" h="58">
                        <a:moveTo>
                          <a:pt x="6" y="58"/>
                        </a:moveTo>
                        <a:cubicBezTo>
                          <a:pt x="2" y="58"/>
                          <a:pt x="0" y="55"/>
                          <a:pt x="0" y="52"/>
                        </a:cubicBezTo>
                        <a:cubicBezTo>
                          <a:pt x="0" y="6"/>
                          <a:pt x="0" y="6"/>
                          <a:pt x="0" y="6"/>
                        </a:cubicBezTo>
                        <a:cubicBezTo>
                          <a:pt x="0" y="3"/>
                          <a:pt x="2" y="0"/>
                          <a:pt x="6" y="0"/>
                        </a:cubicBezTo>
                        <a:cubicBezTo>
                          <a:pt x="9" y="0"/>
                          <a:pt x="12" y="3"/>
                          <a:pt x="12" y="6"/>
                        </a:cubicBezTo>
                        <a:cubicBezTo>
                          <a:pt x="12" y="52"/>
                          <a:pt x="12" y="52"/>
                          <a:pt x="12" y="52"/>
                        </a:cubicBezTo>
                        <a:cubicBezTo>
                          <a:pt x="12" y="55"/>
                          <a:pt x="9" y="58"/>
                          <a:pt x="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21">
                    <a:extLst>
                      <a:ext uri="{FF2B5EF4-FFF2-40B4-BE49-F238E27FC236}">
                        <a16:creationId xmlns:a16="http://schemas.microsoft.com/office/drawing/2014/main" id="{AE6C743A-2405-4E1B-88F7-7F0AC3FD3B5E}"/>
                      </a:ext>
                    </a:extLst>
                  </p:cNvPr>
                  <p:cNvSpPr>
                    <a:spLocks/>
                  </p:cNvSpPr>
                  <p:nvPr/>
                </p:nvSpPr>
                <p:spPr bwMode="auto">
                  <a:xfrm>
                    <a:off x="-2662238" y="4359275"/>
                    <a:ext cx="50800" cy="161925"/>
                  </a:xfrm>
                  <a:custGeom>
                    <a:avLst/>
                    <a:gdLst>
                      <a:gd name="T0" fmla="*/ 6 w 12"/>
                      <a:gd name="T1" fmla="*/ 38 h 38"/>
                      <a:gd name="T2" fmla="*/ 0 w 12"/>
                      <a:gd name="T3" fmla="*/ 32 h 38"/>
                      <a:gd name="T4" fmla="*/ 0 w 12"/>
                      <a:gd name="T5" fmla="*/ 6 h 38"/>
                      <a:gd name="T6" fmla="*/ 6 w 12"/>
                      <a:gd name="T7" fmla="*/ 0 h 38"/>
                      <a:gd name="T8" fmla="*/ 12 w 12"/>
                      <a:gd name="T9" fmla="*/ 6 h 38"/>
                      <a:gd name="T10" fmla="*/ 12 w 12"/>
                      <a:gd name="T11" fmla="*/ 32 h 38"/>
                      <a:gd name="T12" fmla="*/ 6 w 12"/>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2" h="38">
                        <a:moveTo>
                          <a:pt x="6" y="38"/>
                        </a:moveTo>
                        <a:cubicBezTo>
                          <a:pt x="2" y="38"/>
                          <a:pt x="0" y="35"/>
                          <a:pt x="0" y="32"/>
                        </a:cubicBezTo>
                        <a:cubicBezTo>
                          <a:pt x="0" y="6"/>
                          <a:pt x="0" y="6"/>
                          <a:pt x="0" y="6"/>
                        </a:cubicBezTo>
                        <a:cubicBezTo>
                          <a:pt x="0" y="3"/>
                          <a:pt x="2" y="0"/>
                          <a:pt x="6" y="0"/>
                        </a:cubicBezTo>
                        <a:cubicBezTo>
                          <a:pt x="9" y="0"/>
                          <a:pt x="12" y="3"/>
                          <a:pt x="12" y="6"/>
                        </a:cubicBezTo>
                        <a:cubicBezTo>
                          <a:pt x="12" y="32"/>
                          <a:pt x="12" y="32"/>
                          <a:pt x="12" y="32"/>
                        </a:cubicBezTo>
                        <a:cubicBezTo>
                          <a:pt x="12" y="35"/>
                          <a:pt x="9"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22">
                    <a:extLst>
                      <a:ext uri="{FF2B5EF4-FFF2-40B4-BE49-F238E27FC236}">
                        <a16:creationId xmlns:a16="http://schemas.microsoft.com/office/drawing/2014/main" id="{829CE327-5097-4C82-B3D0-15185E513DE2}"/>
                      </a:ext>
                    </a:extLst>
                  </p:cNvPr>
                  <p:cNvSpPr>
                    <a:spLocks/>
                  </p:cNvSpPr>
                  <p:nvPr/>
                </p:nvSpPr>
                <p:spPr bwMode="auto">
                  <a:xfrm>
                    <a:off x="-4265613" y="4068763"/>
                    <a:ext cx="50800" cy="452438"/>
                  </a:xfrm>
                  <a:custGeom>
                    <a:avLst/>
                    <a:gdLst>
                      <a:gd name="T0" fmla="*/ 6 w 12"/>
                      <a:gd name="T1" fmla="*/ 106 h 106"/>
                      <a:gd name="T2" fmla="*/ 0 w 12"/>
                      <a:gd name="T3" fmla="*/ 100 h 106"/>
                      <a:gd name="T4" fmla="*/ 0 w 12"/>
                      <a:gd name="T5" fmla="*/ 6 h 106"/>
                      <a:gd name="T6" fmla="*/ 6 w 12"/>
                      <a:gd name="T7" fmla="*/ 0 h 106"/>
                      <a:gd name="T8" fmla="*/ 12 w 12"/>
                      <a:gd name="T9" fmla="*/ 6 h 106"/>
                      <a:gd name="T10" fmla="*/ 12 w 12"/>
                      <a:gd name="T11" fmla="*/ 100 h 106"/>
                      <a:gd name="T12" fmla="*/ 6 w 12"/>
                      <a:gd name="T13" fmla="*/ 106 h 106"/>
                    </a:gdLst>
                    <a:ahLst/>
                    <a:cxnLst>
                      <a:cxn ang="0">
                        <a:pos x="T0" y="T1"/>
                      </a:cxn>
                      <a:cxn ang="0">
                        <a:pos x="T2" y="T3"/>
                      </a:cxn>
                      <a:cxn ang="0">
                        <a:pos x="T4" y="T5"/>
                      </a:cxn>
                      <a:cxn ang="0">
                        <a:pos x="T6" y="T7"/>
                      </a:cxn>
                      <a:cxn ang="0">
                        <a:pos x="T8" y="T9"/>
                      </a:cxn>
                      <a:cxn ang="0">
                        <a:pos x="T10" y="T11"/>
                      </a:cxn>
                      <a:cxn ang="0">
                        <a:pos x="T12" y="T13"/>
                      </a:cxn>
                    </a:cxnLst>
                    <a:rect l="0" t="0" r="r" b="b"/>
                    <a:pathLst>
                      <a:path w="12" h="106">
                        <a:moveTo>
                          <a:pt x="6" y="106"/>
                        </a:moveTo>
                        <a:cubicBezTo>
                          <a:pt x="2" y="106"/>
                          <a:pt x="0" y="103"/>
                          <a:pt x="0" y="100"/>
                        </a:cubicBezTo>
                        <a:cubicBezTo>
                          <a:pt x="0" y="6"/>
                          <a:pt x="0" y="6"/>
                          <a:pt x="0" y="6"/>
                        </a:cubicBezTo>
                        <a:cubicBezTo>
                          <a:pt x="0" y="2"/>
                          <a:pt x="2" y="0"/>
                          <a:pt x="6" y="0"/>
                        </a:cubicBezTo>
                        <a:cubicBezTo>
                          <a:pt x="9" y="0"/>
                          <a:pt x="12" y="2"/>
                          <a:pt x="12" y="6"/>
                        </a:cubicBezTo>
                        <a:cubicBezTo>
                          <a:pt x="12" y="100"/>
                          <a:pt x="12" y="100"/>
                          <a:pt x="12" y="100"/>
                        </a:cubicBezTo>
                        <a:cubicBezTo>
                          <a:pt x="12" y="103"/>
                          <a:pt x="9" y="106"/>
                          <a:pt x="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88">
                    <a:extLst>
                      <a:ext uri="{FF2B5EF4-FFF2-40B4-BE49-F238E27FC236}">
                        <a16:creationId xmlns:a16="http://schemas.microsoft.com/office/drawing/2014/main" id="{A23805E9-1866-45FF-8CF6-A318419554FF}"/>
                      </a:ext>
                    </a:extLst>
                  </p:cNvPr>
                  <p:cNvSpPr>
                    <a:spLocks/>
                  </p:cNvSpPr>
                  <p:nvPr/>
                </p:nvSpPr>
                <p:spPr bwMode="auto">
                  <a:xfrm>
                    <a:off x="-2127250" y="4465638"/>
                    <a:ext cx="50800" cy="55563"/>
                  </a:xfrm>
                  <a:custGeom>
                    <a:avLst/>
                    <a:gdLst>
                      <a:gd name="T0" fmla="*/ 6 w 12"/>
                      <a:gd name="T1" fmla="*/ 13 h 13"/>
                      <a:gd name="T2" fmla="*/ 1 w 12"/>
                      <a:gd name="T3" fmla="*/ 11 h 13"/>
                      <a:gd name="T4" fmla="*/ 0 w 12"/>
                      <a:gd name="T5" fmla="*/ 7 h 13"/>
                      <a:gd name="T6" fmla="*/ 1 w 12"/>
                      <a:gd name="T7" fmla="*/ 2 h 13"/>
                      <a:gd name="T8" fmla="*/ 10 w 12"/>
                      <a:gd name="T9" fmla="*/ 2 h 13"/>
                      <a:gd name="T10" fmla="*/ 12 w 12"/>
                      <a:gd name="T11" fmla="*/ 7 h 13"/>
                      <a:gd name="T12" fmla="*/ 10 w 12"/>
                      <a:gd name="T13" fmla="*/ 11 h 13"/>
                      <a:gd name="T14" fmla="*/ 6 w 1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6" y="13"/>
                        </a:moveTo>
                        <a:cubicBezTo>
                          <a:pt x="4" y="13"/>
                          <a:pt x="3" y="12"/>
                          <a:pt x="1" y="11"/>
                        </a:cubicBezTo>
                        <a:cubicBezTo>
                          <a:pt x="0" y="10"/>
                          <a:pt x="0" y="8"/>
                          <a:pt x="0" y="7"/>
                        </a:cubicBezTo>
                        <a:cubicBezTo>
                          <a:pt x="0" y="5"/>
                          <a:pt x="0" y="3"/>
                          <a:pt x="1" y="2"/>
                        </a:cubicBezTo>
                        <a:cubicBezTo>
                          <a:pt x="4" y="0"/>
                          <a:pt x="8" y="0"/>
                          <a:pt x="10" y="2"/>
                        </a:cubicBezTo>
                        <a:cubicBezTo>
                          <a:pt x="11" y="3"/>
                          <a:pt x="12" y="5"/>
                          <a:pt x="12" y="7"/>
                        </a:cubicBezTo>
                        <a:cubicBezTo>
                          <a:pt x="12" y="8"/>
                          <a:pt x="11" y="10"/>
                          <a:pt x="10" y="11"/>
                        </a:cubicBezTo>
                        <a:cubicBezTo>
                          <a:pt x="9" y="12"/>
                          <a:pt x="7"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9" name="Group 248">
                <a:extLst>
                  <a:ext uri="{FF2B5EF4-FFF2-40B4-BE49-F238E27FC236}">
                    <a16:creationId xmlns:a16="http://schemas.microsoft.com/office/drawing/2014/main" id="{1E53D195-DCC1-4A43-A8EF-E92B0C07C07A}"/>
                  </a:ext>
                </a:extLst>
              </p:cNvPr>
              <p:cNvGrpSpPr/>
              <p:nvPr/>
            </p:nvGrpSpPr>
            <p:grpSpPr>
              <a:xfrm>
                <a:off x="-4503738" y="3775075"/>
                <a:ext cx="3644900" cy="1233488"/>
                <a:chOff x="-4503738" y="3775075"/>
                <a:chExt cx="3644900" cy="1233488"/>
              </a:xfrm>
            </p:grpSpPr>
            <p:grpSp>
              <p:nvGrpSpPr>
                <p:cNvPr id="273" name="Group 272">
                  <a:extLst>
                    <a:ext uri="{FF2B5EF4-FFF2-40B4-BE49-F238E27FC236}">
                      <a16:creationId xmlns:a16="http://schemas.microsoft.com/office/drawing/2014/main" id="{6EE8F28C-D5D8-46AA-8816-2555828557DC}"/>
                    </a:ext>
                  </a:extLst>
                </p:cNvPr>
                <p:cNvGrpSpPr/>
                <p:nvPr/>
              </p:nvGrpSpPr>
              <p:grpSpPr>
                <a:xfrm>
                  <a:off x="-3417888" y="4551363"/>
                  <a:ext cx="1485900" cy="457200"/>
                  <a:chOff x="-3417888" y="4551363"/>
                  <a:chExt cx="1485900" cy="457200"/>
                </a:xfrm>
                <a:solidFill>
                  <a:schemeClr val="accent6"/>
                </a:solidFill>
              </p:grpSpPr>
              <p:sp>
                <p:nvSpPr>
                  <p:cNvPr id="326" name="Oval 43">
                    <a:extLst>
                      <a:ext uri="{FF2B5EF4-FFF2-40B4-BE49-F238E27FC236}">
                        <a16:creationId xmlns:a16="http://schemas.microsoft.com/office/drawing/2014/main" id="{07FEAD76-FD0B-4DF3-B78E-CEC7BE3BB0F7}"/>
                      </a:ext>
                    </a:extLst>
                  </p:cNvPr>
                  <p:cNvSpPr>
                    <a:spLocks noChangeArrowheads="1"/>
                  </p:cNvSpPr>
                  <p:nvPr/>
                </p:nvSpPr>
                <p:spPr bwMode="auto">
                  <a:xfrm>
                    <a:off x="-2339975" y="49577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Oval 44">
                    <a:extLst>
                      <a:ext uri="{FF2B5EF4-FFF2-40B4-BE49-F238E27FC236}">
                        <a16:creationId xmlns:a16="http://schemas.microsoft.com/office/drawing/2014/main" id="{4AC2D4BA-3DA3-472C-AF38-DDB10FB6069D}"/>
                      </a:ext>
                    </a:extLst>
                  </p:cNvPr>
                  <p:cNvSpPr>
                    <a:spLocks noChangeArrowheads="1"/>
                  </p:cNvSpPr>
                  <p:nvPr/>
                </p:nvSpPr>
                <p:spPr bwMode="auto">
                  <a:xfrm>
                    <a:off x="-2890838" y="482123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Oval 45">
                    <a:extLst>
                      <a:ext uri="{FF2B5EF4-FFF2-40B4-BE49-F238E27FC236}">
                        <a16:creationId xmlns:a16="http://schemas.microsoft.com/office/drawing/2014/main" id="{0D2E9A85-2FD5-4ABB-9F35-E91A174BA5E2}"/>
                      </a:ext>
                    </a:extLst>
                  </p:cNvPr>
                  <p:cNvSpPr>
                    <a:spLocks noChangeArrowheads="1"/>
                  </p:cNvSpPr>
                  <p:nvPr/>
                </p:nvSpPr>
                <p:spPr bwMode="auto">
                  <a:xfrm>
                    <a:off x="-2981325" y="4905375"/>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Oval 46">
                    <a:extLst>
                      <a:ext uri="{FF2B5EF4-FFF2-40B4-BE49-F238E27FC236}">
                        <a16:creationId xmlns:a16="http://schemas.microsoft.com/office/drawing/2014/main" id="{0CB07E58-3B3B-4FAC-8C80-41099121018A}"/>
                      </a:ext>
                    </a:extLst>
                  </p:cNvPr>
                  <p:cNvSpPr>
                    <a:spLocks noChangeArrowheads="1"/>
                  </p:cNvSpPr>
                  <p:nvPr/>
                </p:nvSpPr>
                <p:spPr bwMode="auto">
                  <a:xfrm>
                    <a:off x="-3417888" y="493553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Oval 102">
                    <a:extLst>
                      <a:ext uri="{FF2B5EF4-FFF2-40B4-BE49-F238E27FC236}">
                        <a16:creationId xmlns:a16="http://schemas.microsoft.com/office/drawing/2014/main" id="{56BEA255-AB5F-4B61-84ED-53AD1C18A9FC}"/>
                      </a:ext>
                    </a:extLst>
                  </p:cNvPr>
                  <p:cNvSpPr>
                    <a:spLocks noChangeArrowheads="1"/>
                  </p:cNvSpPr>
                  <p:nvPr/>
                </p:nvSpPr>
                <p:spPr bwMode="auto">
                  <a:xfrm>
                    <a:off x="-2178050"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Oval 103">
                    <a:extLst>
                      <a:ext uri="{FF2B5EF4-FFF2-40B4-BE49-F238E27FC236}">
                        <a16:creationId xmlns:a16="http://schemas.microsoft.com/office/drawing/2014/main" id="{F3EC7FF9-7523-4C29-A619-A43DEDF13FEB}"/>
                      </a:ext>
                    </a:extLst>
                  </p:cNvPr>
                  <p:cNvSpPr>
                    <a:spLocks noChangeArrowheads="1"/>
                  </p:cNvSpPr>
                  <p:nvPr/>
                </p:nvSpPr>
                <p:spPr bwMode="auto">
                  <a:xfrm>
                    <a:off x="-2225675" y="4649788"/>
                    <a:ext cx="47625"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104">
                    <a:extLst>
                      <a:ext uri="{FF2B5EF4-FFF2-40B4-BE49-F238E27FC236}">
                        <a16:creationId xmlns:a16="http://schemas.microsoft.com/office/drawing/2014/main" id="{D257E676-B84F-42D4-A76E-74193F751C85}"/>
                      </a:ext>
                    </a:extLst>
                  </p:cNvPr>
                  <p:cNvSpPr>
                    <a:spLocks noChangeArrowheads="1"/>
                  </p:cNvSpPr>
                  <p:nvPr/>
                </p:nvSpPr>
                <p:spPr bwMode="auto">
                  <a:xfrm>
                    <a:off x="-2276475"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Oval 106">
                    <a:extLst>
                      <a:ext uri="{FF2B5EF4-FFF2-40B4-BE49-F238E27FC236}">
                        <a16:creationId xmlns:a16="http://schemas.microsoft.com/office/drawing/2014/main" id="{6D31668B-B00A-4649-A23D-6495A427513C}"/>
                      </a:ext>
                    </a:extLst>
                  </p:cNvPr>
                  <p:cNvSpPr>
                    <a:spLocks noChangeArrowheads="1"/>
                  </p:cNvSpPr>
                  <p:nvPr/>
                </p:nvSpPr>
                <p:spPr bwMode="auto">
                  <a:xfrm>
                    <a:off x="-2178050"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Oval 107">
                    <a:extLst>
                      <a:ext uri="{FF2B5EF4-FFF2-40B4-BE49-F238E27FC236}">
                        <a16:creationId xmlns:a16="http://schemas.microsoft.com/office/drawing/2014/main" id="{DA6577BC-2F44-4D27-8A1A-6EFA8146BAA3}"/>
                      </a:ext>
                    </a:extLst>
                  </p:cNvPr>
                  <p:cNvSpPr>
                    <a:spLocks noChangeArrowheads="1"/>
                  </p:cNvSpPr>
                  <p:nvPr/>
                </p:nvSpPr>
                <p:spPr bwMode="auto">
                  <a:xfrm>
                    <a:off x="-2225675" y="4649788"/>
                    <a:ext cx="47625"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Oval 108">
                    <a:extLst>
                      <a:ext uri="{FF2B5EF4-FFF2-40B4-BE49-F238E27FC236}">
                        <a16:creationId xmlns:a16="http://schemas.microsoft.com/office/drawing/2014/main" id="{CA7F7E49-5AA6-41C5-A163-5DBAB80B1088}"/>
                      </a:ext>
                    </a:extLst>
                  </p:cNvPr>
                  <p:cNvSpPr>
                    <a:spLocks noChangeArrowheads="1"/>
                  </p:cNvSpPr>
                  <p:nvPr/>
                </p:nvSpPr>
                <p:spPr bwMode="auto">
                  <a:xfrm>
                    <a:off x="-2276475"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Oval 109">
                    <a:extLst>
                      <a:ext uri="{FF2B5EF4-FFF2-40B4-BE49-F238E27FC236}">
                        <a16:creationId xmlns:a16="http://schemas.microsoft.com/office/drawing/2014/main" id="{41A86870-EA61-49FD-AA1E-D9C410CA043F}"/>
                      </a:ext>
                    </a:extLst>
                  </p:cNvPr>
                  <p:cNvSpPr>
                    <a:spLocks noChangeArrowheads="1"/>
                  </p:cNvSpPr>
                  <p:nvPr/>
                </p:nvSpPr>
                <p:spPr bwMode="auto">
                  <a:xfrm>
                    <a:off x="-2081213"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Oval 110">
                    <a:extLst>
                      <a:ext uri="{FF2B5EF4-FFF2-40B4-BE49-F238E27FC236}">
                        <a16:creationId xmlns:a16="http://schemas.microsoft.com/office/drawing/2014/main" id="{0E78DFC2-81AC-4D82-A9CE-C08333C8280D}"/>
                      </a:ext>
                    </a:extLst>
                  </p:cNvPr>
                  <p:cNvSpPr>
                    <a:spLocks noChangeArrowheads="1"/>
                  </p:cNvSpPr>
                  <p:nvPr/>
                </p:nvSpPr>
                <p:spPr bwMode="auto">
                  <a:xfrm>
                    <a:off x="-2178050"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Oval 111">
                    <a:extLst>
                      <a:ext uri="{FF2B5EF4-FFF2-40B4-BE49-F238E27FC236}">
                        <a16:creationId xmlns:a16="http://schemas.microsoft.com/office/drawing/2014/main" id="{BD6DE0A0-A0B0-4FD3-B2FA-313F85D65E88}"/>
                      </a:ext>
                    </a:extLst>
                  </p:cNvPr>
                  <p:cNvSpPr>
                    <a:spLocks noChangeArrowheads="1"/>
                  </p:cNvSpPr>
                  <p:nvPr/>
                </p:nvSpPr>
                <p:spPr bwMode="auto">
                  <a:xfrm>
                    <a:off x="-2081213"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Oval 112">
                    <a:extLst>
                      <a:ext uri="{FF2B5EF4-FFF2-40B4-BE49-F238E27FC236}">
                        <a16:creationId xmlns:a16="http://schemas.microsoft.com/office/drawing/2014/main" id="{88761E47-4168-4A89-AD49-50AAC8ECE120}"/>
                      </a:ext>
                    </a:extLst>
                  </p:cNvPr>
                  <p:cNvSpPr>
                    <a:spLocks noChangeArrowheads="1"/>
                  </p:cNvSpPr>
                  <p:nvPr/>
                </p:nvSpPr>
                <p:spPr bwMode="auto">
                  <a:xfrm>
                    <a:off x="-2030413"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Oval 113">
                    <a:extLst>
                      <a:ext uri="{FF2B5EF4-FFF2-40B4-BE49-F238E27FC236}">
                        <a16:creationId xmlns:a16="http://schemas.microsoft.com/office/drawing/2014/main" id="{B8267381-48EF-43B0-AC82-B9C653EE87D6}"/>
                      </a:ext>
                    </a:extLst>
                  </p:cNvPr>
                  <p:cNvSpPr>
                    <a:spLocks noChangeArrowheads="1"/>
                  </p:cNvSpPr>
                  <p:nvPr/>
                </p:nvSpPr>
                <p:spPr bwMode="auto">
                  <a:xfrm>
                    <a:off x="-1982788"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Oval 114">
                    <a:extLst>
                      <a:ext uri="{FF2B5EF4-FFF2-40B4-BE49-F238E27FC236}">
                        <a16:creationId xmlns:a16="http://schemas.microsoft.com/office/drawing/2014/main" id="{EE7B6FFC-1E2F-4861-A1A6-85B313234F1F}"/>
                      </a:ext>
                    </a:extLst>
                  </p:cNvPr>
                  <p:cNvSpPr>
                    <a:spLocks noChangeArrowheads="1"/>
                  </p:cNvSpPr>
                  <p:nvPr/>
                </p:nvSpPr>
                <p:spPr bwMode="auto">
                  <a:xfrm>
                    <a:off x="-2127250"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Oval 115">
                    <a:extLst>
                      <a:ext uri="{FF2B5EF4-FFF2-40B4-BE49-F238E27FC236}">
                        <a16:creationId xmlns:a16="http://schemas.microsoft.com/office/drawing/2014/main" id="{5B190BFE-6BD7-43ED-A742-9748A8F7F32A}"/>
                      </a:ext>
                    </a:extLst>
                  </p:cNvPr>
                  <p:cNvSpPr>
                    <a:spLocks noChangeArrowheads="1"/>
                  </p:cNvSpPr>
                  <p:nvPr/>
                </p:nvSpPr>
                <p:spPr bwMode="auto">
                  <a:xfrm>
                    <a:off x="-2713038"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Oval 116">
                    <a:extLst>
                      <a:ext uri="{FF2B5EF4-FFF2-40B4-BE49-F238E27FC236}">
                        <a16:creationId xmlns:a16="http://schemas.microsoft.com/office/drawing/2014/main" id="{E9AD5D4A-7947-4881-9FB1-AB91023C25AD}"/>
                      </a:ext>
                    </a:extLst>
                  </p:cNvPr>
                  <p:cNvSpPr>
                    <a:spLocks noChangeArrowheads="1"/>
                  </p:cNvSpPr>
                  <p:nvPr/>
                </p:nvSpPr>
                <p:spPr bwMode="auto">
                  <a:xfrm>
                    <a:off x="-2760663"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Oval 117">
                    <a:extLst>
                      <a:ext uri="{FF2B5EF4-FFF2-40B4-BE49-F238E27FC236}">
                        <a16:creationId xmlns:a16="http://schemas.microsoft.com/office/drawing/2014/main" id="{3448173C-A8FE-4ABC-AB5B-EF27EBA1F1B3}"/>
                      </a:ext>
                    </a:extLst>
                  </p:cNvPr>
                  <p:cNvSpPr>
                    <a:spLocks noChangeArrowheads="1"/>
                  </p:cNvSpPr>
                  <p:nvPr/>
                </p:nvSpPr>
                <p:spPr bwMode="auto">
                  <a:xfrm>
                    <a:off x="-2811463"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Oval 119">
                    <a:extLst>
                      <a:ext uri="{FF2B5EF4-FFF2-40B4-BE49-F238E27FC236}">
                        <a16:creationId xmlns:a16="http://schemas.microsoft.com/office/drawing/2014/main" id="{0A2FF02B-8B9C-49D4-B008-A7977D3A4652}"/>
                      </a:ext>
                    </a:extLst>
                  </p:cNvPr>
                  <p:cNvSpPr>
                    <a:spLocks noChangeArrowheads="1"/>
                  </p:cNvSpPr>
                  <p:nvPr/>
                </p:nvSpPr>
                <p:spPr bwMode="auto">
                  <a:xfrm>
                    <a:off x="-2713038"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Oval 120">
                    <a:extLst>
                      <a:ext uri="{FF2B5EF4-FFF2-40B4-BE49-F238E27FC236}">
                        <a16:creationId xmlns:a16="http://schemas.microsoft.com/office/drawing/2014/main" id="{A424BFDE-0BF3-4F7C-8ABA-8D1C210E5AAA}"/>
                      </a:ext>
                    </a:extLst>
                  </p:cNvPr>
                  <p:cNvSpPr>
                    <a:spLocks noChangeArrowheads="1"/>
                  </p:cNvSpPr>
                  <p:nvPr/>
                </p:nvSpPr>
                <p:spPr bwMode="auto">
                  <a:xfrm>
                    <a:off x="-2760663"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Oval 121">
                    <a:extLst>
                      <a:ext uri="{FF2B5EF4-FFF2-40B4-BE49-F238E27FC236}">
                        <a16:creationId xmlns:a16="http://schemas.microsoft.com/office/drawing/2014/main" id="{2C1A00C4-2FFD-416A-AD5F-55D2766A319F}"/>
                      </a:ext>
                    </a:extLst>
                  </p:cNvPr>
                  <p:cNvSpPr>
                    <a:spLocks noChangeArrowheads="1"/>
                  </p:cNvSpPr>
                  <p:nvPr/>
                </p:nvSpPr>
                <p:spPr bwMode="auto">
                  <a:xfrm>
                    <a:off x="-2811463"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Oval 122">
                    <a:extLst>
                      <a:ext uri="{FF2B5EF4-FFF2-40B4-BE49-F238E27FC236}">
                        <a16:creationId xmlns:a16="http://schemas.microsoft.com/office/drawing/2014/main" id="{6B77F4BF-18E0-4923-9316-CD5589A2C09F}"/>
                      </a:ext>
                    </a:extLst>
                  </p:cNvPr>
                  <p:cNvSpPr>
                    <a:spLocks noChangeArrowheads="1"/>
                  </p:cNvSpPr>
                  <p:nvPr/>
                </p:nvSpPr>
                <p:spPr bwMode="auto">
                  <a:xfrm>
                    <a:off x="-2616200"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123">
                    <a:extLst>
                      <a:ext uri="{FF2B5EF4-FFF2-40B4-BE49-F238E27FC236}">
                        <a16:creationId xmlns:a16="http://schemas.microsoft.com/office/drawing/2014/main" id="{0F13862A-8C7E-4DB0-BC68-46E3089E4FA7}"/>
                      </a:ext>
                    </a:extLst>
                  </p:cNvPr>
                  <p:cNvSpPr>
                    <a:spLocks noChangeArrowheads="1"/>
                  </p:cNvSpPr>
                  <p:nvPr/>
                </p:nvSpPr>
                <p:spPr bwMode="auto">
                  <a:xfrm>
                    <a:off x="-2713038"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Oval 124">
                    <a:extLst>
                      <a:ext uri="{FF2B5EF4-FFF2-40B4-BE49-F238E27FC236}">
                        <a16:creationId xmlns:a16="http://schemas.microsoft.com/office/drawing/2014/main" id="{2B46FFEC-1BC9-4048-A031-4B9A7504D944}"/>
                      </a:ext>
                    </a:extLst>
                  </p:cNvPr>
                  <p:cNvSpPr>
                    <a:spLocks noChangeArrowheads="1"/>
                  </p:cNvSpPr>
                  <p:nvPr/>
                </p:nvSpPr>
                <p:spPr bwMode="auto">
                  <a:xfrm>
                    <a:off x="-2616200"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Oval 125">
                    <a:extLst>
                      <a:ext uri="{FF2B5EF4-FFF2-40B4-BE49-F238E27FC236}">
                        <a16:creationId xmlns:a16="http://schemas.microsoft.com/office/drawing/2014/main" id="{E6C56211-115D-48A5-A359-7E46A91452F3}"/>
                      </a:ext>
                    </a:extLst>
                  </p:cNvPr>
                  <p:cNvSpPr>
                    <a:spLocks noChangeArrowheads="1"/>
                  </p:cNvSpPr>
                  <p:nvPr/>
                </p:nvSpPr>
                <p:spPr bwMode="auto">
                  <a:xfrm>
                    <a:off x="-2565400"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Oval 126">
                    <a:extLst>
                      <a:ext uri="{FF2B5EF4-FFF2-40B4-BE49-F238E27FC236}">
                        <a16:creationId xmlns:a16="http://schemas.microsoft.com/office/drawing/2014/main" id="{B55A9E72-D4B5-40AB-A0B0-9A95C8AD3778}"/>
                      </a:ext>
                    </a:extLst>
                  </p:cNvPr>
                  <p:cNvSpPr>
                    <a:spLocks noChangeArrowheads="1"/>
                  </p:cNvSpPr>
                  <p:nvPr/>
                </p:nvSpPr>
                <p:spPr bwMode="auto">
                  <a:xfrm>
                    <a:off x="-2517775"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Oval 127">
                    <a:extLst>
                      <a:ext uri="{FF2B5EF4-FFF2-40B4-BE49-F238E27FC236}">
                        <a16:creationId xmlns:a16="http://schemas.microsoft.com/office/drawing/2014/main" id="{717DD87A-6E4E-4320-8CCB-22DB8BD9874F}"/>
                      </a:ext>
                    </a:extLst>
                  </p:cNvPr>
                  <p:cNvSpPr>
                    <a:spLocks noChangeArrowheads="1"/>
                  </p:cNvSpPr>
                  <p:nvPr/>
                </p:nvSpPr>
                <p:spPr bwMode="auto">
                  <a:xfrm>
                    <a:off x="-2662238"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Oval 128">
                    <a:extLst>
                      <a:ext uri="{FF2B5EF4-FFF2-40B4-BE49-F238E27FC236}">
                        <a16:creationId xmlns:a16="http://schemas.microsoft.com/office/drawing/2014/main" id="{4F182DF6-C57C-48CC-A154-2CDCBF232940}"/>
                      </a:ext>
                    </a:extLst>
                  </p:cNvPr>
                  <p:cNvSpPr>
                    <a:spLocks noChangeArrowheads="1"/>
                  </p:cNvSpPr>
                  <p:nvPr/>
                </p:nvSpPr>
                <p:spPr bwMode="auto">
                  <a:xfrm>
                    <a:off x="-3248025"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Oval 129">
                    <a:extLst>
                      <a:ext uri="{FF2B5EF4-FFF2-40B4-BE49-F238E27FC236}">
                        <a16:creationId xmlns:a16="http://schemas.microsoft.com/office/drawing/2014/main" id="{0F1EF0A7-2BDD-41B3-944F-1B0F58D5EA3F}"/>
                      </a:ext>
                    </a:extLst>
                  </p:cNvPr>
                  <p:cNvSpPr>
                    <a:spLocks noChangeArrowheads="1"/>
                  </p:cNvSpPr>
                  <p:nvPr/>
                </p:nvSpPr>
                <p:spPr bwMode="auto">
                  <a:xfrm>
                    <a:off x="-3294063"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Oval 130">
                    <a:extLst>
                      <a:ext uri="{FF2B5EF4-FFF2-40B4-BE49-F238E27FC236}">
                        <a16:creationId xmlns:a16="http://schemas.microsoft.com/office/drawing/2014/main" id="{85AE4E97-0052-4118-A7FD-A72676AD37F7}"/>
                      </a:ext>
                    </a:extLst>
                  </p:cNvPr>
                  <p:cNvSpPr>
                    <a:spLocks noChangeArrowheads="1"/>
                  </p:cNvSpPr>
                  <p:nvPr/>
                </p:nvSpPr>
                <p:spPr bwMode="auto">
                  <a:xfrm>
                    <a:off x="-3344863"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Oval 132">
                    <a:extLst>
                      <a:ext uri="{FF2B5EF4-FFF2-40B4-BE49-F238E27FC236}">
                        <a16:creationId xmlns:a16="http://schemas.microsoft.com/office/drawing/2014/main" id="{60AAFB13-14F9-443E-B599-DC891D5FD452}"/>
                      </a:ext>
                    </a:extLst>
                  </p:cNvPr>
                  <p:cNvSpPr>
                    <a:spLocks noChangeArrowheads="1"/>
                  </p:cNvSpPr>
                  <p:nvPr/>
                </p:nvSpPr>
                <p:spPr bwMode="auto">
                  <a:xfrm>
                    <a:off x="-3248025" y="4598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Oval 133">
                    <a:extLst>
                      <a:ext uri="{FF2B5EF4-FFF2-40B4-BE49-F238E27FC236}">
                        <a16:creationId xmlns:a16="http://schemas.microsoft.com/office/drawing/2014/main" id="{C9455CB5-E3A2-4D0A-9BB3-D25CD0ADBFD0}"/>
                      </a:ext>
                    </a:extLst>
                  </p:cNvPr>
                  <p:cNvSpPr>
                    <a:spLocks noChangeArrowheads="1"/>
                  </p:cNvSpPr>
                  <p:nvPr/>
                </p:nvSpPr>
                <p:spPr bwMode="auto">
                  <a:xfrm>
                    <a:off x="-3294063"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Oval 134">
                    <a:extLst>
                      <a:ext uri="{FF2B5EF4-FFF2-40B4-BE49-F238E27FC236}">
                        <a16:creationId xmlns:a16="http://schemas.microsoft.com/office/drawing/2014/main" id="{B3EFFA7D-8991-47CC-8BA7-69745BA95AFA}"/>
                      </a:ext>
                    </a:extLst>
                  </p:cNvPr>
                  <p:cNvSpPr>
                    <a:spLocks noChangeArrowheads="1"/>
                  </p:cNvSpPr>
                  <p:nvPr/>
                </p:nvSpPr>
                <p:spPr bwMode="auto">
                  <a:xfrm>
                    <a:off x="-3344863"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Oval 135">
                    <a:extLst>
                      <a:ext uri="{FF2B5EF4-FFF2-40B4-BE49-F238E27FC236}">
                        <a16:creationId xmlns:a16="http://schemas.microsoft.com/office/drawing/2014/main" id="{3C801C50-CB00-4D55-BD46-B69C596A1817}"/>
                      </a:ext>
                    </a:extLst>
                  </p:cNvPr>
                  <p:cNvSpPr>
                    <a:spLocks noChangeArrowheads="1"/>
                  </p:cNvSpPr>
                  <p:nvPr/>
                </p:nvSpPr>
                <p:spPr bwMode="auto">
                  <a:xfrm>
                    <a:off x="-3151188" y="4598988"/>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Oval 136">
                    <a:extLst>
                      <a:ext uri="{FF2B5EF4-FFF2-40B4-BE49-F238E27FC236}">
                        <a16:creationId xmlns:a16="http://schemas.microsoft.com/office/drawing/2014/main" id="{EC5338D1-5AED-4E7E-B36C-FE7F7040475C}"/>
                      </a:ext>
                    </a:extLst>
                  </p:cNvPr>
                  <p:cNvSpPr>
                    <a:spLocks noChangeArrowheads="1"/>
                  </p:cNvSpPr>
                  <p:nvPr/>
                </p:nvSpPr>
                <p:spPr bwMode="auto">
                  <a:xfrm>
                    <a:off x="-3248025"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Oval 137">
                    <a:extLst>
                      <a:ext uri="{FF2B5EF4-FFF2-40B4-BE49-F238E27FC236}">
                        <a16:creationId xmlns:a16="http://schemas.microsoft.com/office/drawing/2014/main" id="{8618DD19-E139-4CF8-A984-94639E1B109B}"/>
                      </a:ext>
                    </a:extLst>
                  </p:cNvPr>
                  <p:cNvSpPr>
                    <a:spLocks noChangeArrowheads="1"/>
                  </p:cNvSpPr>
                  <p:nvPr/>
                </p:nvSpPr>
                <p:spPr bwMode="auto">
                  <a:xfrm>
                    <a:off x="-3151188" y="4697413"/>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Oval 138">
                    <a:extLst>
                      <a:ext uri="{FF2B5EF4-FFF2-40B4-BE49-F238E27FC236}">
                        <a16:creationId xmlns:a16="http://schemas.microsoft.com/office/drawing/2014/main" id="{01660481-FD1A-47F2-B133-B5655BB0B6B1}"/>
                      </a:ext>
                    </a:extLst>
                  </p:cNvPr>
                  <p:cNvSpPr>
                    <a:spLocks noChangeArrowheads="1"/>
                  </p:cNvSpPr>
                  <p:nvPr/>
                </p:nvSpPr>
                <p:spPr bwMode="auto">
                  <a:xfrm>
                    <a:off x="-3098800"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Oval 139">
                    <a:extLst>
                      <a:ext uri="{FF2B5EF4-FFF2-40B4-BE49-F238E27FC236}">
                        <a16:creationId xmlns:a16="http://schemas.microsoft.com/office/drawing/2014/main" id="{49401B31-A0CD-42D6-A0BA-CAFE4B30D995}"/>
                      </a:ext>
                    </a:extLst>
                  </p:cNvPr>
                  <p:cNvSpPr>
                    <a:spLocks noChangeArrowheads="1"/>
                  </p:cNvSpPr>
                  <p:nvPr/>
                </p:nvSpPr>
                <p:spPr bwMode="auto">
                  <a:xfrm>
                    <a:off x="-3052763" y="46974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Oval 140">
                    <a:extLst>
                      <a:ext uri="{FF2B5EF4-FFF2-40B4-BE49-F238E27FC236}">
                        <a16:creationId xmlns:a16="http://schemas.microsoft.com/office/drawing/2014/main" id="{3C27B593-BD5B-4366-8EBD-952A3FF79F97}"/>
                      </a:ext>
                    </a:extLst>
                  </p:cNvPr>
                  <p:cNvSpPr>
                    <a:spLocks noChangeArrowheads="1"/>
                  </p:cNvSpPr>
                  <p:nvPr/>
                </p:nvSpPr>
                <p:spPr bwMode="auto">
                  <a:xfrm>
                    <a:off x="-3197225" y="4649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Oval 105">
                    <a:extLst>
                      <a:ext uri="{FF2B5EF4-FFF2-40B4-BE49-F238E27FC236}">
                        <a16:creationId xmlns:a16="http://schemas.microsoft.com/office/drawing/2014/main" id="{150F2D93-D4CA-4E12-B37B-A0AC5DD06D78}"/>
                      </a:ext>
                    </a:extLst>
                  </p:cNvPr>
                  <p:cNvSpPr>
                    <a:spLocks noChangeArrowheads="1"/>
                  </p:cNvSpPr>
                  <p:nvPr/>
                </p:nvSpPr>
                <p:spPr bwMode="auto">
                  <a:xfrm>
                    <a:off x="-2127250" y="45513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Oval 118">
                    <a:extLst>
                      <a:ext uri="{FF2B5EF4-FFF2-40B4-BE49-F238E27FC236}">
                        <a16:creationId xmlns:a16="http://schemas.microsoft.com/office/drawing/2014/main" id="{785D03E6-2CFC-416C-B930-CF8440F46136}"/>
                      </a:ext>
                    </a:extLst>
                  </p:cNvPr>
                  <p:cNvSpPr>
                    <a:spLocks noChangeArrowheads="1"/>
                  </p:cNvSpPr>
                  <p:nvPr/>
                </p:nvSpPr>
                <p:spPr bwMode="auto">
                  <a:xfrm>
                    <a:off x="-2662238" y="45513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Oval 131">
                    <a:extLst>
                      <a:ext uri="{FF2B5EF4-FFF2-40B4-BE49-F238E27FC236}">
                        <a16:creationId xmlns:a16="http://schemas.microsoft.com/office/drawing/2014/main" id="{CDAC800F-08E6-406F-A3B1-114B9CC20475}"/>
                      </a:ext>
                    </a:extLst>
                  </p:cNvPr>
                  <p:cNvSpPr>
                    <a:spLocks noChangeArrowheads="1"/>
                  </p:cNvSpPr>
                  <p:nvPr/>
                </p:nvSpPr>
                <p:spPr bwMode="auto">
                  <a:xfrm>
                    <a:off x="-3197225" y="45513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273">
                  <a:extLst>
                    <a:ext uri="{FF2B5EF4-FFF2-40B4-BE49-F238E27FC236}">
                      <a16:creationId xmlns:a16="http://schemas.microsoft.com/office/drawing/2014/main" id="{CB4804B8-4B22-4748-9220-64526713491E}"/>
                    </a:ext>
                  </a:extLst>
                </p:cNvPr>
                <p:cNvGrpSpPr/>
                <p:nvPr/>
              </p:nvGrpSpPr>
              <p:grpSpPr>
                <a:xfrm>
                  <a:off x="-4503738" y="3775075"/>
                  <a:ext cx="3644900" cy="1216025"/>
                  <a:chOff x="-4503738" y="3775075"/>
                  <a:chExt cx="3644900" cy="1216025"/>
                </a:xfrm>
              </p:grpSpPr>
              <p:grpSp>
                <p:nvGrpSpPr>
                  <p:cNvPr id="275" name="Group 274">
                    <a:extLst>
                      <a:ext uri="{FF2B5EF4-FFF2-40B4-BE49-F238E27FC236}">
                        <a16:creationId xmlns:a16="http://schemas.microsoft.com/office/drawing/2014/main" id="{B85F19F4-D8BE-436F-AC74-9FAB78770BB6}"/>
                      </a:ext>
                    </a:extLst>
                  </p:cNvPr>
                  <p:cNvGrpSpPr/>
                  <p:nvPr/>
                </p:nvGrpSpPr>
                <p:grpSpPr>
                  <a:xfrm>
                    <a:off x="-1855788" y="3775075"/>
                    <a:ext cx="996950" cy="1211263"/>
                    <a:chOff x="-1855788" y="3775075"/>
                    <a:chExt cx="996950" cy="1211263"/>
                  </a:xfrm>
                </p:grpSpPr>
                <p:grpSp>
                  <p:nvGrpSpPr>
                    <p:cNvPr id="305" name="Group 304">
                      <a:extLst>
                        <a:ext uri="{FF2B5EF4-FFF2-40B4-BE49-F238E27FC236}">
                          <a16:creationId xmlns:a16="http://schemas.microsoft.com/office/drawing/2014/main" id="{A55A4684-B167-489A-94D0-F253021BDDEB}"/>
                        </a:ext>
                      </a:extLst>
                    </p:cNvPr>
                    <p:cNvGrpSpPr/>
                    <p:nvPr/>
                  </p:nvGrpSpPr>
                  <p:grpSpPr>
                    <a:xfrm>
                      <a:off x="-1855788" y="4286250"/>
                      <a:ext cx="996950" cy="700088"/>
                      <a:chOff x="-1855788" y="4286250"/>
                      <a:chExt cx="996950" cy="700088"/>
                    </a:xfrm>
                    <a:solidFill>
                      <a:schemeClr val="accent6"/>
                    </a:solidFill>
                  </p:grpSpPr>
                  <p:sp>
                    <p:nvSpPr>
                      <p:cNvPr id="309" name="Oval 40">
                        <a:extLst>
                          <a:ext uri="{FF2B5EF4-FFF2-40B4-BE49-F238E27FC236}">
                            <a16:creationId xmlns:a16="http://schemas.microsoft.com/office/drawing/2014/main" id="{68401864-EEEC-4B63-A451-A476D3B5AE05}"/>
                          </a:ext>
                        </a:extLst>
                      </p:cNvPr>
                      <p:cNvSpPr>
                        <a:spLocks noChangeArrowheads="1"/>
                      </p:cNvSpPr>
                      <p:nvPr/>
                    </p:nvSpPr>
                    <p:spPr bwMode="auto">
                      <a:xfrm>
                        <a:off x="-1350963" y="45640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Oval 41">
                        <a:extLst>
                          <a:ext uri="{FF2B5EF4-FFF2-40B4-BE49-F238E27FC236}">
                            <a16:creationId xmlns:a16="http://schemas.microsoft.com/office/drawing/2014/main" id="{E1945D50-0D40-4B57-932C-B2B1F5625492}"/>
                          </a:ext>
                        </a:extLst>
                      </p:cNvPr>
                      <p:cNvSpPr>
                        <a:spLocks noChangeArrowheads="1"/>
                      </p:cNvSpPr>
                      <p:nvPr/>
                    </p:nvSpPr>
                    <p:spPr bwMode="auto">
                      <a:xfrm>
                        <a:off x="-1135063" y="45815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Oval 42">
                        <a:extLst>
                          <a:ext uri="{FF2B5EF4-FFF2-40B4-BE49-F238E27FC236}">
                            <a16:creationId xmlns:a16="http://schemas.microsoft.com/office/drawing/2014/main" id="{CB5D990C-6BEF-48BF-B857-70CA81A15E36}"/>
                          </a:ext>
                        </a:extLst>
                      </p:cNvPr>
                      <p:cNvSpPr>
                        <a:spLocks noChangeArrowheads="1"/>
                      </p:cNvSpPr>
                      <p:nvPr/>
                    </p:nvSpPr>
                    <p:spPr bwMode="auto">
                      <a:xfrm>
                        <a:off x="-1835150" y="4902200"/>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Oval 49">
                        <a:extLst>
                          <a:ext uri="{FF2B5EF4-FFF2-40B4-BE49-F238E27FC236}">
                            <a16:creationId xmlns:a16="http://schemas.microsoft.com/office/drawing/2014/main" id="{7404D162-C424-43C7-AA5C-F43F69B4D303}"/>
                          </a:ext>
                        </a:extLst>
                      </p:cNvPr>
                      <p:cNvSpPr>
                        <a:spLocks noChangeArrowheads="1"/>
                      </p:cNvSpPr>
                      <p:nvPr/>
                    </p:nvSpPr>
                    <p:spPr bwMode="auto">
                      <a:xfrm>
                        <a:off x="-1330325" y="493553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Oval 50">
                        <a:extLst>
                          <a:ext uri="{FF2B5EF4-FFF2-40B4-BE49-F238E27FC236}">
                            <a16:creationId xmlns:a16="http://schemas.microsoft.com/office/drawing/2014/main" id="{B7F86E29-E07A-4C86-B166-4293FED2FF60}"/>
                          </a:ext>
                        </a:extLst>
                      </p:cNvPr>
                      <p:cNvSpPr>
                        <a:spLocks noChangeArrowheads="1"/>
                      </p:cNvSpPr>
                      <p:nvPr/>
                    </p:nvSpPr>
                    <p:spPr bwMode="auto">
                      <a:xfrm>
                        <a:off x="-1262063" y="4872038"/>
                        <a:ext cx="4603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Oval 51">
                        <a:extLst>
                          <a:ext uri="{FF2B5EF4-FFF2-40B4-BE49-F238E27FC236}">
                            <a16:creationId xmlns:a16="http://schemas.microsoft.com/office/drawing/2014/main" id="{EE174A73-45E6-4FE0-9382-51F8B42E9A28}"/>
                          </a:ext>
                        </a:extLst>
                      </p:cNvPr>
                      <p:cNvSpPr>
                        <a:spLocks noChangeArrowheads="1"/>
                      </p:cNvSpPr>
                      <p:nvPr/>
                    </p:nvSpPr>
                    <p:spPr bwMode="auto">
                      <a:xfrm>
                        <a:off x="-1216025" y="4687888"/>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Oval 52">
                        <a:extLst>
                          <a:ext uri="{FF2B5EF4-FFF2-40B4-BE49-F238E27FC236}">
                            <a16:creationId xmlns:a16="http://schemas.microsoft.com/office/drawing/2014/main" id="{173736A8-E25D-43F3-AA25-E40439C26A03}"/>
                          </a:ext>
                        </a:extLst>
                      </p:cNvPr>
                      <p:cNvSpPr>
                        <a:spLocks noChangeArrowheads="1"/>
                      </p:cNvSpPr>
                      <p:nvPr/>
                    </p:nvSpPr>
                    <p:spPr bwMode="auto">
                      <a:xfrm>
                        <a:off x="-1855788" y="45815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Oval 53">
                        <a:extLst>
                          <a:ext uri="{FF2B5EF4-FFF2-40B4-BE49-F238E27FC236}">
                            <a16:creationId xmlns:a16="http://schemas.microsoft.com/office/drawing/2014/main" id="{5C33B7E5-A41D-4D2D-A888-74630FD42D93}"/>
                          </a:ext>
                        </a:extLst>
                      </p:cNvPr>
                      <p:cNvSpPr>
                        <a:spLocks noChangeArrowheads="1"/>
                      </p:cNvSpPr>
                      <p:nvPr/>
                    </p:nvSpPr>
                    <p:spPr bwMode="auto">
                      <a:xfrm>
                        <a:off x="-1449388" y="46196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54">
                        <a:extLst>
                          <a:ext uri="{FF2B5EF4-FFF2-40B4-BE49-F238E27FC236}">
                            <a16:creationId xmlns:a16="http://schemas.microsoft.com/office/drawing/2014/main" id="{D971F7FB-F7B3-4DF8-9E5E-EA7C8A6BCE5B}"/>
                          </a:ext>
                        </a:extLst>
                      </p:cNvPr>
                      <p:cNvSpPr>
                        <a:spLocks noChangeArrowheads="1"/>
                      </p:cNvSpPr>
                      <p:nvPr/>
                    </p:nvSpPr>
                    <p:spPr bwMode="auto">
                      <a:xfrm>
                        <a:off x="-1576388" y="45180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Oval 55">
                        <a:extLst>
                          <a:ext uri="{FF2B5EF4-FFF2-40B4-BE49-F238E27FC236}">
                            <a16:creationId xmlns:a16="http://schemas.microsoft.com/office/drawing/2014/main" id="{87F7455B-7354-409E-B0C7-C2BA90593200}"/>
                          </a:ext>
                        </a:extLst>
                      </p:cNvPr>
                      <p:cNvSpPr>
                        <a:spLocks noChangeArrowheads="1"/>
                      </p:cNvSpPr>
                      <p:nvPr/>
                    </p:nvSpPr>
                    <p:spPr bwMode="auto">
                      <a:xfrm>
                        <a:off x="-1695450" y="46878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Oval 57">
                        <a:extLst>
                          <a:ext uri="{FF2B5EF4-FFF2-40B4-BE49-F238E27FC236}">
                            <a16:creationId xmlns:a16="http://schemas.microsoft.com/office/drawing/2014/main" id="{BA909D55-C79F-4177-8B0D-79514912B4CC}"/>
                          </a:ext>
                        </a:extLst>
                      </p:cNvPr>
                      <p:cNvSpPr>
                        <a:spLocks noChangeArrowheads="1"/>
                      </p:cNvSpPr>
                      <p:nvPr/>
                    </p:nvSpPr>
                    <p:spPr bwMode="auto">
                      <a:xfrm>
                        <a:off x="-1487488" y="4410075"/>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Oval 58">
                        <a:extLst>
                          <a:ext uri="{FF2B5EF4-FFF2-40B4-BE49-F238E27FC236}">
                            <a16:creationId xmlns:a16="http://schemas.microsoft.com/office/drawing/2014/main" id="{F2BB6C47-51CA-41A2-B9CF-07B4B088F9EC}"/>
                          </a:ext>
                        </a:extLst>
                      </p:cNvPr>
                      <p:cNvSpPr>
                        <a:spLocks noChangeArrowheads="1"/>
                      </p:cNvSpPr>
                      <p:nvPr/>
                    </p:nvSpPr>
                    <p:spPr bwMode="auto">
                      <a:xfrm>
                        <a:off x="-1066800" y="46196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Oval 59">
                        <a:extLst>
                          <a:ext uri="{FF2B5EF4-FFF2-40B4-BE49-F238E27FC236}">
                            <a16:creationId xmlns:a16="http://schemas.microsoft.com/office/drawing/2014/main" id="{26024E33-114B-4BC8-A9EA-C85785A96F9B}"/>
                          </a:ext>
                        </a:extLst>
                      </p:cNvPr>
                      <p:cNvSpPr>
                        <a:spLocks noChangeArrowheads="1"/>
                      </p:cNvSpPr>
                      <p:nvPr/>
                    </p:nvSpPr>
                    <p:spPr bwMode="auto">
                      <a:xfrm>
                        <a:off x="-927100" y="477837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Oval 60">
                        <a:extLst>
                          <a:ext uri="{FF2B5EF4-FFF2-40B4-BE49-F238E27FC236}">
                            <a16:creationId xmlns:a16="http://schemas.microsoft.com/office/drawing/2014/main" id="{A61C9166-F68B-4584-ADA1-D7BA5AA34D38}"/>
                          </a:ext>
                        </a:extLst>
                      </p:cNvPr>
                      <p:cNvSpPr>
                        <a:spLocks noChangeArrowheads="1"/>
                      </p:cNvSpPr>
                      <p:nvPr/>
                    </p:nvSpPr>
                    <p:spPr bwMode="auto">
                      <a:xfrm>
                        <a:off x="-1792288" y="437673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Oval 61">
                        <a:extLst>
                          <a:ext uri="{FF2B5EF4-FFF2-40B4-BE49-F238E27FC236}">
                            <a16:creationId xmlns:a16="http://schemas.microsoft.com/office/drawing/2014/main" id="{C96DA677-ED51-4B62-BF55-3C45F44CBC21}"/>
                          </a:ext>
                        </a:extLst>
                      </p:cNvPr>
                      <p:cNvSpPr>
                        <a:spLocks noChangeArrowheads="1"/>
                      </p:cNvSpPr>
                      <p:nvPr/>
                    </p:nvSpPr>
                    <p:spPr bwMode="auto">
                      <a:xfrm>
                        <a:off x="-1436688" y="476567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Oval 62">
                        <a:extLst>
                          <a:ext uri="{FF2B5EF4-FFF2-40B4-BE49-F238E27FC236}">
                            <a16:creationId xmlns:a16="http://schemas.microsoft.com/office/drawing/2014/main" id="{7E7ADD77-FB35-401B-8482-99E18CA4122C}"/>
                          </a:ext>
                        </a:extLst>
                      </p:cNvPr>
                      <p:cNvSpPr>
                        <a:spLocks noChangeArrowheads="1"/>
                      </p:cNvSpPr>
                      <p:nvPr/>
                    </p:nvSpPr>
                    <p:spPr bwMode="auto">
                      <a:xfrm>
                        <a:off x="-1058863" y="4286250"/>
                        <a:ext cx="47625"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Oval 63">
                        <a:extLst>
                          <a:ext uri="{FF2B5EF4-FFF2-40B4-BE49-F238E27FC236}">
                            <a16:creationId xmlns:a16="http://schemas.microsoft.com/office/drawing/2014/main" id="{A6D12850-8B99-4E77-B6E3-519E6A90D7BB}"/>
                          </a:ext>
                        </a:extLst>
                      </p:cNvPr>
                      <p:cNvSpPr>
                        <a:spLocks noChangeArrowheads="1"/>
                      </p:cNvSpPr>
                      <p:nvPr/>
                    </p:nvSpPr>
                    <p:spPr bwMode="auto">
                      <a:xfrm>
                        <a:off x="-909638" y="4341813"/>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6" name="Group 305">
                      <a:extLst>
                        <a:ext uri="{FF2B5EF4-FFF2-40B4-BE49-F238E27FC236}">
                          <a16:creationId xmlns:a16="http://schemas.microsoft.com/office/drawing/2014/main" id="{D165800F-C5DC-4B29-93F6-A638144D028D}"/>
                        </a:ext>
                      </a:extLst>
                    </p:cNvPr>
                    <p:cNvGrpSpPr/>
                    <p:nvPr/>
                  </p:nvGrpSpPr>
                  <p:grpSpPr>
                    <a:xfrm>
                      <a:off x="-1622425" y="3775075"/>
                      <a:ext cx="687387" cy="217488"/>
                      <a:chOff x="-1622425" y="3775075"/>
                      <a:chExt cx="687387" cy="217488"/>
                    </a:xfrm>
                    <a:solidFill>
                      <a:schemeClr val="accent6"/>
                    </a:solidFill>
                  </p:grpSpPr>
                  <p:sp>
                    <p:nvSpPr>
                      <p:cNvPr id="307" name="Oval 56">
                        <a:extLst>
                          <a:ext uri="{FF2B5EF4-FFF2-40B4-BE49-F238E27FC236}">
                            <a16:creationId xmlns:a16="http://schemas.microsoft.com/office/drawing/2014/main" id="{B03029FF-2BF9-4C1F-BC7B-8DAAB08D9568}"/>
                          </a:ext>
                        </a:extLst>
                      </p:cNvPr>
                      <p:cNvSpPr>
                        <a:spLocks noChangeArrowheads="1"/>
                      </p:cNvSpPr>
                      <p:nvPr/>
                    </p:nvSpPr>
                    <p:spPr bwMode="auto">
                      <a:xfrm>
                        <a:off x="-1622425" y="377507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Oval 64">
                        <a:extLst>
                          <a:ext uri="{FF2B5EF4-FFF2-40B4-BE49-F238E27FC236}">
                            <a16:creationId xmlns:a16="http://schemas.microsoft.com/office/drawing/2014/main" id="{0F2C7D02-38CB-4516-BE01-31D8D53796EA}"/>
                          </a:ext>
                        </a:extLst>
                      </p:cNvPr>
                      <p:cNvSpPr>
                        <a:spLocks noChangeArrowheads="1"/>
                      </p:cNvSpPr>
                      <p:nvPr/>
                    </p:nvSpPr>
                    <p:spPr bwMode="auto">
                      <a:xfrm>
                        <a:off x="-985838" y="3944938"/>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76" name="Group 275">
                    <a:extLst>
                      <a:ext uri="{FF2B5EF4-FFF2-40B4-BE49-F238E27FC236}">
                        <a16:creationId xmlns:a16="http://schemas.microsoft.com/office/drawing/2014/main" id="{C1C5FAC8-950D-4594-982D-BBEE4200D621}"/>
                      </a:ext>
                    </a:extLst>
                  </p:cNvPr>
                  <p:cNvGrpSpPr/>
                  <p:nvPr/>
                </p:nvGrpSpPr>
                <p:grpSpPr>
                  <a:xfrm>
                    <a:off x="-4503738" y="4551363"/>
                    <a:ext cx="966788" cy="439737"/>
                    <a:chOff x="-4503738" y="4551363"/>
                    <a:chExt cx="966788" cy="439737"/>
                  </a:xfrm>
                </p:grpSpPr>
                <p:sp>
                  <p:nvSpPr>
                    <p:cNvPr id="277" name="Oval 47">
                      <a:extLst>
                        <a:ext uri="{FF2B5EF4-FFF2-40B4-BE49-F238E27FC236}">
                          <a16:creationId xmlns:a16="http://schemas.microsoft.com/office/drawing/2014/main" id="{1651C69A-B681-45DB-B359-F640BD937A97}"/>
                        </a:ext>
                      </a:extLst>
                    </p:cNvPr>
                    <p:cNvSpPr>
                      <a:spLocks noChangeArrowheads="1"/>
                    </p:cNvSpPr>
                    <p:nvPr/>
                  </p:nvSpPr>
                  <p:spPr bwMode="auto">
                    <a:xfrm>
                      <a:off x="-3960813" y="4867275"/>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Oval 48">
                      <a:extLst>
                        <a:ext uri="{FF2B5EF4-FFF2-40B4-BE49-F238E27FC236}">
                          <a16:creationId xmlns:a16="http://schemas.microsoft.com/office/drawing/2014/main" id="{6E1E01B6-30F3-414A-890E-25A5DAF38348}"/>
                        </a:ext>
                      </a:extLst>
                    </p:cNvPr>
                    <p:cNvSpPr>
                      <a:spLocks noChangeArrowheads="1"/>
                    </p:cNvSpPr>
                    <p:nvPr/>
                  </p:nvSpPr>
                  <p:spPr bwMode="auto">
                    <a:xfrm>
                      <a:off x="-4503738" y="4940300"/>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Oval 89">
                      <a:extLst>
                        <a:ext uri="{FF2B5EF4-FFF2-40B4-BE49-F238E27FC236}">
                          <a16:creationId xmlns:a16="http://schemas.microsoft.com/office/drawing/2014/main" id="{F9A335DD-2EE8-490D-B81E-A38EFCB6C7EB}"/>
                        </a:ext>
                      </a:extLst>
                    </p:cNvPr>
                    <p:cNvSpPr>
                      <a:spLocks noChangeArrowheads="1"/>
                    </p:cNvSpPr>
                    <p:nvPr/>
                  </p:nvSpPr>
                  <p:spPr bwMode="auto">
                    <a:xfrm>
                      <a:off x="-4318000" y="4598988"/>
                      <a:ext cx="52388"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Oval 90">
                      <a:extLst>
                        <a:ext uri="{FF2B5EF4-FFF2-40B4-BE49-F238E27FC236}">
                          <a16:creationId xmlns:a16="http://schemas.microsoft.com/office/drawing/2014/main" id="{DE3149A7-2C21-4214-A5FD-62835FF50436}"/>
                        </a:ext>
                      </a:extLst>
                    </p:cNvPr>
                    <p:cNvSpPr>
                      <a:spLocks noChangeArrowheads="1"/>
                    </p:cNvSpPr>
                    <p:nvPr/>
                  </p:nvSpPr>
                  <p:spPr bwMode="auto">
                    <a:xfrm>
                      <a:off x="-4364038"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Oval 91">
                      <a:extLst>
                        <a:ext uri="{FF2B5EF4-FFF2-40B4-BE49-F238E27FC236}">
                          <a16:creationId xmlns:a16="http://schemas.microsoft.com/office/drawing/2014/main" id="{127A6EE3-47ED-4F77-AD1E-12FFC4126BF1}"/>
                        </a:ext>
                      </a:extLst>
                    </p:cNvPr>
                    <p:cNvSpPr>
                      <a:spLocks noChangeArrowheads="1"/>
                    </p:cNvSpPr>
                    <p:nvPr/>
                  </p:nvSpPr>
                  <p:spPr bwMode="auto">
                    <a:xfrm>
                      <a:off x="-4414838"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Oval 93">
                      <a:extLst>
                        <a:ext uri="{FF2B5EF4-FFF2-40B4-BE49-F238E27FC236}">
                          <a16:creationId xmlns:a16="http://schemas.microsoft.com/office/drawing/2014/main" id="{D8A0FFE1-2431-4011-B300-B3B16F1055E9}"/>
                        </a:ext>
                      </a:extLst>
                    </p:cNvPr>
                    <p:cNvSpPr>
                      <a:spLocks noChangeArrowheads="1"/>
                    </p:cNvSpPr>
                    <p:nvPr/>
                  </p:nvSpPr>
                  <p:spPr bwMode="auto">
                    <a:xfrm>
                      <a:off x="-4318000" y="4598988"/>
                      <a:ext cx="52388"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Oval 94">
                      <a:extLst>
                        <a:ext uri="{FF2B5EF4-FFF2-40B4-BE49-F238E27FC236}">
                          <a16:creationId xmlns:a16="http://schemas.microsoft.com/office/drawing/2014/main" id="{36B9DA79-D99E-4E7E-90C1-D6B4F3A58A7C}"/>
                        </a:ext>
                      </a:extLst>
                    </p:cNvPr>
                    <p:cNvSpPr>
                      <a:spLocks noChangeArrowheads="1"/>
                    </p:cNvSpPr>
                    <p:nvPr/>
                  </p:nvSpPr>
                  <p:spPr bwMode="auto">
                    <a:xfrm>
                      <a:off x="-4364038"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Oval 95">
                      <a:extLst>
                        <a:ext uri="{FF2B5EF4-FFF2-40B4-BE49-F238E27FC236}">
                          <a16:creationId xmlns:a16="http://schemas.microsoft.com/office/drawing/2014/main" id="{9547AA22-3952-4CF2-A7C0-AD1D166B7476}"/>
                        </a:ext>
                      </a:extLst>
                    </p:cNvPr>
                    <p:cNvSpPr>
                      <a:spLocks noChangeArrowheads="1"/>
                    </p:cNvSpPr>
                    <p:nvPr/>
                  </p:nvSpPr>
                  <p:spPr bwMode="auto">
                    <a:xfrm>
                      <a:off x="-4414838"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Oval 96">
                      <a:extLst>
                        <a:ext uri="{FF2B5EF4-FFF2-40B4-BE49-F238E27FC236}">
                          <a16:creationId xmlns:a16="http://schemas.microsoft.com/office/drawing/2014/main" id="{04C6A238-A2BA-4D8C-B6AB-3EB8539059D1}"/>
                        </a:ext>
                      </a:extLst>
                    </p:cNvPr>
                    <p:cNvSpPr>
                      <a:spLocks noChangeArrowheads="1"/>
                    </p:cNvSpPr>
                    <p:nvPr/>
                  </p:nvSpPr>
                  <p:spPr bwMode="auto">
                    <a:xfrm>
                      <a:off x="-4219575" y="45989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Oval 97">
                      <a:extLst>
                        <a:ext uri="{FF2B5EF4-FFF2-40B4-BE49-F238E27FC236}">
                          <a16:creationId xmlns:a16="http://schemas.microsoft.com/office/drawing/2014/main" id="{0B2C6BBC-7CC1-45E1-B026-1F7FEDDA8EDD}"/>
                        </a:ext>
                      </a:extLst>
                    </p:cNvPr>
                    <p:cNvSpPr>
                      <a:spLocks noChangeArrowheads="1"/>
                    </p:cNvSpPr>
                    <p:nvPr/>
                  </p:nvSpPr>
                  <p:spPr bwMode="auto">
                    <a:xfrm>
                      <a:off x="-4318000" y="4697413"/>
                      <a:ext cx="52388"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Oval 98">
                      <a:extLst>
                        <a:ext uri="{FF2B5EF4-FFF2-40B4-BE49-F238E27FC236}">
                          <a16:creationId xmlns:a16="http://schemas.microsoft.com/office/drawing/2014/main" id="{8899088A-A28D-450C-9161-BD936C71AC5B}"/>
                        </a:ext>
                      </a:extLst>
                    </p:cNvPr>
                    <p:cNvSpPr>
                      <a:spLocks noChangeArrowheads="1"/>
                    </p:cNvSpPr>
                    <p:nvPr/>
                  </p:nvSpPr>
                  <p:spPr bwMode="auto">
                    <a:xfrm>
                      <a:off x="-4219575"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Oval 99">
                      <a:extLst>
                        <a:ext uri="{FF2B5EF4-FFF2-40B4-BE49-F238E27FC236}">
                          <a16:creationId xmlns:a16="http://schemas.microsoft.com/office/drawing/2014/main" id="{0E73ACB8-0E73-442A-B970-CB8001B9787C}"/>
                        </a:ext>
                      </a:extLst>
                    </p:cNvPr>
                    <p:cNvSpPr>
                      <a:spLocks noChangeArrowheads="1"/>
                    </p:cNvSpPr>
                    <p:nvPr/>
                  </p:nvSpPr>
                  <p:spPr bwMode="auto">
                    <a:xfrm>
                      <a:off x="-4168775"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Oval 100">
                      <a:extLst>
                        <a:ext uri="{FF2B5EF4-FFF2-40B4-BE49-F238E27FC236}">
                          <a16:creationId xmlns:a16="http://schemas.microsoft.com/office/drawing/2014/main" id="{70FDE998-1569-4F45-AE29-7658A0EA4582}"/>
                        </a:ext>
                      </a:extLst>
                    </p:cNvPr>
                    <p:cNvSpPr>
                      <a:spLocks noChangeArrowheads="1"/>
                    </p:cNvSpPr>
                    <p:nvPr/>
                  </p:nvSpPr>
                  <p:spPr bwMode="auto">
                    <a:xfrm>
                      <a:off x="-4122738"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Oval 101">
                      <a:extLst>
                        <a:ext uri="{FF2B5EF4-FFF2-40B4-BE49-F238E27FC236}">
                          <a16:creationId xmlns:a16="http://schemas.microsoft.com/office/drawing/2014/main" id="{E6FE6246-D272-45CC-BEAB-4E29529FC119}"/>
                        </a:ext>
                      </a:extLst>
                    </p:cNvPr>
                    <p:cNvSpPr>
                      <a:spLocks noChangeArrowheads="1"/>
                    </p:cNvSpPr>
                    <p:nvPr/>
                  </p:nvSpPr>
                  <p:spPr bwMode="auto">
                    <a:xfrm>
                      <a:off x="-4265613"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Oval 141">
                      <a:extLst>
                        <a:ext uri="{FF2B5EF4-FFF2-40B4-BE49-F238E27FC236}">
                          <a16:creationId xmlns:a16="http://schemas.microsoft.com/office/drawing/2014/main" id="{37A77B3C-4B30-4636-8DF7-0B5CF8A4D02E}"/>
                        </a:ext>
                      </a:extLst>
                    </p:cNvPr>
                    <p:cNvSpPr>
                      <a:spLocks noChangeArrowheads="1"/>
                    </p:cNvSpPr>
                    <p:nvPr/>
                  </p:nvSpPr>
                  <p:spPr bwMode="auto">
                    <a:xfrm>
                      <a:off x="-3783013" y="45989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Oval 142">
                      <a:extLst>
                        <a:ext uri="{FF2B5EF4-FFF2-40B4-BE49-F238E27FC236}">
                          <a16:creationId xmlns:a16="http://schemas.microsoft.com/office/drawing/2014/main" id="{4191351C-4C22-416D-B65C-DFDE46785E65}"/>
                        </a:ext>
                      </a:extLst>
                    </p:cNvPr>
                    <p:cNvSpPr>
                      <a:spLocks noChangeArrowheads="1"/>
                    </p:cNvSpPr>
                    <p:nvPr/>
                  </p:nvSpPr>
                  <p:spPr bwMode="auto">
                    <a:xfrm>
                      <a:off x="-3829050"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Oval 143">
                      <a:extLst>
                        <a:ext uri="{FF2B5EF4-FFF2-40B4-BE49-F238E27FC236}">
                          <a16:creationId xmlns:a16="http://schemas.microsoft.com/office/drawing/2014/main" id="{5C92986A-DB57-443C-8E1E-985CBD924423}"/>
                        </a:ext>
                      </a:extLst>
                    </p:cNvPr>
                    <p:cNvSpPr>
                      <a:spLocks noChangeArrowheads="1"/>
                    </p:cNvSpPr>
                    <p:nvPr/>
                  </p:nvSpPr>
                  <p:spPr bwMode="auto">
                    <a:xfrm>
                      <a:off x="-3879850"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Oval 92">
                      <a:extLst>
                        <a:ext uri="{FF2B5EF4-FFF2-40B4-BE49-F238E27FC236}">
                          <a16:creationId xmlns:a16="http://schemas.microsoft.com/office/drawing/2014/main" id="{32481C70-212B-4801-A8C3-A5B8E38FB6D7}"/>
                        </a:ext>
                      </a:extLst>
                    </p:cNvPr>
                    <p:cNvSpPr>
                      <a:spLocks noChangeArrowheads="1"/>
                    </p:cNvSpPr>
                    <p:nvPr/>
                  </p:nvSpPr>
                  <p:spPr bwMode="auto">
                    <a:xfrm>
                      <a:off x="-4265613" y="455136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Oval 144">
                      <a:extLst>
                        <a:ext uri="{FF2B5EF4-FFF2-40B4-BE49-F238E27FC236}">
                          <a16:creationId xmlns:a16="http://schemas.microsoft.com/office/drawing/2014/main" id="{4DA60B53-656E-4C2A-A6E6-30267C7F32A8}"/>
                        </a:ext>
                      </a:extLst>
                    </p:cNvPr>
                    <p:cNvSpPr>
                      <a:spLocks noChangeArrowheads="1"/>
                    </p:cNvSpPr>
                    <p:nvPr/>
                  </p:nvSpPr>
                  <p:spPr bwMode="auto">
                    <a:xfrm>
                      <a:off x="-3732213" y="455136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Oval 145">
                      <a:extLst>
                        <a:ext uri="{FF2B5EF4-FFF2-40B4-BE49-F238E27FC236}">
                          <a16:creationId xmlns:a16="http://schemas.microsoft.com/office/drawing/2014/main" id="{01504587-A63B-4AF5-A6C6-01BEE370F3CD}"/>
                        </a:ext>
                      </a:extLst>
                    </p:cNvPr>
                    <p:cNvSpPr>
                      <a:spLocks noChangeArrowheads="1"/>
                    </p:cNvSpPr>
                    <p:nvPr/>
                  </p:nvSpPr>
                  <p:spPr bwMode="auto">
                    <a:xfrm>
                      <a:off x="-3783013" y="45989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Oval 146">
                      <a:extLst>
                        <a:ext uri="{FF2B5EF4-FFF2-40B4-BE49-F238E27FC236}">
                          <a16:creationId xmlns:a16="http://schemas.microsoft.com/office/drawing/2014/main" id="{5D463359-52C5-49AA-A27E-CD55178BEB6E}"/>
                        </a:ext>
                      </a:extLst>
                    </p:cNvPr>
                    <p:cNvSpPr>
                      <a:spLocks noChangeArrowheads="1"/>
                    </p:cNvSpPr>
                    <p:nvPr/>
                  </p:nvSpPr>
                  <p:spPr bwMode="auto">
                    <a:xfrm>
                      <a:off x="-3829050"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Oval 147">
                      <a:extLst>
                        <a:ext uri="{FF2B5EF4-FFF2-40B4-BE49-F238E27FC236}">
                          <a16:creationId xmlns:a16="http://schemas.microsoft.com/office/drawing/2014/main" id="{B5157ABE-1495-4725-B8CC-B10D5F227DBC}"/>
                        </a:ext>
                      </a:extLst>
                    </p:cNvPr>
                    <p:cNvSpPr>
                      <a:spLocks noChangeArrowheads="1"/>
                    </p:cNvSpPr>
                    <p:nvPr/>
                  </p:nvSpPr>
                  <p:spPr bwMode="auto">
                    <a:xfrm>
                      <a:off x="-3879850"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Oval 148">
                      <a:extLst>
                        <a:ext uri="{FF2B5EF4-FFF2-40B4-BE49-F238E27FC236}">
                          <a16:creationId xmlns:a16="http://schemas.microsoft.com/office/drawing/2014/main" id="{0485CA8E-ABB1-46C7-A2AE-F2B3FC81D46D}"/>
                        </a:ext>
                      </a:extLst>
                    </p:cNvPr>
                    <p:cNvSpPr>
                      <a:spLocks noChangeArrowheads="1"/>
                    </p:cNvSpPr>
                    <p:nvPr/>
                  </p:nvSpPr>
                  <p:spPr bwMode="auto">
                    <a:xfrm>
                      <a:off x="-3684588" y="45989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Oval 149">
                      <a:extLst>
                        <a:ext uri="{FF2B5EF4-FFF2-40B4-BE49-F238E27FC236}">
                          <a16:creationId xmlns:a16="http://schemas.microsoft.com/office/drawing/2014/main" id="{EC5FF48C-7C3A-4E00-9E88-6ED075F99B1B}"/>
                        </a:ext>
                      </a:extLst>
                    </p:cNvPr>
                    <p:cNvSpPr>
                      <a:spLocks noChangeArrowheads="1"/>
                    </p:cNvSpPr>
                    <p:nvPr/>
                  </p:nvSpPr>
                  <p:spPr bwMode="auto">
                    <a:xfrm>
                      <a:off x="-3783013"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Oval 150">
                      <a:extLst>
                        <a:ext uri="{FF2B5EF4-FFF2-40B4-BE49-F238E27FC236}">
                          <a16:creationId xmlns:a16="http://schemas.microsoft.com/office/drawing/2014/main" id="{499C2626-AF8C-4542-99D0-73B96F01681B}"/>
                        </a:ext>
                      </a:extLst>
                    </p:cNvPr>
                    <p:cNvSpPr>
                      <a:spLocks noChangeArrowheads="1"/>
                    </p:cNvSpPr>
                    <p:nvPr/>
                  </p:nvSpPr>
                  <p:spPr bwMode="auto">
                    <a:xfrm>
                      <a:off x="-3684588"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Oval 151">
                      <a:extLst>
                        <a:ext uri="{FF2B5EF4-FFF2-40B4-BE49-F238E27FC236}">
                          <a16:creationId xmlns:a16="http://schemas.microsoft.com/office/drawing/2014/main" id="{5FDC1C05-E7BF-45B0-9850-FFFEB9076D4C}"/>
                        </a:ext>
                      </a:extLst>
                    </p:cNvPr>
                    <p:cNvSpPr>
                      <a:spLocks noChangeArrowheads="1"/>
                    </p:cNvSpPr>
                    <p:nvPr/>
                  </p:nvSpPr>
                  <p:spPr bwMode="auto">
                    <a:xfrm>
                      <a:off x="-3633788"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Oval 152">
                      <a:extLst>
                        <a:ext uri="{FF2B5EF4-FFF2-40B4-BE49-F238E27FC236}">
                          <a16:creationId xmlns:a16="http://schemas.microsoft.com/office/drawing/2014/main" id="{9948127A-55C7-4C59-993A-3BD53EABC3B6}"/>
                        </a:ext>
                      </a:extLst>
                    </p:cNvPr>
                    <p:cNvSpPr>
                      <a:spLocks noChangeArrowheads="1"/>
                    </p:cNvSpPr>
                    <p:nvPr/>
                  </p:nvSpPr>
                  <p:spPr bwMode="auto">
                    <a:xfrm>
                      <a:off x="-3587750" y="4697413"/>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04" name="Oval 153">
                      <a:extLst>
                        <a:ext uri="{FF2B5EF4-FFF2-40B4-BE49-F238E27FC236}">
                          <a16:creationId xmlns:a16="http://schemas.microsoft.com/office/drawing/2014/main" id="{BD2570CB-E15B-4C93-BABC-427658963CD4}"/>
                        </a:ext>
                      </a:extLst>
                    </p:cNvPr>
                    <p:cNvSpPr>
                      <a:spLocks noChangeArrowheads="1"/>
                    </p:cNvSpPr>
                    <p:nvPr/>
                  </p:nvSpPr>
                  <p:spPr bwMode="auto">
                    <a:xfrm>
                      <a:off x="-3732213" y="4649788"/>
                      <a:ext cx="50800" cy="508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250" name="Group 249">
                <a:extLst>
                  <a:ext uri="{FF2B5EF4-FFF2-40B4-BE49-F238E27FC236}">
                    <a16:creationId xmlns:a16="http://schemas.microsoft.com/office/drawing/2014/main" id="{B040214C-A876-4F5E-AE37-F4D0E9DD96C1}"/>
                  </a:ext>
                </a:extLst>
              </p:cNvPr>
              <p:cNvGrpSpPr/>
              <p:nvPr/>
            </p:nvGrpSpPr>
            <p:grpSpPr>
              <a:xfrm>
                <a:off x="-2891559" y="3912466"/>
                <a:ext cx="2000250" cy="376238"/>
                <a:chOff x="-2755900" y="2946400"/>
                <a:chExt cx="2000250" cy="376238"/>
              </a:xfrm>
            </p:grpSpPr>
            <p:sp>
              <p:nvSpPr>
                <p:cNvPr id="270" name="Freeform 157">
                  <a:extLst>
                    <a:ext uri="{FF2B5EF4-FFF2-40B4-BE49-F238E27FC236}">
                      <a16:creationId xmlns:a16="http://schemas.microsoft.com/office/drawing/2014/main" id="{CEA83940-AEDA-4396-88EF-DEE9B9C212CB}"/>
                    </a:ext>
                  </a:extLst>
                </p:cNvPr>
                <p:cNvSpPr>
                  <a:spLocks/>
                </p:cNvSpPr>
                <p:nvPr/>
              </p:nvSpPr>
              <p:spPr bwMode="auto">
                <a:xfrm>
                  <a:off x="-2755900" y="2951163"/>
                  <a:ext cx="1592263" cy="52388"/>
                </a:xfrm>
                <a:custGeom>
                  <a:avLst/>
                  <a:gdLst>
                    <a:gd name="T0" fmla="*/ 368 w 374"/>
                    <a:gd name="T1" fmla="*/ 0 h 12"/>
                    <a:gd name="T2" fmla="*/ 6 w 374"/>
                    <a:gd name="T3" fmla="*/ 0 h 12"/>
                    <a:gd name="T4" fmla="*/ 0 w 374"/>
                    <a:gd name="T5" fmla="*/ 6 h 12"/>
                    <a:gd name="T6" fmla="*/ 6 w 374"/>
                    <a:gd name="T7" fmla="*/ 12 h 12"/>
                    <a:gd name="T8" fmla="*/ 368 w 374"/>
                    <a:gd name="T9" fmla="*/ 12 h 12"/>
                    <a:gd name="T10" fmla="*/ 374 w 374"/>
                    <a:gd name="T11" fmla="*/ 6 h 12"/>
                    <a:gd name="T12" fmla="*/ 368 w 37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74" h="12">
                      <a:moveTo>
                        <a:pt x="368" y="0"/>
                      </a:moveTo>
                      <a:cubicBezTo>
                        <a:pt x="6" y="0"/>
                        <a:pt x="6" y="0"/>
                        <a:pt x="6" y="0"/>
                      </a:cubicBezTo>
                      <a:cubicBezTo>
                        <a:pt x="2" y="0"/>
                        <a:pt x="0" y="2"/>
                        <a:pt x="0" y="6"/>
                      </a:cubicBezTo>
                      <a:cubicBezTo>
                        <a:pt x="0" y="9"/>
                        <a:pt x="2" y="12"/>
                        <a:pt x="6" y="12"/>
                      </a:cubicBezTo>
                      <a:cubicBezTo>
                        <a:pt x="368" y="12"/>
                        <a:pt x="368" y="12"/>
                        <a:pt x="368" y="12"/>
                      </a:cubicBezTo>
                      <a:cubicBezTo>
                        <a:pt x="372" y="12"/>
                        <a:pt x="374" y="9"/>
                        <a:pt x="374" y="6"/>
                      </a:cubicBezTo>
                      <a:cubicBezTo>
                        <a:pt x="374" y="2"/>
                        <a:pt x="372" y="0"/>
                        <a:pt x="368" y="0"/>
                      </a:cubicBezTo>
                      <a:close/>
                    </a:path>
                  </a:pathLst>
                </a:custGeom>
                <a:gradFill flip="none" rotWithShape="1">
                  <a:gsLst>
                    <a:gs pos="0">
                      <a:srgbClr val="F2F1F1"/>
                    </a:gs>
                    <a:gs pos="100000">
                      <a:srgbClr val="AFABA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endParaRPr>
                </a:p>
              </p:txBody>
            </p:sp>
            <p:sp>
              <p:nvSpPr>
                <p:cNvPr id="271" name="Freeform 158">
                  <a:extLst>
                    <a:ext uri="{FF2B5EF4-FFF2-40B4-BE49-F238E27FC236}">
                      <a16:creationId xmlns:a16="http://schemas.microsoft.com/office/drawing/2014/main" id="{78212497-D9B6-4995-B416-3A41F54D1EE1}"/>
                    </a:ext>
                  </a:extLst>
                </p:cNvPr>
                <p:cNvSpPr>
                  <a:spLocks/>
                </p:cNvSpPr>
                <p:nvPr/>
              </p:nvSpPr>
              <p:spPr bwMode="auto">
                <a:xfrm>
                  <a:off x="-2398713" y="3270250"/>
                  <a:ext cx="1235075" cy="52388"/>
                </a:xfrm>
                <a:custGeom>
                  <a:avLst/>
                  <a:gdLst>
                    <a:gd name="T0" fmla="*/ 284 w 290"/>
                    <a:gd name="T1" fmla="*/ 0 h 12"/>
                    <a:gd name="T2" fmla="*/ 6 w 290"/>
                    <a:gd name="T3" fmla="*/ 0 h 12"/>
                    <a:gd name="T4" fmla="*/ 0 w 290"/>
                    <a:gd name="T5" fmla="*/ 6 h 12"/>
                    <a:gd name="T6" fmla="*/ 6 w 290"/>
                    <a:gd name="T7" fmla="*/ 12 h 12"/>
                    <a:gd name="T8" fmla="*/ 284 w 290"/>
                    <a:gd name="T9" fmla="*/ 12 h 12"/>
                    <a:gd name="T10" fmla="*/ 290 w 290"/>
                    <a:gd name="T11" fmla="*/ 6 h 12"/>
                    <a:gd name="T12" fmla="*/ 284 w 29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90" h="12">
                      <a:moveTo>
                        <a:pt x="284" y="0"/>
                      </a:moveTo>
                      <a:cubicBezTo>
                        <a:pt x="6" y="0"/>
                        <a:pt x="6" y="0"/>
                        <a:pt x="6" y="0"/>
                      </a:cubicBezTo>
                      <a:cubicBezTo>
                        <a:pt x="3" y="0"/>
                        <a:pt x="0" y="3"/>
                        <a:pt x="0" y="6"/>
                      </a:cubicBezTo>
                      <a:cubicBezTo>
                        <a:pt x="0" y="9"/>
                        <a:pt x="3" y="12"/>
                        <a:pt x="6" y="12"/>
                      </a:cubicBezTo>
                      <a:cubicBezTo>
                        <a:pt x="284" y="12"/>
                        <a:pt x="284" y="12"/>
                        <a:pt x="284" y="12"/>
                      </a:cubicBezTo>
                      <a:cubicBezTo>
                        <a:pt x="288" y="12"/>
                        <a:pt x="290" y="9"/>
                        <a:pt x="290" y="6"/>
                      </a:cubicBezTo>
                      <a:cubicBezTo>
                        <a:pt x="290" y="3"/>
                        <a:pt x="288" y="0"/>
                        <a:pt x="284" y="0"/>
                      </a:cubicBezTo>
                      <a:close/>
                    </a:path>
                  </a:pathLst>
                </a:custGeom>
                <a:gradFill flip="none" rotWithShape="1">
                  <a:gsLst>
                    <a:gs pos="0">
                      <a:srgbClr val="F2F1F1"/>
                    </a:gs>
                    <a:gs pos="100000">
                      <a:srgbClr val="AFABA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endParaRPr>
                </a:p>
              </p:txBody>
            </p:sp>
            <p:sp>
              <p:nvSpPr>
                <p:cNvPr id="272" name="Freeform 159">
                  <a:extLst>
                    <a:ext uri="{FF2B5EF4-FFF2-40B4-BE49-F238E27FC236}">
                      <a16:creationId xmlns:a16="http://schemas.microsoft.com/office/drawing/2014/main" id="{72FBCFDC-7FDB-4542-9FBB-591307FBD6DA}"/>
                    </a:ext>
                  </a:extLst>
                </p:cNvPr>
                <p:cNvSpPr>
                  <a:spLocks/>
                </p:cNvSpPr>
                <p:nvPr/>
              </p:nvSpPr>
              <p:spPr bwMode="auto">
                <a:xfrm>
                  <a:off x="-1117600" y="2946400"/>
                  <a:ext cx="361950" cy="376238"/>
                </a:xfrm>
                <a:custGeom>
                  <a:avLst/>
                  <a:gdLst>
                    <a:gd name="T0" fmla="*/ 2 w 85"/>
                    <a:gd name="T1" fmla="*/ 4 h 86"/>
                    <a:gd name="T2" fmla="*/ 4 w 85"/>
                    <a:gd name="T3" fmla="*/ 12 h 86"/>
                    <a:gd name="T4" fmla="*/ 60 w 85"/>
                    <a:gd name="T5" fmla="*/ 43 h 86"/>
                    <a:gd name="T6" fmla="*/ 4 w 85"/>
                    <a:gd name="T7" fmla="*/ 75 h 86"/>
                    <a:gd name="T8" fmla="*/ 2 w 85"/>
                    <a:gd name="T9" fmla="*/ 83 h 86"/>
                    <a:gd name="T10" fmla="*/ 7 w 85"/>
                    <a:gd name="T11" fmla="*/ 86 h 86"/>
                    <a:gd name="T12" fmla="*/ 10 w 85"/>
                    <a:gd name="T13" fmla="*/ 85 h 86"/>
                    <a:gd name="T14" fmla="*/ 85 w 85"/>
                    <a:gd name="T15" fmla="*/ 43 h 86"/>
                    <a:gd name="T16" fmla="*/ 10 w 85"/>
                    <a:gd name="T17" fmla="*/ 1 h 86"/>
                    <a:gd name="T18" fmla="*/ 2 w 85"/>
                    <a:gd name="T1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6">
                      <a:moveTo>
                        <a:pt x="2" y="4"/>
                      </a:moveTo>
                      <a:cubicBezTo>
                        <a:pt x="0" y="7"/>
                        <a:pt x="1" y="10"/>
                        <a:pt x="4" y="12"/>
                      </a:cubicBezTo>
                      <a:cubicBezTo>
                        <a:pt x="60" y="43"/>
                        <a:pt x="60" y="43"/>
                        <a:pt x="60" y="43"/>
                      </a:cubicBezTo>
                      <a:cubicBezTo>
                        <a:pt x="4" y="75"/>
                        <a:pt x="4" y="75"/>
                        <a:pt x="4" y="75"/>
                      </a:cubicBezTo>
                      <a:cubicBezTo>
                        <a:pt x="1" y="76"/>
                        <a:pt x="0" y="80"/>
                        <a:pt x="2" y="83"/>
                      </a:cubicBezTo>
                      <a:cubicBezTo>
                        <a:pt x="3" y="85"/>
                        <a:pt x="5" y="86"/>
                        <a:pt x="7" y="86"/>
                      </a:cubicBezTo>
                      <a:cubicBezTo>
                        <a:pt x="8" y="86"/>
                        <a:pt x="9" y="86"/>
                        <a:pt x="10" y="85"/>
                      </a:cubicBezTo>
                      <a:cubicBezTo>
                        <a:pt x="85" y="43"/>
                        <a:pt x="85" y="43"/>
                        <a:pt x="85" y="43"/>
                      </a:cubicBezTo>
                      <a:cubicBezTo>
                        <a:pt x="10" y="1"/>
                        <a:pt x="10" y="1"/>
                        <a:pt x="10" y="1"/>
                      </a:cubicBezTo>
                      <a:cubicBezTo>
                        <a:pt x="7" y="0"/>
                        <a:pt x="4" y="1"/>
                        <a:pt x="2" y="4"/>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endParaRPr>
                </a:p>
              </p:txBody>
            </p:sp>
          </p:grpSp>
          <p:grpSp>
            <p:nvGrpSpPr>
              <p:cNvPr id="251" name="Group 250">
                <a:extLst>
                  <a:ext uri="{FF2B5EF4-FFF2-40B4-BE49-F238E27FC236}">
                    <a16:creationId xmlns:a16="http://schemas.microsoft.com/office/drawing/2014/main" id="{B7BE0F60-4650-40A6-BCC2-59AED1306044}"/>
                  </a:ext>
                </a:extLst>
              </p:cNvPr>
              <p:cNvGrpSpPr/>
              <p:nvPr/>
            </p:nvGrpSpPr>
            <p:grpSpPr>
              <a:xfrm>
                <a:off x="-5802313" y="4752975"/>
                <a:ext cx="4981576" cy="349250"/>
                <a:chOff x="-5802313" y="4752975"/>
                <a:chExt cx="4981576" cy="349250"/>
              </a:xfrm>
            </p:grpSpPr>
            <p:grpSp>
              <p:nvGrpSpPr>
                <p:cNvPr id="252" name="Group 251">
                  <a:extLst>
                    <a:ext uri="{FF2B5EF4-FFF2-40B4-BE49-F238E27FC236}">
                      <a16:creationId xmlns:a16="http://schemas.microsoft.com/office/drawing/2014/main" id="{7AE9FD70-3F90-496B-B098-401CED411EE8}"/>
                    </a:ext>
                  </a:extLst>
                </p:cNvPr>
                <p:cNvGrpSpPr/>
                <p:nvPr/>
              </p:nvGrpSpPr>
              <p:grpSpPr>
                <a:xfrm>
                  <a:off x="-4265613" y="4986338"/>
                  <a:ext cx="3254376" cy="98425"/>
                  <a:chOff x="-4265613" y="4986338"/>
                  <a:chExt cx="3254376" cy="98425"/>
                </a:xfrm>
                <a:solidFill>
                  <a:schemeClr val="tx1"/>
                </a:solidFill>
              </p:grpSpPr>
              <p:sp>
                <p:nvSpPr>
                  <p:cNvPr id="263" name="Freeform 67">
                    <a:extLst>
                      <a:ext uri="{FF2B5EF4-FFF2-40B4-BE49-F238E27FC236}">
                        <a16:creationId xmlns:a16="http://schemas.microsoft.com/office/drawing/2014/main" id="{ABB1B969-7225-4AC1-AF70-88CA960CE7DC}"/>
                      </a:ext>
                    </a:extLst>
                  </p:cNvPr>
                  <p:cNvSpPr>
                    <a:spLocks/>
                  </p:cNvSpPr>
                  <p:nvPr/>
                </p:nvSpPr>
                <p:spPr bwMode="auto">
                  <a:xfrm>
                    <a:off x="-4265613" y="4986338"/>
                    <a:ext cx="50800" cy="98425"/>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3" y="23"/>
                          <a:pt x="0" y="21"/>
                          <a:pt x="0" y="17"/>
                        </a:cubicBezTo>
                        <a:cubicBezTo>
                          <a:pt x="0" y="6"/>
                          <a:pt x="0" y="6"/>
                          <a:pt x="0" y="6"/>
                        </a:cubicBezTo>
                        <a:cubicBezTo>
                          <a:pt x="0" y="3"/>
                          <a:pt x="3" y="0"/>
                          <a:pt x="6" y="0"/>
                        </a:cubicBezTo>
                        <a:cubicBezTo>
                          <a:pt x="9" y="0"/>
                          <a:pt x="12" y="3"/>
                          <a:pt x="12" y="6"/>
                        </a:cubicBezTo>
                        <a:cubicBezTo>
                          <a:pt x="12" y="17"/>
                          <a:pt x="12" y="17"/>
                          <a:pt x="12" y="17"/>
                        </a:cubicBezTo>
                        <a:cubicBezTo>
                          <a:pt x="12" y="21"/>
                          <a:pt x="9"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70">
                    <a:extLst>
                      <a:ext uri="{FF2B5EF4-FFF2-40B4-BE49-F238E27FC236}">
                        <a16:creationId xmlns:a16="http://schemas.microsoft.com/office/drawing/2014/main" id="{20D9415F-EACA-45D6-A41B-F8DCCC76E891}"/>
                      </a:ext>
                    </a:extLst>
                  </p:cNvPr>
                  <p:cNvSpPr>
                    <a:spLocks/>
                  </p:cNvSpPr>
                  <p:nvPr/>
                </p:nvSpPr>
                <p:spPr bwMode="auto">
                  <a:xfrm>
                    <a:off x="-3732213" y="4986338"/>
                    <a:ext cx="50800" cy="98425"/>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3" y="23"/>
                          <a:pt x="0" y="21"/>
                          <a:pt x="0" y="17"/>
                        </a:cubicBezTo>
                        <a:cubicBezTo>
                          <a:pt x="0" y="6"/>
                          <a:pt x="0" y="6"/>
                          <a:pt x="0" y="6"/>
                        </a:cubicBezTo>
                        <a:cubicBezTo>
                          <a:pt x="0" y="3"/>
                          <a:pt x="3" y="0"/>
                          <a:pt x="6" y="0"/>
                        </a:cubicBezTo>
                        <a:cubicBezTo>
                          <a:pt x="9" y="0"/>
                          <a:pt x="12" y="3"/>
                          <a:pt x="12" y="6"/>
                        </a:cubicBezTo>
                        <a:cubicBezTo>
                          <a:pt x="12" y="17"/>
                          <a:pt x="12" y="17"/>
                          <a:pt x="12" y="17"/>
                        </a:cubicBezTo>
                        <a:cubicBezTo>
                          <a:pt x="12" y="21"/>
                          <a:pt x="9"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73">
                    <a:extLst>
                      <a:ext uri="{FF2B5EF4-FFF2-40B4-BE49-F238E27FC236}">
                        <a16:creationId xmlns:a16="http://schemas.microsoft.com/office/drawing/2014/main" id="{DAA24291-28AD-4002-BA85-50FA12FA1649}"/>
                      </a:ext>
                    </a:extLst>
                  </p:cNvPr>
                  <p:cNvSpPr>
                    <a:spLocks/>
                  </p:cNvSpPr>
                  <p:nvPr/>
                </p:nvSpPr>
                <p:spPr bwMode="auto">
                  <a:xfrm>
                    <a:off x="-3197225" y="4986338"/>
                    <a:ext cx="50800" cy="98425"/>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3" y="23"/>
                          <a:pt x="0" y="21"/>
                          <a:pt x="0" y="17"/>
                        </a:cubicBezTo>
                        <a:cubicBezTo>
                          <a:pt x="0" y="6"/>
                          <a:pt x="0" y="6"/>
                          <a:pt x="0" y="6"/>
                        </a:cubicBezTo>
                        <a:cubicBezTo>
                          <a:pt x="0" y="3"/>
                          <a:pt x="3" y="0"/>
                          <a:pt x="6" y="0"/>
                        </a:cubicBezTo>
                        <a:cubicBezTo>
                          <a:pt x="9" y="0"/>
                          <a:pt x="12" y="3"/>
                          <a:pt x="12" y="6"/>
                        </a:cubicBezTo>
                        <a:cubicBezTo>
                          <a:pt x="12" y="17"/>
                          <a:pt x="12" y="17"/>
                          <a:pt x="12" y="17"/>
                        </a:cubicBezTo>
                        <a:cubicBezTo>
                          <a:pt x="12" y="21"/>
                          <a:pt x="9"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76">
                    <a:extLst>
                      <a:ext uri="{FF2B5EF4-FFF2-40B4-BE49-F238E27FC236}">
                        <a16:creationId xmlns:a16="http://schemas.microsoft.com/office/drawing/2014/main" id="{D6BA8EAD-F3D5-4DCC-B141-771D749A51F9}"/>
                      </a:ext>
                    </a:extLst>
                  </p:cNvPr>
                  <p:cNvSpPr>
                    <a:spLocks/>
                  </p:cNvSpPr>
                  <p:nvPr/>
                </p:nvSpPr>
                <p:spPr bwMode="auto">
                  <a:xfrm>
                    <a:off x="-2662238" y="4986338"/>
                    <a:ext cx="50800" cy="98425"/>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3" y="23"/>
                          <a:pt x="0" y="21"/>
                          <a:pt x="0" y="17"/>
                        </a:cubicBezTo>
                        <a:cubicBezTo>
                          <a:pt x="0" y="6"/>
                          <a:pt x="0" y="6"/>
                          <a:pt x="0" y="6"/>
                        </a:cubicBezTo>
                        <a:cubicBezTo>
                          <a:pt x="0" y="3"/>
                          <a:pt x="3" y="0"/>
                          <a:pt x="6" y="0"/>
                        </a:cubicBezTo>
                        <a:cubicBezTo>
                          <a:pt x="9" y="0"/>
                          <a:pt x="12" y="3"/>
                          <a:pt x="12" y="6"/>
                        </a:cubicBezTo>
                        <a:cubicBezTo>
                          <a:pt x="12" y="17"/>
                          <a:pt x="12" y="17"/>
                          <a:pt x="12" y="17"/>
                        </a:cubicBezTo>
                        <a:cubicBezTo>
                          <a:pt x="12" y="21"/>
                          <a:pt x="9"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79">
                    <a:extLst>
                      <a:ext uri="{FF2B5EF4-FFF2-40B4-BE49-F238E27FC236}">
                        <a16:creationId xmlns:a16="http://schemas.microsoft.com/office/drawing/2014/main" id="{58DA5468-E64E-4DD9-9E89-746BA93F42F5}"/>
                      </a:ext>
                    </a:extLst>
                  </p:cNvPr>
                  <p:cNvSpPr>
                    <a:spLocks/>
                  </p:cNvSpPr>
                  <p:nvPr/>
                </p:nvSpPr>
                <p:spPr bwMode="auto">
                  <a:xfrm>
                    <a:off x="-2132013" y="4986338"/>
                    <a:ext cx="50800" cy="98425"/>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3" y="23"/>
                          <a:pt x="0" y="21"/>
                          <a:pt x="0" y="17"/>
                        </a:cubicBezTo>
                        <a:cubicBezTo>
                          <a:pt x="0" y="6"/>
                          <a:pt x="0" y="6"/>
                          <a:pt x="0" y="6"/>
                        </a:cubicBezTo>
                        <a:cubicBezTo>
                          <a:pt x="0" y="3"/>
                          <a:pt x="3" y="0"/>
                          <a:pt x="6" y="0"/>
                        </a:cubicBezTo>
                        <a:cubicBezTo>
                          <a:pt x="10" y="0"/>
                          <a:pt x="12" y="3"/>
                          <a:pt x="12" y="6"/>
                        </a:cubicBezTo>
                        <a:cubicBezTo>
                          <a:pt x="12" y="17"/>
                          <a:pt x="12" y="17"/>
                          <a:pt x="12" y="17"/>
                        </a:cubicBezTo>
                        <a:cubicBezTo>
                          <a:pt x="12" y="21"/>
                          <a:pt x="10"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82">
                    <a:extLst>
                      <a:ext uri="{FF2B5EF4-FFF2-40B4-BE49-F238E27FC236}">
                        <a16:creationId xmlns:a16="http://schemas.microsoft.com/office/drawing/2014/main" id="{BC17A7D2-B0E9-433E-9DD3-AE88E30CC823}"/>
                      </a:ext>
                    </a:extLst>
                  </p:cNvPr>
                  <p:cNvSpPr>
                    <a:spLocks/>
                  </p:cNvSpPr>
                  <p:nvPr/>
                </p:nvSpPr>
                <p:spPr bwMode="auto">
                  <a:xfrm>
                    <a:off x="-1597025" y="4986338"/>
                    <a:ext cx="50800" cy="98425"/>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3" y="23"/>
                          <a:pt x="0" y="21"/>
                          <a:pt x="0" y="17"/>
                        </a:cubicBezTo>
                        <a:cubicBezTo>
                          <a:pt x="0" y="6"/>
                          <a:pt x="0" y="6"/>
                          <a:pt x="0" y="6"/>
                        </a:cubicBezTo>
                        <a:cubicBezTo>
                          <a:pt x="0" y="3"/>
                          <a:pt x="3" y="0"/>
                          <a:pt x="6" y="0"/>
                        </a:cubicBezTo>
                        <a:cubicBezTo>
                          <a:pt x="10" y="0"/>
                          <a:pt x="12" y="3"/>
                          <a:pt x="12" y="6"/>
                        </a:cubicBezTo>
                        <a:cubicBezTo>
                          <a:pt x="12" y="17"/>
                          <a:pt x="12" y="17"/>
                          <a:pt x="12" y="17"/>
                        </a:cubicBezTo>
                        <a:cubicBezTo>
                          <a:pt x="12" y="21"/>
                          <a:pt x="10"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85">
                    <a:extLst>
                      <a:ext uri="{FF2B5EF4-FFF2-40B4-BE49-F238E27FC236}">
                        <a16:creationId xmlns:a16="http://schemas.microsoft.com/office/drawing/2014/main" id="{C97FBF8C-0683-4574-9987-B307A201DC6E}"/>
                      </a:ext>
                    </a:extLst>
                  </p:cNvPr>
                  <p:cNvSpPr>
                    <a:spLocks/>
                  </p:cNvSpPr>
                  <p:nvPr/>
                </p:nvSpPr>
                <p:spPr bwMode="auto">
                  <a:xfrm>
                    <a:off x="-1063625" y="4986338"/>
                    <a:ext cx="52388" cy="98425"/>
                  </a:xfrm>
                  <a:custGeom>
                    <a:avLst/>
                    <a:gdLst>
                      <a:gd name="T0" fmla="*/ 6 w 12"/>
                      <a:gd name="T1" fmla="*/ 23 h 23"/>
                      <a:gd name="T2" fmla="*/ 0 w 12"/>
                      <a:gd name="T3" fmla="*/ 17 h 23"/>
                      <a:gd name="T4" fmla="*/ 0 w 12"/>
                      <a:gd name="T5" fmla="*/ 6 h 23"/>
                      <a:gd name="T6" fmla="*/ 6 w 12"/>
                      <a:gd name="T7" fmla="*/ 0 h 23"/>
                      <a:gd name="T8" fmla="*/ 12 w 12"/>
                      <a:gd name="T9" fmla="*/ 6 h 23"/>
                      <a:gd name="T10" fmla="*/ 12 w 12"/>
                      <a:gd name="T11" fmla="*/ 17 h 23"/>
                      <a:gd name="T12" fmla="*/ 6 w 12"/>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 h="23">
                        <a:moveTo>
                          <a:pt x="6" y="23"/>
                        </a:moveTo>
                        <a:cubicBezTo>
                          <a:pt x="2" y="23"/>
                          <a:pt x="0" y="21"/>
                          <a:pt x="0" y="17"/>
                        </a:cubicBezTo>
                        <a:cubicBezTo>
                          <a:pt x="0" y="6"/>
                          <a:pt x="0" y="6"/>
                          <a:pt x="0" y="6"/>
                        </a:cubicBezTo>
                        <a:cubicBezTo>
                          <a:pt x="0" y="3"/>
                          <a:pt x="2" y="0"/>
                          <a:pt x="6" y="0"/>
                        </a:cubicBezTo>
                        <a:cubicBezTo>
                          <a:pt x="9" y="0"/>
                          <a:pt x="12" y="3"/>
                          <a:pt x="12" y="6"/>
                        </a:cubicBezTo>
                        <a:cubicBezTo>
                          <a:pt x="12" y="17"/>
                          <a:pt x="12" y="17"/>
                          <a:pt x="12" y="17"/>
                        </a:cubicBezTo>
                        <a:cubicBezTo>
                          <a:pt x="12" y="21"/>
                          <a:pt x="9" y="23"/>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3" name="Group 252">
                  <a:extLst>
                    <a:ext uri="{FF2B5EF4-FFF2-40B4-BE49-F238E27FC236}">
                      <a16:creationId xmlns:a16="http://schemas.microsoft.com/office/drawing/2014/main" id="{34EB59F9-5F83-4DC6-AA9B-DF5D2F2FF562}"/>
                    </a:ext>
                  </a:extLst>
                </p:cNvPr>
                <p:cNvGrpSpPr/>
                <p:nvPr/>
              </p:nvGrpSpPr>
              <p:grpSpPr>
                <a:xfrm>
                  <a:off x="-5802313" y="4752975"/>
                  <a:ext cx="4981576" cy="349250"/>
                  <a:chOff x="-5802313" y="4752975"/>
                  <a:chExt cx="4981576" cy="349250"/>
                </a:xfrm>
              </p:grpSpPr>
              <p:grpSp>
                <p:nvGrpSpPr>
                  <p:cNvPr id="254" name="Group 253">
                    <a:extLst>
                      <a:ext uri="{FF2B5EF4-FFF2-40B4-BE49-F238E27FC236}">
                        <a16:creationId xmlns:a16="http://schemas.microsoft.com/office/drawing/2014/main" id="{0DEC9A3B-181F-4259-9C7A-56E526731E8F}"/>
                      </a:ext>
                    </a:extLst>
                  </p:cNvPr>
                  <p:cNvGrpSpPr/>
                  <p:nvPr/>
                </p:nvGrpSpPr>
                <p:grpSpPr>
                  <a:xfrm>
                    <a:off x="-4381500" y="4752975"/>
                    <a:ext cx="3484563" cy="285750"/>
                    <a:chOff x="-4381500" y="4752975"/>
                    <a:chExt cx="3484563" cy="285750"/>
                  </a:xfrm>
                  <a:solidFill>
                    <a:schemeClr val="tx1"/>
                  </a:solidFill>
                </p:grpSpPr>
                <p:sp>
                  <p:nvSpPr>
                    <p:cNvPr id="256" name="Freeform 65">
                      <a:extLst>
                        <a:ext uri="{FF2B5EF4-FFF2-40B4-BE49-F238E27FC236}">
                          <a16:creationId xmlns:a16="http://schemas.microsoft.com/office/drawing/2014/main" id="{6F1CD1DE-118C-46FE-845E-0FC1D81E4595}"/>
                        </a:ext>
                      </a:extLst>
                    </p:cNvPr>
                    <p:cNvSpPr>
                      <a:spLocks/>
                    </p:cNvSpPr>
                    <p:nvPr/>
                  </p:nvSpPr>
                  <p:spPr bwMode="auto">
                    <a:xfrm>
                      <a:off x="-4381500" y="4752975"/>
                      <a:ext cx="280988" cy="285750"/>
                    </a:xfrm>
                    <a:custGeom>
                      <a:avLst/>
                      <a:gdLst>
                        <a:gd name="T0" fmla="*/ 33 w 66"/>
                        <a:gd name="T1" fmla="*/ 67 h 67"/>
                        <a:gd name="T2" fmla="*/ 33 w 66"/>
                        <a:gd name="T3" fmla="*/ 67 h 67"/>
                        <a:gd name="T4" fmla="*/ 27 w 66"/>
                        <a:gd name="T5" fmla="*/ 61 h 67"/>
                        <a:gd name="T6" fmla="*/ 33 w 66"/>
                        <a:gd name="T7" fmla="*/ 55 h 67"/>
                        <a:gd name="T8" fmla="*/ 48 w 66"/>
                        <a:gd name="T9" fmla="*/ 50 h 67"/>
                        <a:gd name="T10" fmla="*/ 53 w 66"/>
                        <a:gd name="T11" fmla="*/ 41 h 67"/>
                        <a:gd name="T12" fmla="*/ 48 w 66"/>
                        <a:gd name="T13" fmla="*/ 44 h 67"/>
                        <a:gd name="T14" fmla="*/ 41 w 66"/>
                        <a:gd name="T15" fmla="*/ 43 h 67"/>
                        <a:gd name="T16" fmla="*/ 39 w 66"/>
                        <a:gd name="T17" fmla="*/ 37 h 67"/>
                        <a:gd name="T18" fmla="*/ 39 w 66"/>
                        <a:gd name="T19" fmla="*/ 34 h 67"/>
                        <a:gd name="T20" fmla="*/ 33 w 66"/>
                        <a:gd name="T21" fmla="*/ 16 h 67"/>
                        <a:gd name="T22" fmla="*/ 27 w 66"/>
                        <a:gd name="T23" fmla="*/ 34 h 67"/>
                        <a:gd name="T24" fmla="*/ 27 w 66"/>
                        <a:gd name="T25" fmla="*/ 37 h 67"/>
                        <a:gd name="T26" fmla="*/ 24 w 66"/>
                        <a:gd name="T27" fmla="*/ 43 h 67"/>
                        <a:gd name="T28" fmla="*/ 18 w 66"/>
                        <a:gd name="T29" fmla="*/ 44 h 67"/>
                        <a:gd name="T30" fmla="*/ 13 w 66"/>
                        <a:gd name="T31" fmla="*/ 41 h 67"/>
                        <a:gd name="T32" fmla="*/ 18 w 66"/>
                        <a:gd name="T33" fmla="*/ 50 h 67"/>
                        <a:gd name="T34" fmla="*/ 18 w 66"/>
                        <a:gd name="T35" fmla="*/ 58 h 67"/>
                        <a:gd name="T36" fmla="*/ 9 w 66"/>
                        <a:gd name="T37" fmla="*/ 58 h 67"/>
                        <a:gd name="T38" fmla="*/ 0 w 66"/>
                        <a:gd name="T39" fmla="*/ 34 h 67"/>
                        <a:gd name="T40" fmla="*/ 6 w 66"/>
                        <a:gd name="T41" fmla="*/ 28 h 67"/>
                        <a:gd name="T42" fmla="*/ 15 w 66"/>
                        <a:gd name="T43" fmla="*/ 30 h 67"/>
                        <a:gd name="T44" fmla="*/ 29 w 66"/>
                        <a:gd name="T45" fmla="*/ 3 h 67"/>
                        <a:gd name="T46" fmla="*/ 37 w 66"/>
                        <a:gd name="T47" fmla="*/ 3 h 67"/>
                        <a:gd name="T48" fmla="*/ 51 w 66"/>
                        <a:gd name="T49" fmla="*/ 30 h 67"/>
                        <a:gd name="T50" fmla="*/ 60 w 66"/>
                        <a:gd name="T51" fmla="*/ 28 h 67"/>
                        <a:gd name="T52" fmla="*/ 66 w 66"/>
                        <a:gd name="T53" fmla="*/ 34 h 67"/>
                        <a:gd name="T54" fmla="*/ 57 w 66"/>
                        <a:gd name="T55" fmla="*/ 58 h 67"/>
                        <a:gd name="T56" fmla="*/ 33 w 66"/>
                        <a:gd name="T5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67">
                          <a:moveTo>
                            <a:pt x="33" y="67"/>
                          </a:moveTo>
                          <a:cubicBezTo>
                            <a:pt x="33" y="67"/>
                            <a:pt x="33" y="67"/>
                            <a:pt x="33" y="67"/>
                          </a:cubicBezTo>
                          <a:cubicBezTo>
                            <a:pt x="30" y="67"/>
                            <a:pt x="27" y="65"/>
                            <a:pt x="27" y="61"/>
                          </a:cubicBezTo>
                          <a:cubicBezTo>
                            <a:pt x="27" y="58"/>
                            <a:pt x="30" y="55"/>
                            <a:pt x="33" y="55"/>
                          </a:cubicBezTo>
                          <a:cubicBezTo>
                            <a:pt x="33" y="55"/>
                            <a:pt x="43" y="55"/>
                            <a:pt x="48" y="50"/>
                          </a:cubicBezTo>
                          <a:cubicBezTo>
                            <a:pt x="51" y="47"/>
                            <a:pt x="52" y="44"/>
                            <a:pt x="53" y="41"/>
                          </a:cubicBezTo>
                          <a:cubicBezTo>
                            <a:pt x="51" y="42"/>
                            <a:pt x="49" y="43"/>
                            <a:pt x="48" y="44"/>
                          </a:cubicBezTo>
                          <a:cubicBezTo>
                            <a:pt x="46" y="45"/>
                            <a:pt x="43" y="45"/>
                            <a:pt x="41" y="43"/>
                          </a:cubicBezTo>
                          <a:cubicBezTo>
                            <a:pt x="40" y="42"/>
                            <a:pt x="39" y="40"/>
                            <a:pt x="39" y="37"/>
                          </a:cubicBezTo>
                          <a:cubicBezTo>
                            <a:pt x="39" y="36"/>
                            <a:pt x="39" y="35"/>
                            <a:pt x="39" y="34"/>
                          </a:cubicBezTo>
                          <a:cubicBezTo>
                            <a:pt x="39" y="27"/>
                            <a:pt x="36" y="21"/>
                            <a:pt x="33" y="16"/>
                          </a:cubicBezTo>
                          <a:cubicBezTo>
                            <a:pt x="30" y="21"/>
                            <a:pt x="27" y="27"/>
                            <a:pt x="27" y="34"/>
                          </a:cubicBezTo>
                          <a:cubicBezTo>
                            <a:pt x="27" y="35"/>
                            <a:pt x="27" y="36"/>
                            <a:pt x="27" y="37"/>
                          </a:cubicBezTo>
                          <a:cubicBezTo>
                            <a:pt x="27" y="40"/>
                            <a:pt x="26" y="42"/>
                            <a:pt x="24" y="43"/>
                          </a:cubicBezTo>
                          <a:cubicBezTo>
                            <a:pt x="23" y="45"/>
                            <a:pt x="20" y="45"/>
                            <a:pt x="18" y="44"/>
                          </a:cubicBezTo>
                          <a:cubicBezTo>
                            <a:pt x="16" y="43"/>
                            <a:pt x="15" y="42"/>
                            <a:pt x="13" y="41"/>
                          </a:cubicBezTo>
                          <a:cubicBezTo>
                            <a:pt x="14" y="44"/>
                            <a:pt x="15" y="47"/>
                            <a:pt x="18" y="50"/>
                          </a:cubicBezTo>
                          <a:cubicBezTo>
                            <a:pt x="20" y="52"/>
                            <a:pt x="20" y="56"/>
                            <a:pt x="18" y="58"/>
                          </a:cubicBezTo>
                          <a:cubicBezTo>
                            <a:pt x="15" y="60"/>
                            <a:pt x="11" y="60"/>
                            <a:pt x="9" y="58"/>
                          </a:cubicBezTo>
                          <a:cubicBezTo>
                            <a:pt x="0" y="49"/>
                            <a:pt x="0" y="35"/>
                            <a:pt x="0" y="34"/>
                          </a:cubicBezTo>
                          <a:cubicBezTo>
                            <a:pt x="0" y="31"/>
                            <a:pt x="3" y="28"/>
                            <a:pt x="6" y="28"/>
                          </a:cubicBezTo>
                          <a:cubicBezTo>
                            <a:pt x="6" y="28"/>
                            <a:pt x="10" y="28"/>
                            <a:pt x="15" y="30"/>
                          </a:cubicBezTo>
                          <a:cubicBezTo>
                            <a:pt x="17" y="14"/>
                            <a:pt x="28" y="3"/>
                            <a:pt x="29" y="3"/>
                          </a:cubicBezTo>
                          <a:cubicBezTo>
                            <a:pt x="31" y="0"/>
                            <a:pt x="35" y="0"/>
                            <a:pt x="37" y="3"/>
                          </a:cubicBezTo>
                          <a:cubicBezTo>
                            <a:pt x="38" y="3"/>
                            <a:pt x="49" y="14"/>
                            <a:pt x="51" y="30"/>
                          </a:cubicBezTo>
                          <a:cubicBezTo>
                            <a:pt x="56" y="28"/>
                            <a:pt x="60" y="28"/>
                            <a:pt x="60" y="28"/>
                          </a:cubicBezTo>
                          <a:cubicBezTo>
                            <a:pt x="63" y="28"/>
                            <a:pt x="66" y="31"/>
                            <a:pt x="66" y="34"/>
                          </a:cubicBezTo>
                          <a:cubicBezTo>
                            <a:pt x="66" y="35"/>
                            <a:pt x="66" y="49"/>
                            <a:pt x="57" y="58"/>
                          </a:cubicBezTo>
                          <a:cubicBezTo>
                            <a:pt x="48" y="67"/>
                            <a:pt x="34" y="67"/>
                            <a:pt x="3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7" name="Freeform 68">
                      <a:extLst>
                        <a:ext uri="{FF2B5EF4-FFF2-40B4-BE49-F238E27FC236}">
                          <a16:creationId xmlns:a16="http://schemas.microsoft.com/office/drawing/2014/main" id="{1140D230-3F23-4EFC-AA58-6BA14E3A1C5F}"/>
                        </a:ext>
                      </a:extLst>
                    </p:cNvPr>
                    <p:cNvSpPr>
                      <a:spLocks/>
                    </p:cNvSpPr>
                    <p:nvPr/>
                  </p:nvSpPr>
                  <p:spPr bwMode="auto">
                    <a:xfrm>
                      <a:off x="-3846513" y="4752975"/>
                      <a:ext cx="280988" cy="285750"/>
                    </a:xfrm>
                    <a:custGeom>
                      <a:avLst/>
                      <a:gdLst>
                        <a:gd name="T0" fmla="*/ 33 w 66"/>
                        <a:gd name="T1" fmla="*/ 67 h 67"/>
                        <a:gd name="T2" fmla="*/ 33 w 66"/>
                        <a:gd name="T3" fmla="*/ 67 h 67"/>
                        <a:gd name="T4" fmla="*/ 27 w 66"/>
                        <a:gd name="T5" fmla="*/ 61 h 67"/>
                        <a:gd name="T6" fmla="*/ 33 w 66"/>
                        <a:gd name="T7" fmla="*/ 55 h 67"/>
                        <a:gd name="T8" fmla="*/ 48 w 66"/>
                        <a:gd name="T9" fmla="*/ 50 h 67"/>
                        <a:gd name="T10" fmla="*/ 53 w 66"/>
                        <a:gd name="T11" fmla="*/ 41 h 67"/>
                        <a:gd name="T12" fmla="*/ 48 w 66"/>
                        <a:gd name="T13" fmla="*/ 44 h 67"/>
                        <a:gd name="T14" fmla="*/ 41 w 66"/>
                        <a:gd name="T15" fmla="*/ 43 h 67"/>
                        <a:gd name="T16" fmla="*/ 39 w 66"/>
                        <a:gd name="T17" fmla="*/ 37 h 67"/>
                        <a:gd name="T18" fmla="*/ 39 w 66"/>
                        <a:gd name="T19" fmla="*/ 34 h 67"/>
                        <a:gd name="T20" fmla="*/ 33 w 66"/>
                        <a:gd name="T21" fmla="*/ 16 h 67"/>
                        <a:gd name="T22" fmla="*/ 27 w 66"/>
                        <a:gd name="T23" fmla="*/ 34 h 67"/>
                        <a:gd name="T24" fmla="*/ 27 w 66"/>
                        <a:gd name="T25" fmla="*/ 37 h 67"/>
                        <a:gd name="T26" fmla="*/ 24 w 66"/>
                        <a:gd name="T27" fmla="*/ 43 h 67"/>
                        <a:gd name="T28" fmla="*/ 18 w 66"/>
                        <a:gd name="T29" fmla="*/ 44 h 67"/>
                        <a:gd name="T30" fmla="*/ 13 w 66"/>
                        <a:gd name="T31" fmla="*/ 41 h 67"/>
                        <a:gd name="T32" fmla="*/ 18 w 66"/>
                        <a:gd name="T33" fmla="*/ 50 h 67"/>
                        <a:gd name="T34" fmla="*/ 18 w 66"/>
                        <a:gd name="T35" fmla="*/ 58 h 67"/>
                        <a:gd name="T36" fmla="*/ 9 w 66"/>
                        <a:gd name="T37" fmla="*/ 58 h 67"/>
                        <a:gd name="T38" fmla="*/ 0 w 66"/>
                        <a:gd name="T39" fmla="*/ 34 h 67"/>
                        <a:gd name="T40" fmla="*/ 6 w 66"/>
                        <a:gd name="T41" fmla="*/ 28 h 67"/>
                        <a:gd name="T42" fmla="*/ 15 w 66"/>
                        <a:gd name="T43" fmla="*/ 30 h 67"/>
                        <a:gd name="T44" fmla="*/ 29 w 66"/>
                        <a:gd name="T45" fmla="*/ 3 h 67"/>
                        <a:gd name="T46" fmla="*/ 37 w 66"/>
                        <a:gd name="T47" fmla="*/ 3 h 67"/>
                        <a:gd name="T48" fmla="*/ 51 w 66"/>
                        <a:gd name="T49" fmla="*/ 30 h 67"/>
                        <a:gd name="T50" fmla="*/ 60 w 66"/>
                        <a:gd name="T51" fmla="*/ 28 h 67"/>
                        <a:gd name="T52" fmla="*/ 66 w 66"/>
                        <a:gd name="T53" fmla="*/ 34 h 67"/>
                        <a:gd name="T54" fmla="*/ 57 w 66"/>
                        <a:gd name="T55" fmla="*/ 58 h 67"/>
                        <a:gd name="T56" fmla="*/ 33 w 66"/>
                        <a:gd name="T5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67">
                          <a:moveTo>
                            <a:pt x="33" y="67"/>
                          </a:moveTo>
                          <a:cubicBezTo>
                            <a:pt x="33" y="67"/>
                            <a:pt x="33" y="67"/>
                            <a:pt x="33" y="67"/>
                          </a:cubicBezTo>
                          <a:cubicBezTo>
                            <a:pt x="30" y="67"/>
                            <a:pt x="27" y="65"/>
                            <a:pt x="27" y="61"/>
                          </a:cubicBezTo>
                          <a:cubicBezTo>
                            <a:pt x="27" y="58"/>
                            <a:pt x="30" y="55"/>
                            <a:pt x="33" y="55"/>
                          </a:cubicBezTo>
                          <a:cubicBezTo>
                            <a:pt x="33" y="55"/>
                            <a:pt x="43" y="55"/>
                            <a:pt x="48" y="50"/>
                          </a:cubicBezTo>
                          <a:cubicBezTo>
                            <a:pt x="51" y="47"/>
                            <a:pt x="52" y="44"/>
                            <a:pt x="53" y="41"/>
                          </a:cubicBezTo>
                          <a:cubicBezTo>
                            <a:pt x="51" y="42"/>
                            <a:pt x="49" y="43"/>
                            <a:pt x="48" y="44"/>
                          </a:cubicBezTo>
                          <a:cubicBezTo>
                            <a:pt x="46" y="45"/>
                            <a:pt x="43" y="45"/>
                            <a:pt x="41" y="43"/>
                          </a:cubicBezTo>
                          <a:cubicBezTo>
                            <a:pt x="40" y="42"/>
                            <a:pt x="39" y="40"/>
                            <a:pt x="39" y="37"/>
                          </a:cubicBezTo>
                          <a:cubicBezTo>
                            <a:pt x="39" y="36"/>
                            <a:pt x="39" y="35"/>
                            <a:pt x="39" y="34"/>
                          </a:cubicBezTo>
                          <a:cubicBezTo>
                            <a:pt x="39" y="27"/>
                            <a:pt x="36" y="21"/>
                            <a:pt x="33" y="16"/>
                          </a:cubicBezTo>
                          <a:cubicBezTo>
                            <a:pt x="30" y="21"/>
                            <a:pt x="27" y="27"/>
                            <a:pt x="27" y="34"/>
                          </a:cubicBezTo>
                          <a:cubicBezTo>
                            <a:pt x="27" y="35"/>
                            <a:pt x="27" y="36"/>
                            <a:pt x="27" y="37"/>
                          </a:cubicBezTo>
                          <a:cubicBezTo>
                            <a:pt x="27" y="40"/>
                            <a:pt x="26" y="42"/>
                            <a:pt x="24" y="43"/>
                          </a:cubicBezTo>
                          <a:cubicBezTo>
                            <a:pt x="23" y="45"/>
                            <a:pt x="20" y="45"/>
                            <a:pt x="18" y="44"/>
                          </a:cubicBezTo>
                          <a:cubicBezTo>
                            <a:pt x="16" y="43"/>
                            <a:pt x="15" y="42"/>
                            <a:pt x="13" y="41"/>
                          </a:cubicBezTo>
                          <a:cubicBezTo>
                            <a:pt x="14" y="44"/>
                            <a:pt x="15" y="47"/>
                            <a:pt x="18" y="50"/>
                          </a:cubicBezTo>
                          <a:cubicBezTo>
                            <a:pt x="20" y="52"/>
                            <a:pt x="20" y="56"/>
                            <a:pt x="18" y="58"/>
                          </a:cubicBezTo>
                          <a:cubicBezTo>
                            <a:pt x="15" y="60"/>
                            <a:pt x="12" y="60"/>
                            <a:pt x="9" y="58"/>
                          </a:cubicBezTo>
                          <a:cubicBezTo>
                            <a:pt x="0" y="49"/>
                            <a:pt x="0" y="35"/>
                            <a:pt x="0" y="34"/>
                          </a:cubicBezTo>
                          <a:cubicBezTo>
                            <a:pt x="0" y="31"/>
                            <a:pt x="3" y="28"/>
                            <a:pt x="6" y="28"/>
                          </a:cubicBezTo>
                          <a:cubicBezTo>
                            <a:pt x="6" y="28"/>
                            <a:pt x="10" y="28"/>
                            <a:pt x="15" y="30"/>
                          </a:cubicBezTo>
                          <a:cubicBezTo>
                            <a:pt x="17" y="14"/>
                            <a:pt x="28" y="3"/>
                            <a:pt x="29" y="3"/>
                          </a:cubicBezTo>
                          <a:cubicBezTo>
                            <a:pt x="31" y="0"/>
                            <a:pt x="35" y="0"/>
                            <a:pt x="37" y="3"/>
                          </a:cubicBezTo>
                          <a:cubicBezTo>
                            <a:pt x="38" y="3"/>
                            <a:pt x="49" y="14"/>
                            <a:pt x="51" y="30"/>
                          </a:cubicBezTo>
                          <a:cubicBezTo>
                            <a:pt x="56" y="28"/>
                            <a:pt x="60" y="28"/>
                            <a:pt x="60" y="28"/>
                          </a:cubicBezTo>
                          <a:cubicBezTo>
                            <a:pt x="63" y="28"/>
                            <a:pt x="66" y="31"/>
                            <a:pt x="66" y="34"/>
                          </a:cubicBezTo>
                          <a:cubicBezTo>
                            <a:pt x="66" y="35"/>
                            <a:pt x="66" y="49"/>
                            <a:pt x="57" y="58"/>
                          </a:cubicBezTo>
                          <a:cubicBezTo>
                            <a:pt x="48" y="67"/>
                            <a:pt x="34" y="67"/>
                            <a:pt x="3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8" name="Freeform 71">
                      <a:extLst>
                        <a:ext uri="{FF2B5EF4-FFF2-40B4-BE49-F238E27FC236}">
                          <a16:creationId xmlns:a16="http://schemas.microsoft.com/office/drawing/2014/main" id="{93081405-5A40-4EBF-97FA-35F104F0DCA0}"/>
                        </a:ext>
                      </a:extLst>
                    </p:cNvPr>
                    <p:cNvSpPr>
                      <a:spLocks/>
                    </p:cNvSpPr>
                    <p:nvPr/>
                  </p:nvSpPr>
                  <p:spPr bwMode="auto">
                    <a:xfrm>
                      <a:off x="-3311525" y="4752975"/>
                      <a:ext cx="279400" cy="285750"/>
                    </a:xfrm>
                    <a:custGeom>
                      <a:avLst/>
                      <a:gdLst>
                        <a:gd name="T0" fmla="*/ 33 w 66"/>
                        <a:gd name="T1" fmla="*/ 67 h 67"/>
                        <a:gd name="T2" fmla="*/ 33 w 66"/>
                        <a:gd name="T3" fmla="*/ 67 h 67"/>
                        <a:gd name="T4" fmla="*/ 27 w 66"/>
                        <a:gd name="T5" fmla="*/ 61 h 67"/>
                        <a:gd name="T6" fmla="*/ 33 w 66"/>
                        <a:gd name="T7" fmla="*/ 55 h 67"/>
                        <a:gd name="T8" fmla="*/ 48 w 66"/>
                        <a:gd name="T9" fmla="*/ 50 h 67"/>
                        <a:gd name="T10" fmla="*/ 53 w 66"/>
                        <a:gd name="T11" fmla="*/ 41 h 67"/>
                        <a:gd name="T12" fmla="*/ 48 w 66"/>
                        <a:gd name="T13" fmla="*/ 44 h 67"/>
                        <a:gd name="T14" fmla="*/ 42 w 66"/>
                        <a:gd name="T15" fmla="*/ 43 h 67"/>
                        <a:gd name="T16" fmla="*/ 39 w 66"/>
                        <a:gd name="T17" fmla="*/ 37 h 67"/>
                        <a:gd name="T18" fmla="*/ 39 w 66"/>
                        <a:gd name="T19" fmla="*/ 34 h 67"/>
                        <a:gd name="T20" fmla="*/ 33 w 66"/>
                        <a:gd name="T21" fmla="*/ 16 h 67"/>
                        <a:gd name="T22" fmla="*/ 27 w 66"/>
                        <a:gd name="T23" fmla="*/ 34 h 67"/>
                        <a:gd name="T24" fmla="*/ 27 w 66"/>
                        <a:gd name="T25" fmla="*/ 37 h 67"/>
                        <a:gd name="T26" fmla="*/ 25 w 66"/>
                        <a:gd name="T27" fmla="*/ 43 h 67"/>
                        <a:gd name="T28" fmla="*/ 18 w 66"/>
                        <a:gd name="T29" fmla="*/ 44 h 67"/>
                        <a:gd name="T30" fmla="*/ 13 w 66"/>
                        <a:gd name="T31" fmla="*/ 41 h 67"/>
                        <a:gd name="T32" fmla="*/ 18 w 66"/>
                        <a:gd name="T33" fmla="*/ 50 h 67"/>
                        <a:gd name="T34" fmla="*/ 18 w 66"/>
                        <a:gd name="T35" fmla="*/ 58 h 67"/>
                        <a:gd name="T36" fmla="*/ 9 w 66"/>
                        <a:gd name="T37" fmla="*/ 58 h 67"/>
                        <a:gd name="T38" fmla="*/ 0 w 66"/>
                        <a:gd name="T39" fmla="*/ 34 h 67"/>
                        <a:gd name="T40" fmla="*/ 6 w 66"/>
                        <a:gd name="T41" fmla="*/ 28 h 67"/>
                        <a:gd name="T42" fmla="*/ 6 w 66"/>
                        <a:gd name="T43" fmla="*/ 28 h 67"/>
                        <a:gd name="T44" fmla="*/ 15 w 66"/>
                        <a:gd name="T45" fmla="*/ 30 h 67"/>
                        <a:gd name="T46" fmla="*/ 29 w 66"/>
                        <a:gd name="T47" fmla="*/ 3 h 67"/>
                        <a:gd name="T48" fmla="*/ 37 w 66"/>
                        <a:gd name="T49" fmla="*/ 3 h 67"/>
                        <a:gd name="T50" fmla="*/ 51 w 66"/>
                        <a:gd name="T51" fmla="*/ 30 h 67"/>
                        <a:gd name="T52" fmla="*/ 60 w 66"/>
                        <a:gd name="T53" fmla="*/ 28 h 67"/>
                        <a:gd name="T54" fmla="*/ 60 w 66"/>
                        <a:gd name="T55" fmla="*/ 28 h 67"/>
                        <a:gd name="T56" fmla="*/ 66 w 66"/>
                        <a:gd name="T57" fmla="*/ 34 h 67"/>
                        <a:gd name="T58" fmla="*/ 57 w 66"/>
                        <a:gd name="T59" fmla="*/ 58 h 67"/>
                        <a:gd name="T60" fmla="*/ 33 w 66"/>
                        <a:gd name="T6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67">
                          <a:moveTo>
                            <a:pt x="33" y="67"/>
                          </a:moveTo>
                          <a:cubicBezTo>
                            <a:pt x="33" y="67"/>
                            <a:pt x="33" y="67"/>
                            <a:pt x="33" y="67"/>
                          </a:cubicBezTo>
                          <a:cubicBezTo>
                            <a:pt x="30" y="67"/>
                            <a:pt x="27" y="65"/>
                            <a:pt x="27" y="61"/>
                          </a:cubicBezTo>
                          <a:cubicBezTo>
                            <a:pt x="27" y="58"/>
                            <a:pt x="30" y="55"/>
                            <a:pt x="33" y="55"/>
                          </a:cubicBezTo>
                          <a:cubicBezTo>
                            <a:pt x="33" y="55"/>
                            <a:pt x="43" y="55"/>
                            <a:pt x="48" y="50"/>
                          </a:cubicBezTo>
                          <a:cubicBezTo>
                            <a:pt x="51" y="47"/>
                            <a:pt x="52" y="44"/>
                            <a:pt x="53" y="41"/>
                          </a:cubicBezTo>
                          <a:cubicBezTo>
                            <a:pt x="51" y="42"/>
                            <a:pt x="50" y="43"/>
                            <a:pt x="48" y="44"/>
                          </a:cubicBezTo>
                          <a:cubicBezTo>
                            <a:pt x="46" y="45"/>
                            <a:pt x="44" y="45"/>
                            <a:pt x="42" y="43"/>
                          </a:cubicBezTo>
                          <a:cubicBezTo>
                            <a:pt x="40" y="42"/>
                            <a:pt x="39" y="40"/>
                            <a:pt x="39" y="37"/>
                          </a:cubicBezTo>
                          <a:cubicBezTo>
                            <a:pt x="39" y="36"/>
                            <a:pt x="39" y="35"/>
                            <a:pt x="39" y="34"/>
                          </a:cubicBezTo>
                          <a:cubicBezTo>
                            <a:pt x="39" y="27"/>
                            <a:pt x="36" y="21"/>
                            <a:pt x="33" y="16"/>
                          </a:cubicBezTo>
                          <a:cubicBezTo>
                            <a:pt x="30" y="21"/>
                            <a:pt x="27" y="27"/>
                            <a:pt x="27" y="34"/>
                          </a:cubicBezTo>
                          <a:cubicBezTo>
                            <a:pt x="27" y="35"/>
                            <a:pt x="27" y="36"/>
                            <a:pt x="27" y="37"/>
                          </a:cubicBezTo>
                          <a:cubicBezTo>
                            <a:pt x="28" y="40"/>
                            <a:pt x="27" y="42"/>
                            <a:pt x="25" y="43"/>
                          </a:cubicBezTo>
                          <a:cubicBezTo>
                            <a:pt x="23" y="45"/>
                            <a:pt x="20" y="45"/>
                            <a:pt x="18" y="44"/>
                          </a:cubicBezTo>
                          <a:cubicBezTo>
                            <a:pt x="17" y="43"/>
                            <a:pt x="15" y="42"/>
                            <a:pt x="13" y="41"/>
                          </a:cubicBezTo>
                          <a:cubicBezTo>
                            <a:pt x="14" y="44"/>
                            <a:pt x="15" y="47"/>
                            <a:pt x="18" y="50"/>
                          </a:cubicBezTo>
                          <a:cubicBezTo>
                            <a:pt x="20" y="52"/>
                            <a:pt x="20" y="56"/>
                            <a:pt x="18" y="58"/>
                          </a:cubicBezTo>
                          <a:cubicBezTo>
                            <a:pt x="15" y="60"/>
                            <a:pt x="12" y="60"/>
                            <a:pt x="9" y="58"/>
                          </a:cubicBezTo>
                          <a:cubicBezTo>
                            <a:pt x="0" y="49"/>
                            <a:pt x="0" y="35"/>
                            <a:pt x="0" y="34"/>
                          </a:cubicBezTo>
                          <a:cubicBezTo>
                            <a:pt x="0" y="31"/>
                            <a:pt x="3" y="28"/>
                            <a:pt x="6" y="28"/>
                          </a:cubicBezTo>
                          <a:cubicBezTo>
                            <a:pt x="6" y="28"/>
                            <a:pt x="6" y="28"/>
                            <a:pt x="6" y="28"/>
                          </a:cubicBezTo>
                          <a:cubicBezTo>
                            <a:pt x="7" y="28"/>
                            <a:pt x="11" y="28"/>
                            <a:pt x="15" y="30"/>
                          </a:cubicBezTo>
                          <a:cubicBezTo>
                            <a:pt x="17" y="14"/>
                            <a:pt x="28" y="3"/>
                            <a:pt x="29" y="3"/>
                          </a:cubicBezTo>
                          <a:cubicBezTo>
                            <a:pt x="31" y="0"/>
                            <a:pt x="35" y="0"/>
                            <a:pt x="37" y="3"/>
                          </a:cubicBezTo>
                          <a:cubicBezTo>
                            <a:pt x="38" y="3"/>
                            <a:pt x="49" y="14"/>
                            <a:pt x="51" y="30"/>
                          </a:cubicBezTo>
                          <a:cubicBezTo>
                            <a:pt x="56" y="28"/>
                            <a:pt x="59" y="28"/>
                            <a:pt x="60" y="28"/>
                          </a:cubicBezTo>
                          <a:cubicBezTo>
                            <a:pt x="60" y="28"/>
                            <a:pt x="60" y="28"/>
                            <a:pt x="60" y="28"/>
                          </a:cubicBezTo>
                          <a:cubicBezTo>
                            <a:pt x="63" y="28"/>
                            <a:pt x="66" y="31"/>
                            <a:pt x="66" y="34"/>
                          </a:cubicBezTo>
                          <a:cubicBezTo>
                            <a:pt x="66" y="35"/>
                            <a:pt x="66" y="49"/>
                            <a:pt x="57" y="58"/>
                          </a:cubicBezTo>
                          <a:cubicBezTo>
                            <a:pt x="48" y="67"/>
                            <a:pt x="34" y="67"/>
                            <a:pt x="3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9" name="Freeform 74">
                      <a:extLst>
                        <a:ext uri="{FF2B5EF4-FFF2-40B4-BE49-F238E27FC236}">
                          <a16:creationId xmlns:a16="http://schemas.microsoft.com/office/drawing/2014/main" id="{076C7CE6-DA7F-4401-BF7D-09D1D4070483}"/>
                        </a:ext>
                      </a:extLst>
                    </p:cNvPr>
                    <p:cNvSpPr>
                      <a:spLocks/>
                    </p:cNvSpPr>
                    <p:nvPr/>
                  </p:nvSpPr>
                  <p:spPr bwMode="auto">
                    <a:xfrm>
                      <a:off x="-2776538" y="4752975"/>
                      <a:ext cx="279400" cy="285750"/>
                    </a:xfrm>
                    <a:custGeom>
                      <a:avLst/>
                      <a:gdLst>
                        <a:gd name="T0" fmla="*/ 33 w 66"/>
                        <a:gd name="T1" fmla="*/ 67 h 67"/>
                        <a:gd name="T2" fmla="*/ 33 w 66"/>
                        <a:gd name="T3" fmla="*/ 67 h 67"/>
                        <a:gd name="T4" fmla="*/ 27 w 66"/>
                        <a:gd name="T5" fmla="*/ 61 h 67"/>
                        <a:gd name="T6" fmla="*/ 33 w 66"/>
                        <a:gd name="T7" fmla="*/ 55 h 67"/>
                        <a:gd name="T8" fmla="*/ 48 w 66"/>
                        <a:gd name="T9" fmla="*/ 50 h 67"/>
                        <a:gd name="T10" fmla="*/ 53 w 66"/>
                        <a:gd name="T11" fmla="*/ 41 h 67"/>
                        <a:gd name="T12" fmla="*/ 48 w 66"/>
                        <a:gd name="T13" fmla="*/ 44 h 67"/>
                        <a:gd name="T14" fmla="*/ 42 w 66"/>
                        <a:gd name="T15" fmla="*/ 43 h 67"/>
                        <a:gd name="T16" fmla="*/ 39 w 66"/>
                        <a:gd name="T17" fmla="*/ 37 h 67"/>
                        <a:gd name="T18" fmla="*/ 39 w 66"/>
                        <a:gd name="T19" fmla="*/ 34 h 67"/>
                        <a:gd name="T20" fmla="*/ 33 w 66"/>
                        <a:gd name="T21" fmla="*/ 16 h 67"/>
                        <a:gd name="T22" fmla="*/ 27 w 66"/>
                        <a:gd name="T23" fmla="*/ 34 h 67"/>
                        <a:gd name="T24" fmla="*/ 27 w 66"/>
                        <a:gd name="T25" fmla="*/ 37 h 67"/>
                        <a:gd name="T26" fmla="*/ 25 w 66"/>
                        <a:gd name="T27" fmla="*/ 43 h 67"/>
                        <a:gd name="T28" fmla="*/ 18 w 66"/>
                        <a:gd name="T29" fmla="*/ 44 h 67"/>
                        <a:gd name="T30" fmla="*/ 13 w 66"/>
                        <a:gd name="T31" fmla="*/ 41 h 67"/>
                        <a:gd name="T32" fmla="*/ 18 w 66"/>
                        <a:gd name="T33" fmla="*/ 50 h 67"/>
                        <a:gd name="T34" fmla="*/ 18 w 66"/>
                        <a:gd name="T35" fmla="*/ 58 h 67"/>
                        <a:gd name="T36" fmla="*/ 9 w 66"/>
                        <a:gd name="T37" fmla="*/ 58 h 67"/>
                        <a:gd name="T38" fmla="*/ 0 w 66"/>
                        <a:gd name="T39" fmla="*/ 34 h 67"/>
                        <a:gd name="T40" fmla="*/ 6 w 66"/>
                        <a:gd name="T41" fmla="*/ 28 h 67"/>
                        <a:gd name="T42" fmla="*/ 6 w 66"/>
                        <a:gd name="T43" fmla="*/ 28 h 67"/>
                        <a:gd name="T44" fmla="*/ 15 w 66"/>
                        <a:gd name="T45" fmla="*/ 30 h 67"/>
                        <a:gd name="T46" fmla="*/ 29 w 66"/>
                        <a:gd name="T47" fmla="*/ 3 h 67"/>
                        <a:gd name="T48" fmla="*/ 37 w 66"/>
                        <a:gd name="T49" fmla="*/ 3 h 67"/>
                        <a:gd name="T50" fmla="*/ 51 w 66"/>
                        <a:gd name="T51" fmla="*/ 30 h 67"/>
                        <a:gd name="T52" fmla="*/ 60 w 66"/>
                        <a:gd name="T53" fmla="*/ 28 h 67"/>
                        <a:gd name="T54" fmla="*/ 60 w 66"/>
                        <a:gd name="T55" fmla="*/ 28 h 67"/>
                        <a:gd name="T56" fmla="*/ 66 w 66"/>
                        <a:gd name="T57" fmla="*/ 34 h 67"/>
                        <a:gd name="T58" fmla="*/ 57 w 66"/>
                        <a:gd name="T59" fmla="*/ 58 h 67"/>
                        <a:gd name="T60" fmla="*/ 33 w 66"/>
                        <a:gd name="T6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67">
                          <a:moveTo>
                            <a:pt x="33" y="67"/>
                          </a:moveTo>
                          <a:cubicBezTo>
                            <a:pt x="33" y="67"/>
                            <a:pt x="33" y="67"/>
                            <a:pt x="33" y="67"/>
                          </a:cubicBezTo>
                          <a:cubicBezTo>
                            <a:pt x="30" y="67"/>
                            <a:pt x="27" y="65"/>
                            <a:pt x="27" y="61"/>
                          </a:cubicBezTo>
                          <a:cubicBezTo>
                            <a:pt x="27" y="58"/>
                            <a:pt x="30" y="55"/>
                            <a:pt x="33" y="55"/>
                          </a:cubicBezTo>
                          <a:cubicBezTo>
                            <a:pt x="33" y="55"/>
                            <a:pt x="43" y="55"/>
                            <a:pt x="48" y="50"/>
                          </a:cubicBezTo>
                          <a:cubicBezTo>
                            <a:pt x="51" y="47"/>
                            <a:pt x="52" y="44"/>
                            <a:pt x="53" y="41"/>
                          </a:cubicBezTo>
                          <a:cubicBezTo>
                            <a:pt x="51" y="42"/>
                            <a:pt x="50" y="43"/>
                            <a:pt x="48" y="44"/>
                          </a:cubicBezTo>
                          <a:cubicBezTo>
                            <a:pt x="46" y="45"/>
                            <a:pt x="44" y="45"/>
                            <a:pt x="42" y="43"/>
                          </a:cubicBezTo>
                          <a:cubicBezTo>
                            <a:pt x="40" y="42"/>
                            <a:pt x="39" y="40"/>
                            <a:pt x="39" y="37"/>
                          </a:cubicBezTo>
                          <a:cubicBezTo>
                            <a:pt x="39" y="36"/>
                            <a:pt x="39" y="35"/>
                            <a:pt x="39" y="34"/>
                          </a:cubicBezTo>
                          <a:cubicBezTo>
                            <a:pt x="39" y="27"/>
                            <a:pt x="36" y="21"/>
                            <a:pt x="33" y="16"/>
                          </a:cubicBezTo>
                          <a:cubicBezTo>
                            <a:pt x="30" y="21"/>
                            <a:pt x="27" y="27"/>
                            <a:pt x="27" y="34"/>
                          </a:cubicBezTo>
                          <a:cubicBezTo>
                            <a:pt x="27" y="35"/>
                            <a:pt x="27" y="36"/>
                            <a:pt x="27" y="37"/>
                          </a:cubicBezTo>
                          <a:cubicBezTo>
                            <a:pt x="28" y="40"/>
                            <a:pt x="27" y="42"/>
                            <a:pt x="25" y="43"/>
                          </a:cubicBezTo>
                          <a:cubicBezTo>
                            <a:pt x="23" y="45"/>
                            <a:pt x="20" y="45"/>
                            <a:pt x="18" y="44"/>
                          </a:cubicBezTo>
                          <a:cubicBezTo>
                            <a:pt x="17" y="43"/>
                            <a:pt x="15" y="42"/>
                            <a:pt x="13" y="41"/>
                          </a:cubicBezTo>
                          <a:cubicBezTo>
                            <a:pt x="14" y="44"/>
                            <a:pt x="15" y="47"/>
                            <a:pt x="18" y="50"/>
                          </a:cubicBezTo>
                          <a:cubicBezTo>
                            <a:pt x="20" y="52"/>
                            <a:pt x="20" y="56"/>
                            <a:pt x="18" y="58"/>
                          </a:cubicBezTo>
                          <a:cubicBezTo>
                            <a:pt x="15" y="60"/>
                            <a:pt x="12" y="60"/>
                            <a:pt x="9" y="58"/>
                          </a:cubicBezTo>
                          <a:cubicBezTo>
                            <a:pt x="0" y="49"/>
                            <a:pt x="0" y="35"/>
                            <a:pt x="0" y="34"/>
                          </a:cubicBezTo>
                          <a:cubicBezTo>
                            <a:pt x="0" y="31"/>
                            <a:pt x="3" y="28"/>
                            <a:pt x="6" y="28"/>
                          </a:cubicBezTo>
                          <a:cubicBezTo>
                            <a:pt x="6" y="28"/>
                            <a:pt x="6" y="28"/>
                            <a:pt x="6" y="28"/>
                          </a:cubicBezTo>
                          <a:cubicBezTo>
                            <a:pt x="7" y="28"/>
                            <a:pt x="11" y="28"/>
                            <a:pt x="15" y="30"/>
                          </a:cubicBezTo>
                          <a:cubicBezTo>
                            <a:pt x="17" y="14"/>
                            <a:pt x="28" y="3"/>
                            <a:pt x="29" y="3"/>
                          </a:cubicBezTo>
                          <a:cubicBezTo>
                            <a:pt x="31" y="0"/>
                            <a:pt x="35" y="0"/>
                            <a:pt x="37" y="3"/>
                          </a:cubicBezTo>
                          <a:cubicBezTo>
                            <a:pt x="38" y="3"/>
                            <a:pt x="49" y="14"/>
                            <a:pt x="51" y="30"/>
                          </a:cubicBezTo>
                          <a:cubicBezTo>
                            <a:pt x="56" y="28"/>
                            <a:pt x="59" y="28"/>
                            <a:pt x="60" y="28"/>
                          </a:cubicBezTo>
                          <a:cubicBezTo>
                            <a:pt x="60" y="28"/>
                            <a:pt x="60" y="28"/>
                            <a:pt x="60" y="28"/>
                          </a:cubicBezTo>
                          <a:cubicBezTo>
                            <a:pt x="63" y="28"/>
                            <a:pt x="66" y="31"/>
                            <a:pt x="66" y="34"/>
                          </a:cubicBezTo>
                          <a:cubicBezTo>
                            <a:pt x="66" y="35"/>
                            <a:pt x="66" y="49"/>
                            <a:pt x="57" y="58"/>
                          </a:cubicBezTo>
                          <a:cubicBezTo>
                            <a:pt x="48" y="67"/>
                            <a:pt x="34" y="67"/>
                            <a:pt x="3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77">
                      <a:extLst>
                        <a:ext uri="{FF2B5EF4-FFF2-40B4-BE49-F238E27FC236}">
                          <a16:creationId xmlns:a16="http://schemas.microsoft.com/office/drawing/2014/main" id="{37A46E58-2444-4AE5-98CB-B9440D8694B3}"/>
                        </a:ext>
                      </a:extLst>
                    </p:cNvPr>
                    <p:cNvSpPr>
                      <a:spLocks/>
                    </p:cNvSpPr>
                    <p:nvPr/>
                  </p:nvSpPr>
                  <p:spPr bwMode="auto">
                    <a:xfrm>
                      <a:off x="-2246313" y="4752975"/>
                      <a:ext cx="279400" cy="285750"/>
                    </a:xfrm>
                    <a:custGeom>
                      <a:avLst/>
                      <a:gdLst>
                        <a:gd name="T0" fmla="*/ 33 w 66"/>
                        <a:gd name="T1" fmla="*/ 67 h 67"/>
                        <a:gd name="T2" fmla="*/ 33 w 66"/>
                        <a:gd name="T3" fmla="*/ 67 h 67"/>
                        <a:gd name="T4" fmla="*/ 27 w 66"/>
                        <a:gd name="T5" fmla="*/ 61 h 67"/>
                        <a:gd name="T6" fmla="*/ 33 w 66"/>
                        <a:gd name="T7" fmla="*/ 55 h 67"/>
                        <a:gd name="T8" fmla="*/ 49 w 66"/>
                        <a:gd name="T9" fmla="*/ 50 h 67"/>
                        <a:gd name="T10" fmla="*/ 53 w 66"/>
                        <a:gd name="T11" fmla="*/ 41 h 67"/>
                        <a:gd name="T12" fmla="*/ 48 w 66"/>
                        <a:gd name="T13" fmla="*/ 44 h 67"/>
                        <a:gd name="T14" fmla="*/ 42 w 66"/>
                        <a:gd name="T15" fmla="*/ 43 h 67"/>
                        <a:gd name="T16" fmla="*/ 39 w 66"/>
                        <a:gd name="T17" fmla="*/ 37 h 67"/>
                        <a:gd name="T18" fmla="*/ 40 w 66"/>
                        <a:gd name="T19" fmla="*/ 34 h 67"/>
                        <a:gd name="T20" fmla="*/ 33 w 66"/>
                        <a:gd name="T21" fmla="*/ 16 h 67"/>
                        <a:gd name="T22" fmla="*/ 27 w 66"/>
                        <a:gd name="T23" fmla="*/ 34 h 67"/>
                        <a:gd name="T24" fmla="*/ 28 w 66"/>
                        <a:gd name="T25" fmla="*/ 37 h 67"/>
                        <a:gd name="T26" fmla="*/ 25 w 66"/>
                        <a:gd name="T27" fmla="*/ 43 h 67"/>
                        <a:gd name="T28" fmla="*/ 19 w 66"/>
                        <a:gd name="T29" fmla="*/ 44 h 67"/>
                        <a:gd name="T30" fmla="*/ 14 w 66"/>
                        <a:gd name="T31" fmla="*/ 41 h 67"/>
                        <a:gd name="T32" fmla="*/ 18 w 66"/>
                        <a:gd name="T33" fmla="*/ 50 h 67"/>
                        <a:gd name="T34" fmla="*/ 18 w 66"/>
                        <a:gd name="T35" fmla="*/ 58 h 67"/>
                        <a:gd name="T36" fmla="*/ 10 w 66"/>
                        <a:gd name="T37" fmla="*/ 58 h 67"/>
                        <a:gd name="T38" fmla="*/ 0 w 66"/>
                        <a:gd name="T39" fmla="*/ 34 h 67"/>
                        <a:gd name="T40" fmla="*/ 6 w 66"/>
                        <a:gd name="T41" fmla="*/ 28 h 67"/>
                        <a:gd name="T42" fmla="*/ 6 w 66"/>
                        <a:gd name="T43" fmla="*/ 28 h 67"/>
                        <a:gd name="T44" fmla="*/ 16 w 66"/>
                        <a:gd name="T45" fmla="*/ 30 h 67"/>
                        <a:gd name="T46" fmla="*/ 29 w 66"/>
                        <a:gd name="T47" fmla="*/ 3 h 67"/>
                        <a:gd name="T48" fmla="*/ 38 w 66"/>
                        <a:gd name="T49" fmla="*/ 3 h 67"/>
                        <a:gd name="T50" fmla="*/ 51 w 66"/>
                        <a:gd name="T51" fmla="*/ 30 h 67"/>
                        <a:gd name="T52" fmla="*/ 60 w 66"/>
                        <a:gd name="T53" fmla="*/ 28 h 67"/>
                        <a:gd name="T54" fmla="*/ 60 w 66"/>
                        <a:gd name="T55" fmla="*/ 28 h 67"/>
                        <a:gd name="T56" fmla="*/ 66 w 66"/>
                        <a:gd name="T57" fmla="*/ 34 h 67"/>
                        <a:gd name="T58" fmla="*/ 57 w 66"/>
                        <a:gd name="T59" fmla="*/ 58 h 67"/>
                        <a:gd name="T60" fmla="*/ 33 w 66"/>
                        <a:gd name="T6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67">
                          <a:moveTo>
                            <a:pt x="33" y="67"/>
                          </a:moveTo>
                          <a:cubicBezTo>
                            <a:pt x="33" y="67"/>
                            <a:pt x="33" y="67"/>
                            <a:pt x="33" y="67"/>
                          </a:cubicBezTo>
                          <a:cubicBezTo>
                            <a:pt x="30" y="67"/>
                            <a:pt x="27" y="65"/>
                            <a:pt x="27" y="61"/>
                          </a:cubicBezTo>
                          <a:cubicBezTo>
                            <a:pt x="27" y="58"/>
                            <a:pt x="30" y="55"/>
                            <a:pt x="33" y="55"/>
                          </a:cubicBezTo>
                          <a:cubicBezTo>
                            <a:pt x="34" y="55"/>
                            <a:pt x="43" y="55"/>
                            <a:pt x="49" y="50"/>
                          </a:cubicBezTo>
                          <a:cubicBezTo>
                            <a:pt x="51" y="47"/>
                            <a:pt x="52" y="44"/>
                            <a:pt x="53" y="41"/>
                          </a:cubicBezTo>
                          <a:cubicBezTo>
                            <a:pt x="52" y="42"/>
                            <a:pt x="50" y="43"/>
                            <a:pt x="48" y="44"/>
                          </a:cubicBezTo>
                          <a:cubicBezTo>
                            <a:pt x="46" y="45"/>
                            <a:pt x="44" y="45"/>
                            <a:pt x="42" y="43"/>
                          </a:cubicBezTo>
                          <a:cubicBezTo>
                            <a:pt x="40" y="42"/>
                            <a:pt x="39" y="40"/>
                            <a:pt x="39" y="37"/>
                          </a:cubicBezTo>
                          <a:cubicBezTo>
                            <a:pt x="40" y="36"/>
                            <a:pt x="40" y="35"/>
                            <a:pt x="40" y="34"/>
                          </a:cubicBezTo>
                          <a:cubicBezTo>
                            <a:pt x="40" y="27"/>
                            <a:pt x="36" y="21"/>
                            <a:pt x="33" y="16"/>
                          </a:cubicBezTo>
                          <a:cubicBezTo>
                            <a:pt x="31" y="21"/>
                            <a:pt x="27" y="27"/>
                            <a:pt x="27" y="34"/>
                          </a:cubicBezTo>
                          <a:cubicBezTo>
                            <a:pt x="27" y="35"/>
                            <a:pt x="27" y="36"/>
                            <a:pt x="28" y="37"/>
                          </a:cubicBezTo>
                          <a:cubicBezTo>
                            <a:pt x="28" y="40"/>
                            <a:pt x="27" y="42"/>
                            <a:pt x="25" y="43"/>
                          </a:cubicBezTo>
                          <a:cubicBezTo>
                            <a:pt x="23" y="45"/>
                            <a:pt x="21" y="45"/>
                            <a:pt x="19" y="44"/>
                          </a:cubicBezTo>
                          <a:cubicBezTo>
                            <a:pt x="17" y="43"/>
                            <a:pt x="15" y="42"/>
                            <a:pt x="14" y="41"/>
                          </a:cubicBezTo>
                          <a:cubicBezTo>
                            <a:pt x="14" y="44"/>
                            <a:pt x="16" y="47"/>
                            <a:pt x="18" y="50"/>
                          </a:cubicBezTo>
                          <a:cubicBezTo>
                            <a:pt x="20" y="52"/>
                            <a:pt x="20" y="56"/>
                            <a:pt x="18" y="58"/>
                          </a:cubicBezTo>
                          <a:cubicBezTo>
                            <a:pt x="16" y="60"/>
                            <a:pt x="12" y="60"/>
                            <a:pt x="10" y="58"/>
                          </a:cubicBezTo>
                          <a:cubicBezTo>
                            <a:pt x="1" y="49"/>
                            <a:pt x="0" y="35"/>
                            <a:pt x="0" y="34"/>
                          </a:cubicBezTo>
                          <a:cubicBezTo>
                            <a:pt x="0" y="31"/>
                            <a:pt x="3" y="28"/>
                            <a:pt x="6" y="28"/>
                          </a:cubicBezTo>
                          <a:cubicBezTo>
                            <a:pt x="6" y="28"/>
                            <a:pt x="6" y="28"/>
                            <a:pt x="6" y="28"/>
                          </a:cubicBezTo>
                          <a:cubicBezTo>
                            <a:pt x="7" y="28"/>
                            <a:pt x="11" y="28"/>
                            <a:pt x="16" y="30"/>
                          </a:cubicBezTo>
                          <a:cubicBezTo>
                            <a:pt x="18" y="14"/>
                            <a:pt x="29" y="3"/>
                            <a:pt x="29" y="3"/>
                          </a:cubicBezTo>
                          <a:cubicBezTo>
                            <a:pt x="32" y="0"/>
                            <a:pt x="35" y="0"/>
                            <a:pt x="38" y="3"/>
                          </a:cubicBezTo>
                          <a:cubicBezTo>
                            <a:pt x="38" y="3"/>
                            <a:pt x="49" y="14"/>
                            <a:pt x="51" y="30"/>
                          </a:cubicBezTo>
                          <a:cubicBezTo>
                            <a:pt x="56" y="28"/>
                            <a:pt x="60" y="28"/>
                            <a:pt x="60" y="28"/>
                          </a:cubicBezTo>
                          <a:cubicBezTo>
                            <a:pt x="60" y="28"/>
                            <a:pt x="60" y="28"/>
                            <a:pt x="60" y="28"/>
                          </a:cubicBezTo>
                          <a:cubicBezTo>
                            <a:pt x="64" y="28"/>
                            <a:pt x="66" y="31"/>
                            <a:pt x="66" y="34"/>
                          </a:cubicBezTo>
                          <a:cubicBezTo>
                            <a:pt x="66" y="35"/>
                            <a:pt x="66" y="49"/>
                            <a:pt x="57" y="58"/>
                          </a:cubicBezTo>
                          <a:cubicBezTo>
                            <a:pt x="48" y="67"/>
                            <a:pt x="34" y="67"/>
                            <a:pt x="3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1" name="Freeform 80">
                      <a:extLst>
                        <a:ext uri="{FF2B5EF4-FFF2-40B4-BE49-F238E27FC236}">
                          <a16:creationId xmlns:a16="http://schemas.microsoft.com/office/drawing/2014/main" id="{CB04EF9E-98DF-4689-A520-1D099195814B}"/>
                        </a:ext>
                      </a:extLst>
                    </p:cNvPr>
                    <p:cNvSpPr>
                      <a:spLocks/>
                    </p:cNvSpPr>
                    <p:nvPr/>
                  </p:nvSpPr>
                  <p:spPr bwMode="auto">
                    <a:xfrm>
                      <a:off x="-1711325" y="4752975"/>
                      <a:ext cx="279400" cy="285750"/>
                    </a:xfrm>
                    <a:custGeom>
                      <a:avLst/>
                      <a:gdLst>
                        <a:gd name="T0" fmla="*/ 33 w 66"/>
                        <a:gd name="T1" fmla="*/ 67 h 67"/>
                        <a:gd name="T2" fmla="*/ 33 w 66"/>
                        <a:gd name="T3" fmla="*/ 67 h 67"/>
                        <a:gd name="T4" fmla="*/ 27 w 66"/>
                        <a:gd name="T5" fmla="*/ 61 h 67"/>
                        <a:gd name="T6" fmla="*/ 33 w 66"/>
                        <a:gd name="T7" fmla="*/ 55 h 67"/>
                        <a:gd name="T8" fmla="*/ 49 w 66"/>
                        <a:gd name="T9" fmla="*/ 50 h 67"/>
                        <a:gd name="T10" fmla="*/ 53 w 66"/>
                        <a:gd name="T11" fmla="*/ 41 h 67"/>
                        <a:gd name="T12" fmla="*/ 48 w 66"/>
                        <a:gd name="T13" fmla="*/ 44 h 67"/>
                        <a:gd name="T14" fmla="*/ 42 w 66"/>
                        <a:gd name="T15" fmla="*/ 43 h 67"/>
                        <a:gd name="T16" fmla="*/ 39 w 66"/>
                        <a:gd name="T17" fmla="*/ 37 h 67"/>
                        <a:gd name="T18" fmla="*/ 40 w 66"/>
                        <a:gd name="T19" fmla="*/ 34 h 67"/>
                        <a:gd name="T20" fmla="*/ 33 w 66"/>
                        <a:gd name="T21" fmla="*/ 16 h 67"/>
                        <a:gd name="T22" fmla="*/ 27 w 66"/>
                        <a:gd name="T23" fmla="*/ 34 h 67"/>
                        <a:gd name="T24" fmla="*/ 28 w 66"/>
                        <a:gd name="T25" fmla="*/ 37 h 67"/>
                        <a:gd name="T26" fmla="*/ 25 w 66"/>
                        <a:gd name="T27" fmla="*/ 43 h 67"/>
                        <a:gd name="T28" fmla="*/ 19 w 66"/>
                        <a:gd name="T29" fmla="*/ 44 h 67"/>
                        <a:gd name="T30" fmla="*/ 14 w 66"/>
                        <a:gd name="T31" fmla="*/ 41 h 67"/>
                        <a:gd name="T32" fmla="*/ 18 w 66"/>
                        <a:gd name="T33" fmla="*/ 50 h 67"/>
                        <a:gd name="T34" fmla="*/ 18 w 66"/>
                        <a:gd name="T35" fmla="*/ 58 h 67"/>
                        <a:gd name="T36" fmla="*/ 10 w 66"/>
                        <a:gd name="T37" fmla="*/ 58 h 67"/>
                        <a:gd name="T38" fmla="*/ 0 w 66"/>
                        <a:gd name="T39" fmla="*/ 34 h 67"/>
                        <a:gd name="T40" fmla="*/ 6 w 66"/>
                        <a:gd name="T41" fmla="*/ 28 h 67"/>
                        <a:gd name="T42" fmla="*/ 6 w 66"/>
                        <a:gd name="T43" fmla="*/ 28 h 67"/>
                        <a:gd name="T44" fmla="*/ 16 w 66"/>
                        <a:gd name="T45" fmla="*/ 30 h 67"/>
                        <a:gd name="T46" fmla="*/ 29 w 66"/>
                        <a:gd name="T47" fmla="*/ 3 h 67"/>
                        <a:gd name="T48" fmla="*/ 38 w 66"/>
                        <a:gd name="T49" fmla="*/ 3 h 67"/>
                        <a:gd name="T50" fmla="*/ 51 w 66"/>
                        <a:gd name="T51" fmla="*/ 30 h 67"/>
                        <a:gd name="T52" fmla="*/ 60 w 66"/>
                        <a:gd name="T53" fmla="*/ 28 h 67"/>
                        <a:gd name="T54" fmla="*/ 60 w 66"/>
                        <a:gd name="T55" fmla="*/ 28 h 67"/>
                        <a:gd name="T56" fmla="*/ 66 w 66"/>
                        <a:gd name="T57" fmla="*/ 34 h 67"/>
                        <a:gd name="T58" fmla="*/ 57 w 66"/>
                        <a:gd name="T59" fmla="*/ 58 h 67"/>
                        <a:gd name="T60" fmla="*/ 33 w 66"/>
                        <a:gd name="T6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67">
                          <a:moveTo>
                            <a:pt x="33" y="67"/>
                          </a:moveTo>
                          <a:cubicBezTo>
                            <a:pt x="33" y="67"/>
                            <a:pt x="33" y="67"/>
                            <a:pt x="33" y="67"/>
                          </a:cubicBezTo>
                          <a:cubicBezTo>
                            <a:pt x="30" y="67"/>
                            <a:pt x="27" y="65"/>
                            <a:pt x="27" y="61"/>
                          </a:cubicBezTo>
                          <a:cubicBezTo>
                            <a:pt x="27" y="58"/>
                            <a:pt x="30" y="55"/>
                            <a:pt x="33" y="55"/>
                          </a:cubicBezTo>
                          <a:cubicBezTo>
                            <a:pt x="34" y="55"/>
                            <a:pt x="43" y="55"/>
                            <a:pt x="49" y="50"/>
                          </a:cubicBezTo>
                          <a:cubicBezTo>
                            <a:pt x="51" y="47"/>
                            <a:pt x="53" y="44"/>
                            <a:pt x="53" y="41"/>
                          </a:cubicBezTo>
                          <a:cubicBezTo>
                            <a:pt x="52" y="42"/>
                            <a:pt x="50" y="43"/>
                            <a:pt x="48" y="44"/>
                          </a:cubicBezTo>
                          <a:cubicBezTo>
                            <a:pt x="46" y="45"/>
                            <a:pt x="44" y="45"/>
                            <a:pt x="42" y="43"/>
                          </a:cubicBezTo>
                          <a:cubicBezTo>
                            <a:pt x="40" y="42"/>
                            <a:pt x="39" y="40"/>
                            <a:pt x="39" y="37"/>
                          </a:cubicBezTo>
                          <a:cubicBezTo>
                            <a:pt x="40" y="36"/>
                            <a:pt x="40" y="35"/>
                            <a:pt x="40" y="34"/>
                          </a:cubicBezTo>
                          <a:cubicBezTo>
                            <a:pt x="40" y="27"/>
                            <a:pt x="36" y="21"/>
                            <a:pt x="33" y="16"/>
                          </a:cubicBezTo>
                          <a:cubicBezTo>
                            <a:pt x="31" y="21"/>
                            <a:pt x="27" y="27"/>
                            <a:pt x="27" y="34"/>
                          </a:cubicBezTo>
                          <a:cubicBezTo>
                            <a:pt x="27" y="35"/>
                            <a:pt x="27" y="36"/>
                            <a:pt x="28" y="37"/>
                          </a:cubicBezTo>
                          <a:cubicBezTo>
                            <a:pt x="28" y="40"/>
                            <a:pt x="27" y="42"/>
                            <a:pt x="25" y="43"/>
                          </a:cubicBezTo>
                          <a:cubicBezTo>
                            <a:pt x="23" y="45"/>
                            <a:pt x="21" y="45"/>
                            <a:pt x="19" y="44"/>
                          </a:cubicBezTo>
                          <a:cubicBezTo>
                            <a:pt x="17" y="43"/>
                            <a:pt x="15" y="42"/>
                            <a:pt x="14" y="41"/>
                          </a:cubicBezTo>
                          <a:cubicBezTo>
                            <a:pt x="14" y="44"/>
                            <a:pt x="16" y="47"/>
                            <a:pt x="18" y="50"/>
                          </a:cubicBezTo>
                          <a:cubicBezTo>
                            <a:pt x="20" y="52"/>
                            <a:pt x="20" y="56"/>
                            <a:pt x="18" y="58"/>
                          </a:cubicBezTo>
                          <a:cubicBezTo>
                            <a:pt x="16" y="60"/>
                            <a:pt x="12" y="60"/>
                            <a:pt x="10" y="58"/>
                          </a:cubicBezTo>
                          <a:cubicBezTo>
                            <a:pt x="1" y="49"/>
                            <a:pt x="0" y="35"/>
                            <a:pt x="0" y="34"/>
                          </a:cubicBezTo>
                          <a:cubicBezTo>
                            <a:pt x="0" y="31"/>
                            <a:pt x="3" y="28"/>
                            <a:pt x="6" y="28"/>
                          </a:cubicBezTo>
                          <a:cubicBezTo>
                            <a:pt x="6" y="28"/>
                            <a:pt x="6" y="28"/>
                            <a:pt x="6" y="28"/>
                          </a:cubicBezTo>
                          <a:cubicBezTo>
                            <a:pt x="7" y="28"/>
                            <a:pt x="11" y="28"/>
                            <a:pt x="16" y="30"/>
                          </a:cubicBezTo>
                          <a:cubicBezTo>
                            <a:pt x="18" y="14"/>
                            <a:pt x="29" y="3"/>
                            <a:pt x="29" y="3"/>
                          </a:cubicBezTo>
                          <a:cubicBezTo>
                            <a:pt x="32" y="0"/>
                            <a:pt x="35" y="0"/>
                            <a:pt x="38" y="3"/>
                          </a:cubicBezTo>
                          <a:cubicBezTo>
                            <a:pt x="38" y="3"/>
                            <a:pt x="49" y="14"/>
                            <a:pt x="51" y="30"/>
                          </a:cubicBezTo>
                          <a:cubicBezTo>
                            <a:pt x="56" y="28"/>
                            <a:pt x="60" y="28"/>
                            <a:pt x="60" y="28"/>
                          </a:cubicBezTo>
                          <a:cubicBezTo>
                            <a:pt x="60" y="28"/>
                            <a:pt x="60" y="28"/>
                            <a:pt x="60" y="28"/>
                          </a:cubicBezTo>
                          <a:cubicBezTo>
                            <a:pt x="64" y="28"/>
                            <a:pt x="66" y="31"/>
                            <a:pt x="66" y="34"/>
                          </a:cubicBezTo>
                          <a:cubicBezTo>
                            <a:pt x="66" y="35"/>
                            <a:pt x="66" y="49"/>
                            <a:pt x="57" y="58"/>
                          </a:cubicBezTo>
                          <a:cubicBezTo>
                            <a:pt x="48" y="67"/>
                            <a:pt x="34" y="67"/>
                            <a:pt x="3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83">
                      <a:extLst>
                        <a:ext uri="{FF2B5EF4-FFF2-40B4-BE49-F238E27FC236}">
                          <a16:creationId xmlns:a16="http://schemas.microsoft.com/office/drawing/2014/main" id="{518FF3EE-2F19-4CEB-9068-AB837DAE8A08}"/>
                        </a:ext>
                      </a:extLst>
                    </p:cNvPr>
                    <p:cNvSpPr>
                      <a:spLocks/>
                    </p:cNvSpPr>
                    <p:nvPr/>
                  </p:nvSpPr>
                  <p:spPr bwMode="auto">
                    <a:xfrm>
                      <a:off x="-1177925" y="4752975"/>
                      <a:ext cx="280988" cy="285750"/>
                    </a:xfrm>
                    <a:custGeom>
                      <a:avLst/>
                      <a:gdLst>
                        <a:gd name="T0" fmla="*/ 33 w 66"/>
                        <a:gd name="T1" fmla="*/ 67 h 67"/>
                        <a:gd name="T2" fmla="*/ 33 w 66"/>
                        <a:gd name="T3" fmla="*/ 67 h 67"/>
                        <a:gd name="T4" fmla="*/ 27 w 66"/>
                        <a:gd name="T5" fmla="*/ 61 h 67"/>
                        <a:gd name="T6" fmla="*/ 33 w 66"/>
                        <a:gd name="T7" fmla="*/ 55 h 67"/>
                        <a:gd name="T8" fmla="*/ 48 w 66"/>
                        <a:gd name="T9" fmla="*/ 50 h 67"/>
                        <a:gd name="T10" fmla="*/ 53 w 66"/>
                        <a:gd name="T11" fmla="*/ 41 h 67"/>
                        <a:gd name="T12" fmla="*/ 48 w 66"/>
                        <a:gd name="T13" fmla="*/ 44 h 67"/>
                        <a:gd name="T14" fmla="*/ 41 w 66"/>
                        <a:gd name="T15" fmla="*/ 43 h 67"/>
                        <a:gd name="T16" fmla="*/ 39 w 66"/>
                        <a:gd name="T17" fmla="*/ 37 h 67"/>
                        <a:gd name="T18" fmla="*/ 39 w 66"/>
                        <a:gd name="T19" fmla="*/ 34 h 67"/>
                        <a:gd name="T20" fmla="*/ 33 w 66"/>
                        <a:gd name="T21" fmla="*/ 16 h 67"/>
                        <a:gd name="T22" fmla="*/ 27 w 66"/>
                        <a:gd name="T23" fmla="*/ 34 h 67"/>
                        <a:gd name="T24" fmla="*/ 27 w 66"/>
                        <a:gd name="T25" fmla="*/ 37 h 67"/>
                        <a:gd name="T26" fmla="*/ 24 w 66"/>
                        <a:gd name="T27" fmla="*/ 43 h 67"/>
                        <a:gd name="T28" fmla="*/ 18 w 66"/>
                        <a:gd name="T29" fmla="*/ 44 h 67"/>
                        <a:gd name="T30" fmla="*/ 13 w 66"/>
                        <a:gd name="T31" fmla="*/ 41 h 67"/>
                        <a:gd name="T32" fmla="*/ 17 w 66"/>
                        <a:gd name="T33" fmla="*/ 50 h 67"/>
                        <a:gd name="T34" fmla="*/ 17 w 66"/>
                        <a:gd name="T35" fmla="*/ 58 h 67"/>
                        <a:gd name="T36" fmla="*/ 9 w 66"/>
                        <a:gd name="T37" fmla="*/ 58 h 67"/>
                        <a:gd name="T38" fmla="*/ 0 w 66"/>
                        <a:gd name="T39" fmla="*/ 34 h 67"/>
                        <a:gd name="T40" fmla="*/ 6 w 66"/>
                        <a:gd name="T41" fmla="*/ 28 h 67"/>
                        <a:gd name="T42" fmla="*/ 6 w 66"/>
                        <a:gd name="T43" fmla="*/ 28 h 67"/>
                        <a:gd name="T44" fmla="*/ 15 w 66"/>
                        <a:gd name="T45" fmla="*/ 30 h 67"/>
                        <a:gd name="T46" fmla="*/ 29 w 66"/>
                        <a:gd name="T47" fmla="*/ 3 h 67"/>
                        <a:gd name="T48" fmla="*/ 37 w 66"/>
                        <a:gd name="T49" fmla="*/ 3 h 67"/>
                        <a:gd name="T50" fmla="*/ 51 w 66"/>
                        <a:gd name="T51" fmla="*/ 30 h 67"/>
                        <a:gd name="T52" fmla="*/ 60 w 66"/>
                        <a:gd name="T53" fmla="*/ 28 h 67"/>
                        <a:gd name="T54" fmla="*/ 60 w 66"/>
                        <a:gd name="T55" fmla="*/ 28 h 67"/>
                        <a:gd name="T56" fmla="*/ 66 w 66"/>
                        <a:gd name="T57" fmla="*/ 34 h 67"/>
                        <a:gd name="T58" fmla="*/ 57 w 66"/>
                        <a:gd name="T59" fmla="*/ 58 h 67"/>
                        <a:gd name="T60" fmla="*/ 33 w 66"/>
                        <a:gd name="T6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67">
                          <a:moveTo>
                            <a:pt x="33" y="67"/>
                          </a:moveTo>
                          <a:cubicBezTo>
                            <a:pt x="33" y="67"/>
                            <a:pt x="33" y="67"/>
                            <a:pt x="33" y="67"/>
                          </a:cubicBezTo>
                          <a:cubicBezTo>
                            <a:pt x="29" y="67"/>
                            <a:pt x="27" y="65"/>
                            <a:pt x="27" y="61"/>
                          </a:cubicBezTo>
                          <a:cubicBezTo>
                            <a:pt x="27" y="58"/>
                            <a:pt x="29" y="55"/>
                            <a:pt x="33" y="55"/>
                          </a:cubicBezTo>
                          <a:cubicBezTo>
                            <a:pt x="33" y="55"/>
                            <a:pt x="43" y="55"/>
                            <a:pt x="48" y="50"/>
                          </a:cubicBezTo>
                          <a:cubicBezTo>
                            <a:pt x="50" y="47"/>
                            <a:pt x="52" y="44"/>
                            <a:pt x="53" y="41"/>
                          </a:cubicBezTo>
                          <a:cubicBezTo>
                            <a:pt x="51" y="42"/>
                            <a:pt x="49" y="43"/>
                            <a:pt x="48" y="44"/>
                          </a:cubicBezTo>
                          <a:cubicBezTo>
                            <a:pt x="46" y="45"/>
                            <a:pt x="43" y="45"/>
                            <a:pt x="41" y="43"/>
                          </a:cubicBezTo>
                          <a:cubicBezTo>
                            <a:pt x="39" y="42"/>
                            <a:pt x="38" y="40"/>
                            <a:pt x="39" y="37"/>
                          </a:cubicBezTo>
                          <a:cubicBezTo>
                            <a:pt x="39" y="36"/>
                            <a:pt x="39" y="35"/>
                            <a:pt x="39" y="34"/>
                          </a:cubicBezTo>
                          <a:cubicBezTo>
                            <a:pt x="39" y="27"/>
                            <a:pt x="36" y="21"/>
                            <a:pt x="33" y="16"/>
                          </a:cubicBezTo>
                          <a:cubicBezTo>
                            <a:pt x="30" y="21"/>
                            <a:pt x="27" y="27"/>
                            <a:pt x="27" y="34"/>
                          </a:cubicBezTo>
                          <a:cubicBezTo>
                            <a:pt x="27" y="35"/>
                            <a:pt x="27" y="36"/>
                            <a:pt x="27" y="37"/>
                          </a:cubicBezTo>
                          <a:cubicBezTo>
                            <a:pt x="27" y="40"/>
                            <a:pt x="26" y="42"/>
                            <a:pt x="24" y="43"/>
                          </a:cubicBezTo>
                          <a:cubicBezTo>
                            <a:pt x="22" y="45"/>
                            <a:pt x="20" y="45"/>
                            <a:pt x="18" y="44"/>
                          </a:cubicBezTo>
                          <a:cubicBezTo>
                            <a:pt x="16" y="43"/>
                            <a:pt x="15" y="42"/>
                            <a:pt x="13" y="41"/>
                          </a:cubicBezTo>
                          <a:cubicBezTo>
                            <a:pt x="14" y="44"/>
                            <a:pt x="15" y="47"/>
                            <a:pt x="17" y="50"/>
                          </a:cubicBezTo>
                          <a:cubicBezTo>
                            <a:pt x="20" y="52"/>
                            <a:pt x="20" y="56"/>
                            <a:pt x="17" y="58"/>
                          </a:cubicBezTo>
                          <a:cubicBezTo>
                            <a:pt x="15" y="60"/>
                            <a:pt x="11" y="60"/>
                            <a:pt x="9" y="58"/>
                          </a:cubicBezTo>
                          <a:cubicBezTo>
                            <a:pt x="0" y="49"/>
                            <a:pt x="0" y="35"/>
                            <a:pt x="0" y="34"/>
                          </a:cubicBezTo>
                          <a:cubicBezTo>
                            <a:pt x="0" y="31"/>
                            <a:pt x="2" y="28"/>
                            <a:pt x="6" y="28"/>
                          </a:cubicBezTo>
                          <a:cubicBezTo>
                            <a:pt x="6" y="28"/>
                            <a:pt x="6" y="28"/>
                            <a:pt x="6" y="28"/>
                          </a:cubicBezTo>
                          <a:cubicBezTo>
                            <a:pt x="6" y="28"/>
                            <a:pt x="10" y="28"/>
                            <a:pt x="15" y="30"/>
                          </a:cubicBezTo>
                          <a:cubicBezTo>
                            <a:pt x="17" y="14"/>
                            <a:pt x="28" y="3"/>
                            <a:pt x="29" y="3"/>
                          </a:cubicBezTo>
                          <a:cubicBezTo>
                            <a:pt x="31" y="0"/>
                            <a:pt x="35" y="0"/>
                            <a:pt x="37" y="3"/>
                          </a:cubicBezTo>
                          <a:cubicBezTo>
                            <a:pt x="38" y="3"/>
                            <a:pt x="49" y="14"/>
                            <a:pt x="51" y="30"/>
                          </a:cubicBezTo>
                          <a:cubicBezTo>
                            <a:pt x="55" y="28"/>
                            <a:pt x="59" y="28"/>
                            <a:pt x="60" y="28"/>
                          </a:cubicBezTo>
                          <a:cubicBezTo>
                            <a:pt x="60" y="28"/>
                            <a:pt x="60" y="28"/>
                            <a:pt x="60" y="28"/>
                          </a:cubicBezTo>
                          <a:cubicBezTo>
                            <a:pt x="63" y="28"/>
                            <a:pt x="66" y="31"/>
                            <a:pt x="66" y="34"/>
                          </a:cubicBezTo>
                          <a:cubicBezTo>
                            <a:pt x="66" y="35"/>
                            <a:pt x="66" y="49"/>
                            <a:pt x="57" y="58"/>
                          </a:cubicBezTo>
                          <a:cubicBezTo>
                            <a:pt x="48" y="67"/>
                            <a:pt x="34" y="67"/>
                            <a:pt x="33"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55" name="Freeform 87">
                    <a:extLst>
                      <a:ext uri="{FF2B5EF4-FFF2-40B4-BE49-F238E27FC236}">
                        <a16:creationId xmlns:a16="http://schemas.microsoft.com/office/drawing/2014/main" id="{EF663EB2-5662-451E-908E-F94AE6ABC70F}"/>
                      </a:ext>
                    </a:extLst>
                  </p:cNvPr>
                  <p:cNvSpPr>
                    <a:spLocks/>
                  </p:cNvSpPr>
                  <p:nvPr/>
                </p:nvSpPr>
                <p:spPr bwMode="auto">
                  <a:xfrm>
                    <a:off x="-5802313" y="5051425"/>
                    <a:ext cx="4981576" cy="50800"/>
                  </a:xfrm>
                  <a:custGeom>
                    <a:avLst/>
                    <a:gdLst>
                      <a:gd name="T0" fmla="*/ 1168 w 1174"/>
                      <a:gd name="T1" fmla="*/ 12 h 12"/>
                      <a:gd name="T2" fmla="*/ 6 w 1174"/>
                      <a:gd name="T3" fmla="*/ 12 h 12"/>
                      <a:gd name="T4" fmla="*/ 0 w 1174"/>
                      <a:gd name="T5" fmla="*/ 6 h 12"/>
                      <a:gd name="T6" fmla="*/ 6 w 1174"/>
                      <a:gd name="T7" fmla="*/ 0 h 12"/>
                      <a:gd name="T8" fmla="*/ 1168 w 1174"/>
                      <a:gd name="T9" fmla="*/ 0 h 12"/>
                      <a:gd name="T10" fmla="*/ 1174 w 1174"/>
                      <a:gd name="T11" fmla="*/ 6 h 12"/>
                      <a:gd name="T12" fmla="*/ 1168 w 117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74" h="12">
                        <a:moveTo>
                          <a:pt x="1168" y="12"/>
                        </a:moveTo>
                        <a:cubicBezTo>
                          <a:pt x="6" y="12"/>
                          <a:pt x="6" y="12"/>
                          <a:pt x="6" y="12"/>
                        </a:cubicBezTo>
                        <a:cubicBezTo>
                          <a:pt x="3" y="12"/>
                          <a:pt x="0" y="10"/>
                          <a:pt x="0" y="6"/>
                        </a:cubicBezTo>
                        <a:cubicBezTo>
                          <a:pt x="0" y="3"/>
                          <a:pt x="3" y="0"/>
                          <a:pt x="6" y="0"/>
                        </a:cubicBezTo>
                        <a:cubicBezTo>
                          <a:pt x="1168" y="0"/>
                          <a:pt x="1168" y="0"/>
                          <a:pt x="1168" y="0"/>
                        </a:cubicBezTo>
                        <a:cubicBezTo>
                          <a:pt x="1172" y="0"/>
                          <a:pt x="1174" y="3"/>
                          <a:pt x="1174" y="6"/>
                        </a:cubicBezTo>
                        <a:cubicBezTo>
                          <a:pt x="1174" y="10"/>
                          <a:pt x="1172" y="12"/>
                          <a:pt x="1168"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grpSp>
        <p:nvGrpSpPr>
          <p:cNvPr id="1206" name="Group 1205">
            <a:extLst>
              <a:ext uri="{FF2B5EF4-FFF2-40B4-BE49-F238E27FC236}">
                <a16:creationId xmlns:a16="http://schemas.microsoft.com/office/drawing/2014/main" id="{525F72B4-98DD-43FE-AA9B-D4115FCFB475}"/>
              </a:ext>
            </a:extLst>
          </p:cNvPr>
          <p:cNvGrpSpPr/>
          <p:nvPr/>
        </p:nvGrpSpPr>
        <p:grpSpPr>
          <a:xfrm>
            <a:off x="7571802" y="3019282"/>
            <a:ext cx="3729525" cy="1282319"/>
            <a:chOff x="7571802" y="3019282"/>
            <a:chExt cx="3729525" cy="1282319"/>
          </a:xfrm>
        </p:grpSpPr>
        <p:grpSp>
          <p:nvGrpSpPr>
            <p:cNvPr id="569" name="Group 568">
              <a:extLst>
                <a:ext uri="{FF2B5EF4-FFF2-40B4-BE49-F238E27FC236}">
                  <a16:creationId xmlns:a16="http://schemas.microsoft.com/office/drawing/2014/main" id="{EC610672-B657-46CC-9A0C-64ED851E2645}"/>
                </a:ext>
              </a:extLst>
            </p:cNvPr>
            <p:cNvGrpSpPr/>
            <p:nvPr/>
          </p:nvGrpSpPr>
          <p:grpSpPr>
            <a:xfrm>
              <a:off x="7571802" y="3176118"/>
              <a:ext cx="3729525" cy="919316"/>
              <a:chOff x="-5632450" y="1890713"/>
              <a:chExt cx="4984750" cy="1228725"/>
            </a:xfrm>
          </p:grpSpPr>
          <p:sp>
            <p:nvSpPr>
              <p:cNvPr id="570" name="Freeform 168">
                <a:extLst>
                  <a:ext uri="{FF2B5EF4-FFF2-40B4-BE49-F238E27FC236}">
                    <a16:creationId xmlns:a16="http://schemas.microsoft.com/office/drawing/2014/main" id="{81706EA8-6726-4323-BC23-C3701D2FE6DB}"/>
                  </a:ext>
                </a:extLst>
              </p:cNvPr>
              <p:cNvSpPr>
                <a:spLocks noEditPoints="1"/>
              </p:cNvSpPr>
              <p:nvPr/>
            </p:nvSpPr>
            <p:spPr bwMode="auto">
              <a:xfrm>
                <a:off x="-1708150" y="2566988"/>
                <a:ext cx="601663" cy="284163"/>
              </a:xfrm>
              <a:custGeom>
                <a:avLst/>
                <a:gdLst>
                  <a:gd name="T0" fmla="*/ 136 w 142"/>
                  <a:gd name="T1" fmla="*/ 67 h 67"/>
                  <a:gd name="T2" fmla="*/ 6 w 142"/>
                  <a:gd name="T3" fmla="*/ 67 h 67"/>
                  <a:gd name="T4" fmla="*/ 0 w 142"/>
                  <a:gd name="T5" fmla="*/ 61 h 67"/>
                  <a:gd name="T6" fmla="*/ 0 w 142"/>
                  <a:gd name="T7" fmla="*/ 6 h 67"/>
                  <a:gd name="T8" fmla="*/ 6 w 142"/>
                  <a:gd name="T9" fmla="*/ 0 h 67"/>
                  <a:gd name="T10" fmla="*/ 136 w 142"/>
                  <a:gd name="T11" fmla="*/ 0 h 67"/>
                  <a:gd name="T12" fmla="*/ 142 w 142"/>
                  <a:gd name="T13" fmla="*/ 6 h 67"/>
                  <a:gd name="T14" fmla="*/ 142 w 142"/>
                  <a:gd name="T15" fmla="*/ 61 h 67"/>
                  <a:gd name="T16" fmla="*/ 136 w 142"/>
                  <a:gd name="T17" fmla="*/ 67 h 67"/>
                  <a:gd name="T18" fmla="*/ 12 w 142"/>
                  <a:gd name="T19" fmla="*/ 55 h 67"/>
                  <a:gd name="T20" fmla="*/ 130 w 142"/>
                  <a:gd name="T21" fmla="*/ 55 h 67"/>
                  <a:gd name="T22" fmla="*/ 130 w 142"/>
                  <a:gd name="T23" fmla="*/ 12 h 67"/>
                  <a:gd name="T24" fmla="*/ 12 w 142"/>
                  <a:gd name="T25" fmla="*/ 12 h 67"/>
                  <a:gd name="T26" fmla="*/ 12 w 142"/>
                  <a:gd name="T27"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 h="67">
                    <a:moveTo>
                      <a:pt x="136" y="67"/>
                    </a:moveTo>
                    <a:cubicBezTo>
                      <a:pt x="6" y="67"/>
                      <a:pt x="6" y="67"/>
                      <a:pt x="6" y="67"/>
                    </a:cubicBezTo>
                    <a:cubicBezTo>
                      <a:pt x="3" y="67"/>
                      <a:pt x="0" y="64"/>
                      <a:pt x="0" y="61"/>
                    </a:cubicBezTo>
                    <a:cubicBezTo>
                      <a:pt x="0" y="6"/>
                      <a:pt x="0" y="6"/>
                      <a:pt x="0" y="6"/>
                    </a:cubicBezTo>
                    <a:cubicBezTo>
                      <a:pt x="0" y="3"/>
                      <a:pt x="3" y="0"/>
                      <a:pt x="6" y="0"/>
                    </a:cubicBezTo>
                    <a:cubicBezTo>
                      <a:pt x="136" y="0"/>
                      <a:pt x="136" y="0"/>
                      <a:pt x="136" y="0"/>
                    </a:cubicBezTo>
                    <a:cubicBezTo>
                      <a:pt x="139" y="0"/>
                      <a:pt x="142" y="3"/>
                      <a:pt x="142" y="6"/>
                    </a:cubicBezTo>
                    <a:cubicBezTo>
                      <a:pt x="142" y="61"/>
                      <a:pt x="142" y="61"/>
                      <a:pt x="142" y="61"/>
                    </a:cubicBezTo>
                    <a:cubicBezTo>
                      <a:pt x="142" y="64"/>
                      <a:pt x="139" y="67"/>
                      <a:pt x="136" y="67"/>
                    </a:cubicBezTo>
                    <a:close/>
                    <a:moveTo>
                      <a:pt x="12" y="55"/>
                    </a:moveTo>
                    <a:cubicBezTo>
                      <a:pt x="130" y="55"/>
                      <a:pt x="130" y="55"/>
                      <a:pt x="130" y="55"/>
                    </a:cubicBezTo>
                    <a:cubicBezTo>
                      <a:pt x="130" y="12"/>
                      <a:pt x="130" y="12"/>
                      <a:pt x="130" y="12"/>
                    </a:cubicBezTo>
                    <a:cubicBezTo>
                      <a:pt x="12" y="12"/>
                      <a:pt x="12" y="12"/>
                      <a:pt x="12" y="12"/>
                    </a:cubicBezTo>
                    <a:lnTo>
                      <a:pt x="12"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71" name="Rectangle 167">
                <a:extLst>
                  <a:ext uri="{FF2B5EF4-FFF2-40B4-BE49-F238E27FC236}">
                    <a16:creationId xmlns:a16="http://schemas.microsoft.com/office/drawing/2014/main" id="{264272D4-7811-4014-839B-20580344A9A8}"/>
                  </a:ext>
                </a:extLst>
              </p:cNvPr>
              <p:cNvSpPr>
                <a:spLocks noChangeArrowheads="1"/>
              </p:cNvSpPr>
              <p:nvPr/>
            </p:nvSpPr>
            <p:spPr bwMode="auto">
              <a:xfrm>
                <a:off x="-1682750" y="2592388"/>
                <a:ext cx="550863" cy="23336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72" name="Group 571">
                <a:extLst>
                  <a:ext uri="{FF2B5EF4-FFF2-40B4-BE49-F238E27FC236}">
                    <a16:creationId xmlns:a16="http://schemas.microsoft.com/office/drawing/2014/main" id="{42D6C2EA-5582-4366-A597-71A676B6A80C}"/>
                  </a:ext>
                </a:extLst>
              </p:cNvPr>
              <p:cNvGrpSpPr/>
              <p:nvPr/>
            </p:nvGrpSpPr>
            <p:grpSpPr>
              <a:xfrm>
                <a:off x="-1882775" y="2655888"/>
                <a:ext cx="928688" cy="463550"/>
                <a:chOff x="-1882775" y="2655888"/>
                <a:chExt cx="928688" cy="463550"/>
              </a:xfrm>
              <a:solidFill>
                <a:schemeClr val="tx1"/>
              </a:solidFill>
            </p:grpSpPr>
            <p:sp>
              <p:nvSpPr>
                <p:cNvPr id="664" name="Freeform 165">
                  <a:extLst>
                    <a:ext uri="{FF2B5EF4-FFF2-40B4-BE49-F238E27FC236}">
                      <a16:creationId xmlns:a16="http://schemas.microsoft.com/office/drawing/2014/main" id="{6467FAC2-6244-43E7-8308-8DF0FDECE852}"/>
                    </a:ext>
                  </a:extLst>
                </p:cNvPr>
                <p:cNvSpPr>
                  <a:spLocks/>
                </p:cNvSpPr>
                <p:nvPr/>
              </p:nvSpPr>
              <p:spPr bwMode="auto">
                <a:xfrm>
                  <a:off x="-1598613" y="2754313"/>
                  <a:ext cx="355600" cy="106363"/>
                </a:xfrm>
                <a:custGeom>
                  <a:avLst/>
                  <a:gdLst>
                    <a:gd name="T0" fmla="*/ 0 w 224"/>
                    <a:gd name="T1" fmla="*/ 0 h 67"/>
                    <a:gd name="T2" fmla="*/ 40 w 224"/>
                    <a:gd name="T3" fmla="*/ 67 h 67"/>
                    <a:gd name="T4" fmla="*/ 102 w 224"/>
                    <a:gd name="T5" fmla="*/ 67 h 67"/>
                    <a:gd name="T6" fmla="*/ 123 w 224"/>
                    <a:gd name="T7" fmla="*/ 67 h 67"/>
                    <a:gd name="T8" fmla="*/ 184 w 224"/>
                    <a:gd name="T9" fmla="*/ 67 h 67"/>
                    <a:gd name="T10" fmla="*/ 224 w 224"/>
                    <a:gd name="T11" fmla="*/ 0 h 67"/>
                    <a:gd name="T12" fmla="*/ 112 w 224"/>
                    <a:gd name="T13" fmla="*/ 16 h 67"/>
                    <a:gd name="T14" fmla="*/ 0 w 224"/>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67">
                      <a:moveTo>
                        <a:pt x="0" y="0"/>
                      </a:moveTo>
                      <a:lnTo>
                        <a:pt x="40" y="67"/>
                      </a:lnTo>
                      <a:lnTo>
                        <a:pt x="102" y="67"/>
                      </a:lnTo>
                      <a:lnTo>
                        <a:pt x="123" y="67"/>
                      </a:lnTo>
                      <a:lnTo>
                        <a:pt x="184" y="67"/>
                      </a:lnTo>
                      <a:lnTo>
                        <a:pt x="224" y="0"/>
                      </a:lnTo>
                      <a:lnTo>
                        <a:pt x="112" y="1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66">
                  <a:extLst>
                    <a:ext uri="{FF2B5EF4-FFF2-40B4-BE49-F238E27FC236}">
                      <a16:creationId xmlns:a16="http://schemas.microsoft.com/office/drawing/2014/main" id="{C7E33F47-AAA2-4B57-B373-430F7805B934}"/>
                    </a:ext>
                  </a:extLst>
                </p:cNvPr>
                <p:cNvSpPr>
                  <a:spLocks noEditPoints="1"/>
                </p:cNvSpPr>
                <p:nvPr/>
              </p:nvSpPr>
              <p:spPr bwMode="auto">
                <a:xfrm>
                  <a:off x="-1624013" y="2724150"/>
                  <a:ext cx="406400" cy="161925"/>
                </a:xfrm>
                <a:custGeom>
                  <a:avLst/>
                  <a:gdLst>
                    <a:gd name="T0" fmla="*/ 75 w 96"/>
                    <a:gd name="T1" fmla="*/ 38 h 38"/>
                    <a:gd name="T2" fmla="*/ 21 w 96"/>
                    <a:gd name="T3" fmla="*/ 38 h 38"/>
                    <a:gd name="T4" fmla="*/ 16 w 96"/>
                    <a:gd name="T5" fmla="*/ 35 h 38"/>
                    <a:gd name="T6" fmla="*/ 1 w 96"/>
                    <a:gd name="T7" fmla="*/ 10 h 38"/>
                    <a:gd name="T8" fmla="*/ 1 w 96"/>
                    <a:gd name="T9" fmla="*/ 3 h 38"/>
                    <a:gd name="T10" fmla="*/ 7 w 96"/>
                    <a:gd name="T11" fmla="*/ 1 h 38"/>
                    <a:gd name="T12" fmla="*/ 48 w 96"/>
                    <a:gd name="T13" fmla="*/ 7 h 38"/>
                    <a:gd name="T14" fmla="*/ 89 w 96"/>
                    <a:gd name="T15" fmla="*/ 1 h 38"/>
                    <a:gd name="T16" fmla="*/ 95 w 96"/>
                    <a:gd name="T17" fmla="*/ 3 h 38"/>
                    <a:gd name="T18" fmla="*/ 95 w 96"/>
                    <a:gd name="T19" fmla="*/ 10 h 38"/>
                    <a:gd name="T20" fmla="*/ 81 w 96"/>
                    <a:gd name="T21" fmla="*/ 35 h 38"/>
                    <a:gd name="T22" fmla="*/ 75 w 96"/>
                    <a:gd name="T23" fmla="*/ 38 h 38"/>
                    <a:gd name="T24" fmla="*/ 24 w 96"/>
                    <a:gd name="T25" fmla="*/ 26 h 38"/>
                    <a:gd name="T26" fmla="*/ 72 w 96"/>
                    <a:gd name="T27" fmla="*/ 26 h 38"/>
                    <a:gd name="T28" fmla="*/ 78 w 96"/>
                    <a:gd name="T29" fmla="*/ 15 h 38"/>
                    <a:gd name="T30" fmla="*/ 49 w 96"/>
                    <a:gd name="T31" fmla="*/ 19 h 38"/>
                    <a:gd name="T32" fmla="*/ 47 w 96"/>
                    <a:gd name="T33" fmla="*/ 19 h 38"/>
                    <a:gd name="T34" fmla="*/ 18 w 96"/>
                    <a:gd name="T35" fmla="*/ 15 h 38"/>
                    <a:gd name="T36" fmla="*/ 24 w 96"/>
                    <a:gd name="T3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38">
                      <a:moveTo>
                        <a:pt x="75" y="38"/>
                      </a:moveTo>
                      <a:cubicBezTo>
                        <a:pt x="21" y="38"/>
                        <a:pt x="21" y="38"/>
                        <a:pt x="21" y="38"/>
                      </a:cubicBezTo>
                      <a:cubicBezTo>
                        <a:pt x="19" y="38"/>
                        <a:pt x="17" y="37"/>
                        <a:pt x="16" y="35"/>
                      </a:cubicBezTo>
                      <a:cubicBezTo>
                        <a:pt x="1" y="10"/>
                        <a:pt x="1" y="10"/>
                        <a:pt x="1" y="10"/>
                      </a:cubicBezTo>
                      <a:cubicBezTo>
                        <a:pt x="0" y="8"/>
                        <a:pt x="0" y="5"/>
                        <a:pt x="1" y="3"/>
                      </a:cubicBezTo>
                      <a:cubicBezTo>
                        <a:pt x="3" y="2"/>
                        <a:pt x="5" y="1"/>
                        <a:pt x="7" y="1"/>
                      </a:cubicBezTo>
                      <a:cubicBezTo>
                        <a:pt x="48" y="7"/>
                        <a:pt x="48" y="7"/>
                        <a:pt x="48" y="7"/>
                      </a:cubicBezTo>
                      <a:cubicBezTo>
                        <a:pt x="89" y="1"/>
                        <a:pt x="89" y="1"/>
                        <a:pt x="89" y="1"/>
                      </a:cubicBezTo>
                      <a:cubicBezTo>
                        <a:pt x="91" y="0"/>
                        <a:pt x="94" y="2"/>
                        <a:pt x="95" y="3"/>
                      </a:cubicBezTo>
                      <a:cubicBezTo>
                        <a:pt x="96" y="5"/>
                        <a:pt x="96" y="8"/>
                        <a:pt x="95" y="10"/>
                      </a:cubicBezTo>
                      <a:cubicBezTo>
                        <a:pt x="81" y="35"/>
                        <a:pt x="81" y="35"/>
                        <a:pt x="81" y="35"/>
                      </a:cubicBezTo>
                      <a:cubicBezTo>
                        <a:pt x="80" y="37"/>
                        <a:pt x="78" y="38"/>
                        <a:pt x="75" y="38"/>
                      </a:cubicBezTo>
                      <a:close/>
                      <a:moveTo>
                        <a:pt x="24" y="26"/>
                      </a:moveTo>
                      <a:cubicBezTo>
                        <a:pt x="72" y="26"/>
                        <a:pt x="72" y="26"/>
                        <a:pt x="72" y="26"/>
                      </a:cubicBezTo>
                      <a:cubicBezTo>
                        <a:pt x="78" y="15"/>
                        <a:pt x="78" y="15"/>
                        <a:pt x="78" y="15"/>
                      </a:cubicBezTo>
                      <a:cubicBezTo>
                        <a:pt x="49" y="19"/>
                        <a:pt x="49" y="19"/>
                        <a:pt x="49" y="19"/>
                      </a:cubicBezTo>
                      <a:cubicBezTo>
                        <a:pt x="48" y="19"/>
                        <a:pt x="48" y="19"/>
                        <a:pt x="47" y="19"/>
                      </a:cubicBezTo>
                      <a:cubicBezTo>
                        <a:pt x="18" y="15"/>
                        <a:pt x="18" y="15"/>
                        <a:pt x="18" y="15"/>
                      </a:cubicBezTo>
                      <a:lnTo>
                        <a:pt x="2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Rectangle 169">
                  <a:extLst>
                    <a:ext uri="{FF2B5EF4-FFF2-40B4-BE49-F238E27FC236}">
                      <a16:creationId xmlns:a16="http://schemas.microsoft.com/office/drawing/2014/main" id="{3AD6DE2C-E6E2-4616-BEE7-BD9F85B463F9}"/>
                    </a:ext>
                  </a:extLst>
                </p:cNvPr>
                <p:cNvSpPr>
                  <a:spLocks noChangeArrowheads="1"/>
                </p:cNvSpPr>
                <p:nvPr/>
              </p:nvSpPr>
              <p:spPr bwMode="auto">
                <a:xfrm>
                  <a:off x="-1187450" y="2681288"/>
                  <a:ext cx="207963" cy="412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70">
                  <a:extLst>
                    <a:ext uri="{FF2B5EF4-FFF2-40B4-BE49-F238E27FC236}">
                      <a16:creationId xmlns:a16="http://schemas.microsoft.com/office/drawing/2014/main" id="{18DD196E-CE78-456E-AD6B-08A10C288FC4}"/>
                    </a:ext>
                  </a:extLst>
                </p:cNvPr>
                <p:cNvSpPr>
                  <a:spLocks noEditPoints="1"/>
                </p:cNvSpPr>
                <p:nvPr/>
              </p:nvSpPr>
              <p:spPr bwMode="auto">
                <a:xfrm>
                  <a:off x="-1212850" y="2655888"/>
                  <a:ext cx="258763" cy="463550"/>
                </a:xfrm>
                <a:custGeom>
                  <a:avLst/>
                  <a:gdLst>
                    <a:gd name="T0" fmla="*/ 55 w 61"/>
                    <a:gd name="T1" fmla="*/ 0 h 109"/>
                    <a:gd name="T2" fmla="*/ 6 w 61"/>
                    <a:gd name="T3" fmla="*/ 0 h 109"/>
                    <a:gd name="T4" fmla="*/ 0 w 61"/>
                    <a:gd name="T5" fmla="*/ 6 h 109"/>
                    <a:gd name="T6" fmla="*/ 0 w 61"/>
                    <a:gd name="T7" fmla="*/ 103 h 109"/>
                    <a:gd name="T8" fmla="*/ 6 w 61"/>
                    <a:gd name="T9" fmla="*/ 109 h 109"/>
                    <a:gd name="T10" fmla="*/ 55 w 61"/>
                    <a:gd name="T11" fmla="*/ 109 h 109"/>
                    <a:gd name="T12" fmla="*/ 61 w 61"/>
                    <a:gd name="T13" fmla="*/ 103 h 109"/>
                    <a:gd name="T14" fmla="*/ 61 w 61"/>
                    <a:gd name="T15" fmla="*/ 6 h 109"/>
                    <a:gd name="T16" fmla="*/ 55 w 61"/>
                    <a:gd name="T17" fmla="*/ 0 h 109"/>
                    <a:gd name="T18" fmla="*/ 49 w 61"/>
                    <a:gd name="T19" fmla="*/ 49 h 109"/>
                    <a:gd name="T20" fmla="*/ 31 w 61"/>
                    <a:gd name="T21" fmla="*/ 61 h 109"/>
                    <a:gd name="T22" fmla="*/ 13 w 61"/>
                    <a:gd name="T23" fmla="*/ 49 h 109"/>
                    <a:gd name="T24" fmla="*/ 13 w 61"/>
                    <a:gd name="T25" fmla="*/ 38 h 109"/>
                    <a:gd name="T26" fmla="*/ 28 w 61"/>
                    <a:gd name="T27" fmla="*/ 48 h 109"/>
                    <a:gd name="T28" fmla="*/ 31 w 61"/>
                    <a:gd name="T29" fmla="*/ 49 h 109"/>
                    <a:gd name="T30" fmla="*/ 34 w 61"/>
                    <a:gd name="T31" fmla="*/ 48 h 109"/>
                    <a:gd name="T32" fmla="*/ 49 w 61"/>
                    <a:gd name="T33" fmla="*/ 38 h 109"/>
                    <a:gd name="T34" fmla="*/ 49 w 61"/>
                    <a:gd name="T35" fmla="*/ 49 h 109"/>
                    <a:gd name="T36" fmla="*/ 13 w 61"/>
                    <a:gd name="T37" fmla="*/ 63 h 109"/>
                    <a:gd name="T38" fmla="*/ 28 w 61"/>
                    <a:gd name="T39" fmla="*/ 73 h 109"/>
                    <a:gd name="T40" fmla="*/ 31 w 61"/>
                    <a:gd name="T41" fmla="*/ 74 h 109"/>
                    <a:gd name="T42" fmla="*/ 34 w 61"/>
                    <a:gd name="T43" fmla="*/ 73 h 109"/>
                    <a:gd name="T44" fmla="*/ 49 w 61"/>
                    <a:gd name="T45" fmla="*/ 63 h 109"/>
                    <a:gd name="T46" fmla="*/ 49 w 61"/>
                    <a:gd name="T47" fmla="*/ 73 h 109"/>
                    <a:gd name="T48" fmla="*/ 31 w 61"/>
                    <a:gd name="T49" fmla="*/ 85 h 109"/>
                    <a:gd name="T50" fmla="*/ 13 w 61"/>
                    <a:gd name="T51" fmla="*/ 73 h 109"/>
                    <a:gd name="T52" fmla="*/ 13 w 61"/>
                    <a:gd name="T53" fmla="*/ 63 h 109"/>
                    <a:gd name="T54" fmla="*/ 49 w 61"/>
                    <a:gd name="T55" fmla="*/ 12 h 109"/>
                    <a:gd name="T56" fmla="*/ 49 w 61"/>
                    <a:gd name="T57" fmla="*/ 24 h 109"/>
                    <a:gd name="T58" fmla="*/ 31 w 61"/>
                    <a:gd name="T59" fmla="*/ 36 h 109"/>
                    <a:gd name="T60" fmla="*/ 13 w 61"/>
                    <a:gd name="T61" fmla="*/ 24 h 109"/>
                    <a:gd name="T62" fmla="*/ 13 w 61"/>
                    <a:gd name="T63" fmla="*/ 12 h 109"/>
                    <a:gd name="T64" fmla="*/ 49 w 61"/>
                    <a:gd name="T65" fmla="*/ 12 h 109"/>
                    <a:gd name="T66" fmla="*/ 13 w 61"/>
                    <a:gd name="T67" fmla="*/ 88 h 109"/>
                    <a:gd name="T68" fmla="*/ 27 w 61"/>
                    <a:gd name="T69" fmla="*/ 97 h 109"/>
                    <a:gd name="T70" fmla="*/ 13 w 61"/>
                    <a:gd name="T71" fmla="*/ 97 h 109"/>
                    <a:gd name="T72" fmla="*/ 13 w 61"/>
                    <a:gd name="T73" fmla="*/ 88 h 109"/>
                    <a:gd name="T74" fmla="*/ 35 w 61"/>
                    <a:gd name="T75" fmla="*/ 97 h 109"/>
                    <a:gd name="T76" fmla="*/ 49 w 61"/>
                    <a:gd name="T77" fmla="*/ 88 h 109"/>
                    <a:gd name="T78" fmla="*/ 49 w 61"/>
                    <a:gd name="T79" fmla="*/ 97 h 109"/>
                    <a:gd name="T80" fmla="*/ 35 w 61"/>
                    <a:gd name="T81"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109">
                      <a:moveTo>
                        <a:pt x="55" y="0"/>
                      </a:moveTo>
                      <a:cubicBezTo>
                        <a:pt x="6" y="0"/>
                        <a:pt x="6" y="0"/>
                        <a:pt x="6" y="0"/>
                      </a:cubicBezTo>
                      <a:cubicBezTo>
                        <a:pt x="3" y="0"/>
                        <a:pt x="0" y="3"/>
                        <a:pt x="0" y="6"/>
                      </a:cubicBezTo>
                      <a:cubicBezTo>
                        <a:pt x="0" y="103"/>
                        <a:pt x="0" y="103"/>
                        <a:pt x="0" y="103"/>
                      </a:cubicBezTo>
                      <a:cubicBezTo>
                        <a:pt x="0" y="106"/>
                        <a:pt x="3" y="109"/>
                        <a:pt x="6" y="109"/>
                      </a:cubicBezTo>
                      <a:cubicBezTo>
                        <a:pt x="55" y="109"/>
                        <a:pt x="55" y="109"/>
                        <a:pt x="55" y="109"/>
                      </a:cubicBezTo>
                      <a:cubicBezTo>
                        <a:pt x="59" y="109"/>
                        <a:pt x="61" y="106"/>
                        <a:pt x="61" y="103"/>
                      </a:cubicBezTo>
                      <a:cubicBezTo>
                        <a:pt x="61" y="6"/>
                        <a:pt x="61" y="6"/>
                        <a:pt x="61" y="6"/>
                      </a:cubicBezTo>
                      <a:cubicBezTo>
                        <a:pt x="61" y="3"/>
                        <a:pt x="59" y="0"/>
                        <a:pt x="55" y="0"/>
                      </a:cubicBezTo>
                      <a:close/>
                      <a:moveTo>
                        <a:pt x="49" y="49"/>
                      </a:moveTo>
                      <a:cubicBezTo>
                        <a:pt x="31" y="61"/>
                        <a:pt x="31" y="61"/>
                        <a:pt x="31" y="61"/>
                      </a:cubicBezTo>
                      <a:cubicBezTo>
                        <a:pt x="13" y="49"/>
                        <a:pt x="13" y="49"/>
                        <a:pt x="13" y="49"/>
                      </a:cubicBezTo>
                      <a:cubicBezTo>
                        <a:pt x="13" y="38"/>
                        <a:pt x="13" y="38"/>
                        <a:pt x="13" y="38"/>
                      </a:cubicBezTo>
                      <a:cubicBezTo>
                        <a:pt x="28" y="48"/>
                        <a:pt x="28" y="48"/>
                        <a:pt x="28" y="48"/>
                      </a:cubicBezTo>
                      <a:cubicBezTo>
                        <a:pt x="29" y="49"/>
                        <a:pt x="30" y="49"/>
                        <a:pt x="31" y="49"/>
                      </a:cubicBezTo>
                      <a:cubicBezTo>
                        <a:pt x="32" y="49"/>
                        <a:pt x="33" y="49"/>
                        <a:pt x="34" y="48"/>
                      </a:cubicBezTo>
                      <a:cubicBezTo>
                        <a:pt x="49" y="38"/>
                        <a:pt x="49" y="38"/>
                        <a:pt x="49" y="38"/>
                      </a:cubicBezTo>
                      <a:lnTo>
                        <a:pt x="49" y="49"/>
                      </a:lnTo>
                      <a:close/>
                      <a:moveTo>
                        <a:pt x="13" y="63"/>
                      </a:moveTo>
                      <a:cubicBezTo>
                        <a:pt x="28" y="73"/>
                        <a:pt x="28" y="73"/>
                        <a:pt x="28" y="73"/>
                      </a:cubicBezTo>
                      <a:cubicBezTo>
                        <a:pt x="29" y="74"/>
                        <a:pt x="30" y="74"/>
                        <a:pt x="31" y="74"/>
                      </a:cubicBezTo>
                      <a:cubicBezTo>
                        <a:pt x="32" y="74"/>
                        <a:pt x="33" y="74"/>
                        <a:pt x="34" y="73"/>
                      </a:cubicBezTo>
                      <a:cubicBezTo>
                        <a:pt x="49" y="63"/>
                        <a:pt x="49" y="63"/>
                        <a:pt x="49" y="63"/>
                      </a:cubicBezTo>
                      <a:cubicBezTo>
                        <a:pt x="49" y="73"/>
                        <a:pt x="49" y="73"/>
                        <a:pt x="49" y="73"/>
                      </a:cubicBezTo>
                      <a:cubicBezTo>
                        <a:pt x="31" y="85"/>
                        <a:pt x="31" y="85"/>
                        <a:pt x="31" y="85"/>
                      </a:cubicBezTo>
                      <a:cubicBezTo>
                        <a:pt x="13" y="73"/>
                        <a:pt x="13" y="73"/>
                        <a:pt x="13" y="73"/>
                      </a:cubicBezTo>
                      <a:lnTo>
                        <a:pt x="13" y="63"/>
                      </a:lnTo>
                      <a:close/>
                      <a:moveTo>
                        <a:pt x="49" y="12"/>
                      </a:moveTo>
                      <a:cubicBezTo>
                        <a:pt x="49" y="24"/>
                        <a:pt x="49" y="24"/>
                        <a:pt x="49" y="24"/>
                      </a:cubicBezTo>
                      <a:cubicBezTo>
                        <a:pt x="31" y="36"/>
                        <a:pt x="31" y="36"/>
                        <a:pt x="31" y="36"/>
                      </a:cubicBezTo>
                      <a:cubicBezTo>
                        <a:pt x="13" y="24"/>
                        <a:pt x="13" y="24"/>
                        <a:pt x="13" y="24"/>
                      </a:cubicBezTo>
                      <a:cubicBezTo>
                        <a:pt x="13" y="12"/>
                        <a:pt x="13" y="12"/>
                        <a:pt x="13" y="12"/>
                      </a:cubicBezTo>
                      <a:lnTo>
                        <a:pt x="49" y="12"/>
                      </a:lnTo>
                      <a:close/>
                      <a:moveTo>
                        <a:pt x="13" y="88"/>
                      </a:moveTo>
                      <a:cubicBezTo>
                        <a:pt x="27" y="97"/>
                        <a:pt x="27" y="97"/>
                        <a:pt x="27" y="97"/>
                      </a:cubicBezTo>
                      <a:cubicBezTo>
                        <a:pt x="13" y="97"/>
                        <a:pt x="13" y="97"/>
                        <a:pt x="13" y="97"/>
                      </a:cubicBezTo>
                      <a:lnTo>
                        <a:pt x="13" y="88"/>
                      </a:lnTo>
                      <a:close/>
                      <a:moveTo>
                        <a:pt x="35" y="97"/>
                      </a:moveTo>
                      <a:cubicBezTo>
                        <a:pt x="49" y="88"/>
                        <a:pt x="49" y="88"/>
                        <a:pt x="49" y="88"/>
                      </a:cubicBezTo>
                      <a:cubicBezTo>
                        <a:pt x="49" y="97"/>
                        <a:pt x="49" y="97"/>
                        <a:pt x="49" y="97"/>
                      </a:cubicBezTo>
                      <a:lnTo>
                        <a:pt x="35"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Rectangle 171">
                  <a:extLst>
                    <a:ext uri="{FF2B5EF4-FFF2-40B4-BE49-F238E27FC236}">
                      <a16:creationId xmlns:a16="http://schemas.microsoft.com/office/drawing/2014/main" id="{1FA9D8E7-7F14-4A96-BA9B-076AD2B7C0A3}"/>
                    </a:ext>
                  </a:extLst>
                </p:cNvPr>
                <p:cNvSpPr>
                  <a:spLocks noChangeArrowheads="1"/>
                </p:cNvSpPr>
                <p:nvPr/>
              </p:nvSpPr>
              <p:spPr bwMode="auto">
                <a:xfrm>
                  <a:off x="-1857375" y="2681288"/>
                  <a:ext cx="207963" cy="412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72">
                  <a:extLst>
                    <a:ext uri="{FF2B5EF4-FFF2-40B4-BE49-F238E27FC236}">
                      <a16:creationId xmlns:a16="http://schemas.microsoft.com/office/drawing/2014/main" id="{99BE2955-F8C6-4310-8DB2-CC272819CA1A}"/>
                    </a:ext>
                  </a:extLst>
                </p:cNvPr>
                <p:cNvSpPr>
                  <a:spLocks noEditPoints="1"/>
                </p:cNvSpPr>
                <p:nvPr/>
              </p:nvSpPr>
              <p:spPr bwMode="auto">
                <a:xfrm>
                  <a:off x="-1882775" y="2655888"/>
                  <a:ext cx="258763" cy="463550"/>
                </a:xfrm>
                <a:custGeom>
                  <a:avLst/>
                  <a:gdLst>
                    <a:gd name="T0" fmla="*/ 55 w 61"/>
                    <a:gd name="T1" fmla="*/ 0 h 109"/>
                    <a:gd name="T2" fmla="*/ 6 w 61"/>
                    <a:gd name="T3" fmla="*/ 0 h 109"/>
                    <a:gd name="T4" fmla="*/ 0 w 61"/>
                    <a:gd name="T5" fmla="*/ 6 h 109"/>
                    <a:gd name="T6" fmla="*/ 0 w 61"/>
                    <a:gd name="T7" fmla="*/ 103 h 109"/>
                    <a:gd name="T8" fmla="*/ 6 w 61"/>
                    <a:gd name="T9" fmla="*/ 109 h 109"/>
                    <a:gd name="T10" fmla="*/ 55 w 61"/>
                    <a:gd name="T11" fmla="*/ 109 h 109"/>
                    <a:gd name="T12" fmla="*/ 61 w 61"/>
                    <a:gd name="T13" fmla="*/ 103 h 109"/>
                    <a:gd name="T14" fmla="*/ 61 w 61"/>
                    <a:gd name="T15" fmla="*/ 6 h 109"/>
                    <a:gd name="T16" fmla="*/ 55 w 61"/>
                    <a:gd name="T17" fmla="*/ 0 h 109"/>
                    <a:gd name="T18" fmla="*/ 48 w 61"/>
                    <a:gd name="T19" fmla="*/ 49 h 109"/>
                    <a:gd name="T20" fmla="*/ 30 w 61"/>
                    <a:gd name="T21" fmla="*/ 61 h 109"/>
                    <a:gd name="T22" fmla="*/ 12 w 61"/>
                    <a:gd name="T23" fmla="*/ 49 h 109"/>
                    <a:gd name="T24" fmla="*/ 12 w 61"/>
                    <a:gd name="T25" fmla="*/ 38 h 109"/>
                    <a:gd name="T26" fmla="*/ 27 w 61"/>
                    <a:gd name="T27" fmla="*/ 48 h 109"/>
                    <a:gd name="T28" fmla="*/ 30 w 61"/>
                    <a:gd name="T29" fmla="*/ 49 h 109"/>
                    <a:gd name="T30" fmla="*/ 33 w 61"/>
                    <a:gd name="T31" fmla="*/ 48 h 109"/>
                    <a:gd name="T32" fmla="*/ 48 w 61"/>
                    <a:gd name="T33" fmla="*/ 38 h 109"/>
                    <a:gd name="T34" fmla="*/ 48 w 61"/>
                    <a:gd name="T35" fmla="*/ 49 h 109"/>
                    <a:gd name="T36" fmla="*/ 12 w 61"/>
                    <a:gd name="T37" fmla="*/ 63 h 109"/>
                    <a:gd name="T38" fmla="*/ 27 w 61"/>
                    <a:gd name="T39" fmla="*/ 73 h 109"/>
                    <a:gd name="T40" fmla="*/ 30 w 61"/>
                    <a:gd name="T41" fmla="*/ 74 h 109"/>
                    <a:gd name="T42" fmla="*/ 33 w 61"/>
                    <a:gd name="T43" fmla="*/ 73 h 109"/>
                    <a:gd name="T44" fmla="*/ 48 w 61"/>
                    <a:gd name="T45" fmla="*/ 63 h 109"/>
                    <a:gd name="T46" fmla="*/ 48 w 61"/>
                    <a:gd name="T47" fmla="*/ 73 h 109"/>
                    <a:gd name="T48" fmla="*/ 30 w 61"/>
                    <a:gd name="T49" fmla="*/ 85 h 109"/>
                    <a:gd name="T50" fmla="*/ 12 w 61"/>
                    <a:gd name="T51" fmla="*/ 73 h 109"/>
                    <a:gd name="T52" fmla="*/ 12 w 61"/>
                    <a:gd name="T53" fmla="*/ 63 h 109"/>
                    <a:gd name="T54" fmla="*/ 48 w 61"/>
                    <a:gd name="T55" fmla="*/ 12 h 109"/>
                    <a:gd name="T56" fmla="*/ 48 w 61"/>
                    <a:gd name="T57" fmla="*/ 24 h 109"/>
                    <a:gd name="T58" fmla="*/ 30 w 61"/>
                    <a:gd name="T59" fmla="*/ 36 h 109"/>
                    <a:gd name="T60" fmla="*/ 12 w 61"/>
                    <a:gd name="T61" fmla="*/ 24 h 109"/>
                    <a:gd name="T62" fmla="*/ 12 w 61"/>
                    <a:gd name="T63" fmla="*/ 12 h 109"/>
                    <a:gd name="T64" fmla="*/ 48 w 61"/>
                    <a:gd name="T65" fmla="*/ 12 h 109"/>
                    <a:gd name="T66" fmla="*/ 12 w 61"/>
                    <a:gd name="T67" fmla="*/ 88 h 109"/>
                    <a:gd name="T68" fmla="*/ 26 w 61"/>
                    <a:gd name="T69" fmla="*/ 97 h 109"/>
                    <a:gd name="T70" fmla="*/ 12 w 61"/>
                    <a:gd name="T71" fmla="*/ 97 h 109"/>
                    <a:gd name="T72" fmla="*/ 12 w 61"/>
                    <a:gd name="T73" fmla="*/ 88 h 109"/>
                    <a:gd name="T74" fmla="*/ 34 w 61"/>
                    <a:gd name="T75" fmla="*/ 97 h 109"/>
                    <a:gd name="T76" fmla="*/ 48 w 61"/>
                    <a:gd name="T77" fmla="*/ 88 h 109"/>
                    <a:gd name="T78" fmla="*/ 48 w 61"/>
                    <a:gd name="T79" fmla="*/ 97 h 109"/>
                    <a:gd name="T80" fmla="*/ 34 w 61"/>
                    <a:gd name="T81"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109">
                      <a:moveTo>
                        <a:pt x="55" y="0"/>
                      </a:moveTo>
                      <a:cubicBezTo>
                        <a:pt x="6" y="0"/>
                        <a:pt x="6" y="0"/>
                        <a:pt x="6" y="0"/>
                      </a:cubicBezTo>
                      <a:cubicBezTo>
                        <a:pt x="2" y="0"/>
                        <a:pt x="0" y="3"/>
                        <a:pt x="0" y="6"/>
                      </a:cubicBezTo>
                      <a:cubicBezTo>
                        <a:pt x="0" y="103"/>
                        <a:pt x="0" y="103"/>
                        <a:pt x="0" y="103"/>
                      </a:cubicBezTo>
                      <a:cubicBezTo>
                        <a:pt x="0" y="106"/>
                        <a:pt x="2" y="109"/>
                        <a:pt x="6" y="109"/>
                      </a:cubicBezTo>
                      <a:cubicBezTo>
                        <a:pt x="55" y="109"/>
                        <a:pt x="55" y="109"/>
                        <a:pt x="55" y="109"/>
                      </a:cubicBezTo>
                      <a:cubicBezTo>
                        <a:pt x="58" y="109"/>
                        <a:pt x="61" y="106"/>
                        <a:pt x="61" y="103"/>
                      </a:cubicBezTo>
                      <a:cubicBezTo>
                        <a:pt x="61" y="6"/>
                        <a:pt x="61" y="6"/>
                        <a:pt x="61" y="6"/>
                      </a:cubicBezTo>
                      <a:cubicBezTo>
                        <a:pt x="61" y="3"/>
                        <a:pt x="58" y="0"/>
                        <a:pt x="55" y="0"/>
                      </a:cubicBezTo>
                      <a:close/>
                      <a:moveTo>
                        <a:pt x="48" y="49"/>
                      </a:moveTo>
                      <a:cubicBezTo>
                        <a:pt x="30" y="61"/>
                        <a:pt x="30" y="61"/>
                        <a:pt x="30" y="61"/>
                      </a:cubicBezTo>
                      <a:cubicBezTo>
                        <a:pt x="12" y="49"/>
                        <a:pt x="12" y="49"/>
                        <a:pt x="12" y="49"/>
                      </a:cubicBezTo>
                      <a:cubicBezTo>
                        <a:pt x="12" y="38"/>
                        <a:pt x="12" y="38"/>
                        <a:pt x="12" y="38"/>
                      </a:cubicBezTo>
                      <a:cubicBezTo>
                        <a:pt x="27" y="48"/>
                        <a:pt x="27" y="48"/>
                        <a:pt x="27" y="48"/>
                      </a:cubicBezTo>
                      <a:cubicBezTo>
                        <a:pt x="28" y="49"/>
                        <a:pt x="29" y="49"/>
                        <a:pt x="30" y="49"/>
                      </a:cubicBezTo>
                      <a:cubicBezTo>
                        <a:pt x="31" y="49"/>
                        <a:pt x="32" y="49"/>
                        <a:pt x="33" y="48"/>
                      </a:cubicBezTo>
                      <a:cubicBezTo>
                        <a:pt x="48" y="38"/>
                        <a:pt x="48" y="38"/>
                        <a:pt x="48" y="38"/>
                      </a:cubicBezTo>
                      <a:lnTo>
                        <a:pt x="48" y="49"/>
                      </a:lnTo>
                      <a:close/>
                      <a:moveTo>
                        <a:pt x="12" y="63"/>
                      </a:moveTo>
                      <a:cubicBezTo>
                        <a:pt x="27" y="73"/>
                        <a:pt x="27" y="73"/>
                        <a:pt x="27" y="73"/>
                      </a:cubicBezTo>
                      <a:cubicBezTo>
                        <a:pt x="28" y="74"/>
                        <a:pt x="29" y="74"/>
                        <a:pt x="30" y="74"/>
                      </a:cubicBezTo>
                      <a:cubicBezTo>
                        <a:pt x="31" y="74"/>
                        <a:pt x="32" y="74"/>
                        <a:pt x="33" y="73"/>
                      </a:cubicBezTo>
                      <a:cubicBezTo>
                        <a:pt x="48" y="63"/>
                        <a:pt x="48" y="63"/>
                        <a:pt x="48" y="63"/>
                      </a:cubicBezTo>
                      <a:cubicBezTo>
                        <a:pt x="48" y="73"/>
                        <a:pt x="48" y="73"/>
                        <a:pt x="48" y="73"/>
                      </a:cubicBezTo>
                      <a:cubicBezTo>
                        <a:pt x="30" y="85"/>
                        <a:pt x="30" y="85"/>
                        <a:pt x="30" y="85"/>
                      </a:cubicBezTo>
                      <a:cubicBezTo>
                        <a:pt x="12" y="73"/>
                        <a:pt x="12" y="73"/>
                        <a:pt x="12" y="73"/>
                      </a:cubicBezTo>
                      <a:lnTo>
                        <a:pt x="12" y="63"/>
                      </a:lnTo>
                      <a:close/>
                      <a:moveTo>
                        <a:pt x="48" y="12"/>
                      </a:moveTo>
                      <a:cubicBezTo>
                        <a:pt x="48" y="24"/>
                        <a:pt x="48" y="24"/>
                        <a:pt x="48" y="24"/>
                      </a:cubicBezTo>
                      <a:cubicBezTo>
                        <a:pt x="30" y="36"/>
                        <a:pt x="30" y="36"/>
                        <a:pt x="30" y="36"/>
                      </a:cubicBezTo>
                      <a:cubicBezTo>
                        <a:pt x="12" y="24"/>
                        <a:pt x="12" y="24"/>
                        <a:pt x="12" y="24"/>
                      </a:cubicBezTo>
                      <a:cubicBezTo>
                        <a:pt x="12" y="12"/>
                        <a:pt x="12" y="12"/>
                        <a:pt x="12" y="12"/>
                      </a:cubicBezTo>
                      <a:lnTo>
                        <a:pt x="48" y="12"/>
                      </a:lnTo>
                      <a:close/>
                      <a:moveTo>
                        <a:pt x="12" y="88"/>
                      </a:moveTo>
                      <a:cubicBezTo>
                        <a:pt x="26" y="97"/>
                        <a:pt x="26" y="97"/>
                        <a:pt x="26" y="97"/>
                      </a:cubicBezTo>
                      <a:cubicBezTo>
                        <a:pt x="12" y="97"/>
                        <a:pt x="12" y="97"/>
                        <a:pt x="12" y="97"/>
                      </a:cubicBezTo>
                      <a:lnTo>
                        <a:pt x="12" y="88"/>
                      </a:lnTo>
                      <a:close/>
                      <a:moveTo>
                        <a:pt x="34" y="97"/>
                      </a:moveTo>
                      <a:cubicBezTo>
                        <a:pt x="48" y="88"/>
                        <a:pt x="48" y="88"/>
                        <a:pt x="48" y="88"/>
                      </a:cubicBezTo>
                      <a:cubicBezTo>
                        <a:pt x="48" y="97"/>
                        <a:pt x="48" y="97"/>
                        <a:pt x="48" y="97"/>
                      </a:cubicBezTo>
                      <a:lnTo>
                        <a:pt x="34"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3" name="Oval 184">
                <a:extLst>
                  <a:ext uri="{FF2B5EF4-FFF2-40B4-BE49-F238E27FC236}">
                    <a16:creationId xmlns:a16="http://schemas.microsoft.com/office/drawing/2014/main" id="{C1E6EA15-E1CA-487E-A1A7-D72BDA5527BC}"/>
                  </a:ext>
                </a:extLst>
              </p:cNvPr>
              <p:cNvSpPr>
                <a:spLocks noChangeArrowheads="1"/>
              </p:cNvSpPr>
              <p:nvPr/>
            </p:nvSpPr>
            <p:spPr bwMode="auto">
              <a:xfrm>
                <a:off x="-1565275" y="2622550"/>
                <a:ext cx="50800" cy="50800"/>
              </a:xfrm>
              <a:prstGeom prst="ellipse">
                <a:avLst/>
              </a:prstGeom>
              <a:solidFill>
                <a:srgbClr val="682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Oval 175">
                <a:extLst>
                  <a:ext uri="{FF2B5EF4-FFF2-40B4-BE49-F238E27FC236}">
                    <a16:creationId xmlns:a16="http://schemas.microsoft.com/office/drawing/2014/main" id="{4B6C5C58-244A-49E8-9F68-74733ADA410D}"/>
                  </a:ext>
                </a:extLst>
              </p:cNvPr>
              <p:cNvSpPr>
                <a:spLocks noChangeArrowheads="1"/>
              </p:cNvSpPr>
              <p:nvPr/>
            </p:nvSpPr>
            <p:spPr bwMode="auto">
              <a:xfrm>
                <a:off x="-2060575" y="1981200"/>
                <a:ext cx="1271588" cy="819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76">
                <a:extLst>
                  <a:ext uri="{FF2B5EF4-FFF2-40B4-BE49-F238E27FC236}">
                    <a16:creationId xmlns:a16="http://schemas.microsoft.com/office/drawing/2014/main" id="{93ED916F-E467-40DF-A96C-1C2409735349}"/>
                  </a:ext>
                </a:extLst>
              </p:cNvPr>
              <p:cNvSpPr>
                <a:spLocks/>
              </p:cNvSpPr>
              <p:nvPr/>
            </p:nvSpPr>
            <p:spPr bwMode="auto">
              <a:xfrm>
                <a:off x="-2073275" y="2209800"/>
                <a:ext cx="1309688" cy="598488"/>
              </a:xfrm>
              <a:custGeom>
                <a:avLst/>
                <a:gdLst>
                  <a:gd name="T0" fmla="*/ 248 w 309"/>
                  <a:gd name="T1" fmla="*/ 0 h 141"/>
                  <a:gd name="T2" fmla="*/ 155 w 309"/>
                  <a:gd name="T3" fmla="*/ 0 h 141"/>
                  <a:gd name="T4" fmla="*/ 63 w 309"/>
                  <a:gd name="T5" fmla="*/ 0 h 141"/>
                  <a:gd name="T6" fmla="*/ 13 w 309"/>
                  <a:gd name="T7" fmla="*/ 4 h 141"/>
                  <a:gd name="T8" fmla="*/ 9 w 309"/>
                  <a:gd name="T9" fmla="*/ 9 h 141"/>
                  <a:gd name="T10" fmla="*/ 5 w 309"/>
                  <a:gd name="T11" fmla="*/ 15 h 141"/>
                  <a:gd name="T12" fmla="*/ 2 w 309"/>
                  <a:gd name="T13" fmla="*/ 23 h 141"/>
                  <a:gd name="T14" fmla="*/ 1 w 309"/>
                  <a:gd name="T15" fmla="*/ 31 h 141"/>
                  <a:gd name="T16" fmla="*/ 0 w 309"/>
                  <a:gd name="T17" fmla="*/ 38 h 141"/>
                  <a:gd name="T18" fmla="*/ 1 w 309"/>
                  <a:gd name="T19" fmla="*/ 47 h 141"/>
                  <a:gd name="T20" fmla="*/ 3 w 309"/>
                  <a:gd name="T21" fmla="*/ 56 h 141"/>
                  <a:gd name="T22" fmla="*/ 6 w 309"/>
                  <a:gd name="T23" fmla="*/ 65 h 141"/>
                  <a:gd name="T24" fmla="*/ 10 w 309"/>
                  <a:gd name="T25" fmla="*/ 74 h 141"/>
                  <a:gd name="T26" fmla="*/ 16 w 309"/>
                  <a:gd name="T27" fmla="*/ 82 h 141"/>
                  <a:gd name="T28" fmla="*/ 21 w 309"/>
                  <a:gd name="T29" fmla="*/ 91 h 141"/>
                  <a:gd name="T30" fmla="*/ 29 w 309"/>
                  <a:gd name="T31" fmla="*/ 99 h 141"/>
                  <a:gd name="T32" fmla="*/ 39 w 309"/>
                  <a:gd name="T33" fmla="*/ 107 h 141"/>
                  <a:gd name="T34" fmla="*/ 48 w 309"/>
                  <a:gd name="T35" fmla="*/ 114 h 141"/>
                  <a:gd name="T36" fmla="*/ 61 w 309"/>
                  <a:gd name="T37" fmla="*/ 121 h 141"/>
                  <a:gd name="T38" fmla="*/ 77 w 309"/>
                  <a:gd name="T39" fmla="*/ 127 h 141"/>
                  <a:gd name="T40" fmla="*/ 92 w 309"/>
                  <a:gd name="T41" fmla="*/ 133 h 141"/>
                  <a:gd name="T42" fmla="*/ 109 w 309"/>
                  <a:gd name="T43" fmla="*/ 136 h 141"/>
                  <a:gd name="T44" fmla="*/ 125 w 309"/>
                  <a:gd name="T45" fmla="*/ 138 h 141"/>
                  <a:gd name="T46" fmla="*/ 141 w 309"/>
                  <a:gd name="T47" fmla="*/ 140 h 141"/>
                  <a:gd name="T48" fmla="*/ 157 w 309"/>
                  <a:gd name="T49" fmla="*/ 141 h 141"/>
                  <a:gd name="T50" fmla="*/ 171 w 309"/>
                  <a:gd name="T51" fmla="*/ 139 h 141"/>
                  <a:gd name="T52" fmla="*/ 186 w 309"/>
                  <a:gd name="T53" fmla="*/ 138 h 141"/>
                  <a:gd name="T54" fmla="*/ 200 w 309"/>
                  <a:gd name="T55" fmla="*/ 136 h 141"/>
                  <a:gd name="T56" fmla="*/ 213 w 309"/>
                  <a:gd name="T57" fmla="*/ 133 h 141"/>
                  <a:gd name="T58" fmla="*/ 225 w 309"/>
                  <a:gd name="T59" fmla="*/ 129 h 141"/>
                  <a:gd name="T60" fmla="*/ 237 w 309"/>
                  <a:gd name="T61" fmla="*/ 125 h 141"/>
                  <a:gd name="T62" fmla="*/ 248 w 309"/>
                  <a:gd name="T63" fmla="*/ 121 h 141"/>
                  <a:gd name="T64" fmla="*/ 259 w 309"/>
                  <a:gd name="T65" fmla="*/ 116 h 141"/>
                  <a:gd name="T66" fmla="*/ 268 w 309"/>
                  <a:gd name="T67" fmla="*/ 110 h 141"/>
                  <a:gd name="T68" fmla="*/ 275 w 309"/>
                  <a:gd name="T69" fmla="*/ 103 h 141"/>
                  <a:gd name="T70" fmla="*/ 283 w 309"/>
                  <a:gd name="T71" fmla="*/ 96 h 141"/>
                  <a:gd name="T72" fmla="*/ 289 w 309"/>
                  <a:gd name="T73" fmla="*/ 88 h 141"/>
                  <a:gd name="T74" fmla="*/ 294 w 309"/>
                  <a:gd name="T75" fmla="*/ 80 h 141"/>
                  <a:gd name="T76" fmla="*/ 299 w 309"/>
                  <a:gd name="T77" fmla="*/ 72 h 141"/>
                  <a:gd name="T78" fmla="*/ 303 w 309"/>
                  <a:gd name="T79" fmla="*/ 63 h 141"/>
                  <a:gd name="T80" fmla="*/ 306 w 309"/>
                  <a:gd name="T81" fmla="*/ 54 h 141"/>
                  <a:gd name="T82" fmla="*/ 308 w 309"/>
                  <a:gd name="T83" fmla="*/ 45 h 141"/>
                  <a:gd name="T84" fmla="*/ 309 w 309"/>
                  <a:gd name="T85" fmla="*/ 34 h 141"/>
                  <a:gd name="T86" fmla="*/ 307 w 309"/>
                  <a:gd name="T87" fmla="*/ 26 h 141"/>
                  <a:gd name="T88" fmla="*/ 305 w 309"/>
                  <a:gd name="T89" fmla="*/ 17 h 141"/>
                  <a:gd name="T90" fmla="*/ 302 w 309"/>
                  <a:gd name="T91" fmla="*/ 10 h 141"/>
                  <a:gd name="T92" fmla="*/ 300 w 309"/>
                  <a:gd name="T93" fmla="*/ 6 h 141"/>
                  <a:gd name="T94" fmla="*/ 296 w 309"/>
                  <a:gd name="T95" fmla="*/ 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9" h="141">
                    <a:moveTo>
                      <a:pt x="294" y="5"/>
                    </a:moveTo>
                    <a:cubicBezTo>
                      <a:pt x="271" y="5"/>
                      <a:pt x="271" y="0"/>
                      <a:pt x="248" y="0"/>
                    </a:cubicBezTo>
                    <a:cubicBezTo>
                      <a:pt x="225" y="0"/>
                      <a:pt x="225" y="5"/>
                      <a:pt x="201" y="5"/>
                    </a:cubicBezTo>
                    <a:cubicBezTo>
                      <a:pt x="178" y="5"/>
                      <a:pt x="178" y="0"/>
                      <a:pt x="155" y="0"/>
                    </a:cubicBezTo>
                    <a:cubicBezTo>
                      <a:pt x="132" y="0"/>
                      <a:pt x="132" y="5"/>
                      <a:pt x="109" y="5"/>
                    </a:cubicBezTo>
                    <a:cubicBezTo>
                      <a:pt x="86" y="5"/>
                      <a:pt x="86" y="0"/>
                      <a:pt x="63" y="0"/>
                    </a:cubicBezTo>
                    <a:cubicBezTo>
                      <a:pt x="40" y="0"/>
                      <a:pt x="40" y="4"/>
                      <a:pt x="17" y="5"/>
                    </a:cubicBezTo>
                    <a:cubicBezTo>
                      <a:pt x="15" y="6"/>
                      <a:pt x="14" y="2"/>
                      <a:pt x="13" y="4"/>
                    </a:cubicBezTo>
                    <a:cubicBezTo>
                      <a:pt x="12" y="5"/>
                      <a:pt x="16" y="8"/>
                      <a:pt x="15" y="10"/>
                    </a:cubicBezTo>
                    <a:cubicBezTo>
                      <a:pt x="14" y="11"/>
                      <a:pt x="10" y="8"/>
                      <a:pt x="9" y="9"/>
                    </a:cubicBezTo>
                    <a:cubicBezTo>
                      <a:pt x="8" y="11"/>
                      <a:pt x="12" y="14"/>
                      <a:pt x="11" y="16"/>
                    </a:cubicBezTo>
                    <a:cubicBezTo>
                      <a:pt x="10" y="17"/>
                      <a:pt x="6" y="14"/>
                      <a:pt x="5" y="15"/>
                    </a:cubicBezTo>
                    <a:cubicBezTo>
                      <a:pt x="4" y="17"/>
                      <a:pt x="8" y="19"/>
                      <a:pt x="8" y="21"/>
                    </a:cubicBezTo>
                    <a:cubicBezTo>
                      <a:pt x="7" y="22"/>
                      <a:pt x="2" y="21"/>
                      <a:pt x="2" y="23"/>
                    </a:cubicBezTo>
                    <a:cubicBezTo>
                      <a:pt x="2" y="25"/>
                      <a:pt x="7" y="26"/>
                      <a:pt x="7" y="28"/>
                    </a:cubicBezTo>
                    <a:cubicBezTo>
                      <a:pt x="7" y="29"/>
                      <a:pt x="1" y="29"/>
                      <a:pt x="1" y="31"/>
                    </a:cubicBezTo>
                    <a:cubicBezTo>
                      <a:pt x="1" y="33"/>
                      <a:pt x="7" y="33"/>
                      <a:pt x="6" y="35"/>
                    </a:cubicBezTo>
                    <a:cubicBezTo>
                      <a:pt x="6" y="37"/>
                      <a:pt x="1" y="36"/>
                      <a:pt x="0" y="38"/>
                    </a:cubicBezTo>
                    <a:cubicBezTo>
                      <a:pt x="0" y="40"/>
                      <a:pt x="6" y="40"/>
                      <a:pt x="6" y="42"/>
                    </a:cubicBezTo>
                    <a:cubicBezTo>
                      <a:pt x="6" y="44"/>
                      <a:pt x="1" y="45"/>
                      <a:pt x="1" y="47"/>
                    </a:cubicBezTo>
                    <a:cubicBezTo>
                      <a:pt x="2" y="50"/>
                      <a:pt x="7" y="48"/>
                      <a:pt x="8" y="50"/>
                    </a:cubicBezTo>
                    <a:cubicBezTo>
                      <a:pt x="8" y="53"/>
                      <a:pt x="3" y="54"/>
                      <a:pt x="3" y="56"/>
                    </a:cubicBezTo>
                    <a:cubicBezTo>
                      <a:pt x="4" y="58"/>
                      <a:pt x="10" y="57"/>
                      <a:pt x="10" y="59"/>
                    </a:cubicBezTo>
                    <a:cubicBezTo>
                      <a:pt x="11" y="61"/>
                      <a:pt x="5" y="63"/>
                      <a:pt x="6" y="65"/>
                    </a:cubicBezTo>
                    <a:cubicBezTo>
                      <a:pt x="6" y="67"/>
                      <a:pt x="11" y="65"/>
                      <a:pt x="12" y="67"/>
                    </a:cubicBezTo>
                    <a:cubicBezTo>
                      <a:pt x="13" y="70"/>
                      <a:pt x="9" y="72"/>
                      <a:pt x="10" y="74"/>
                    </a:cubicBezTo>
                    <a:cubicBezTo>
                      <a:pt x="11" y="76"/>
                      <a:pt x="16" y="73"/>
                      <a:pt x="18" y="75"/>
                    </a:cubicBezTo>
                    <a:cubicBezTo>
                      <a:pt x="19" y="77"/>
                      <a:pt x="14" y="80"/>
                      <a:pt x="16" y="82"/>
                    </a:cubicBezTo>
                    <a:cubicBezTo>
                      <a:pt x="17" y="84"/>
                      <a:pt x="22" y="81"/>
                      <a:pt x="23" y="83"/>
                    </a:cubicBezTo>
                    <a:cubicBezTo>
                      <a:pt x="24" y="85"/>
                      <a:pt x="20" y="89"/>
                      <a:pt x="21" y="91"/>
                    </a:cubicBezTo>
                    <a:cubicBezTo>
                      <a:pt x="22" y="93"/>
                      <a:pt x="27" y="89"/>
                      <a:pt x="28" y="91"/>
                    </a:cubicBezTo>
                    <a:cubicBezTo>
                      <a:pt x="30" y="93"/>
                      <a:pt x="27" y="97"/>
                      <a:pt x="29" y="99"/>
                    </a:cubicBezTo>
                    <a:cubicBezTo>
                      <a:pt x="31" y="101"/>
                      <a:pt x="35" y="96"/>
                      <a:pt x="37" y="98"/>
                    </a:cubicBezTo>
                    <a:cubicBezTo>
                      <a:pt x="40" y="100"/>
                      <a:pt x="36" y="105"/>
                      <a:pt x="39" y="107"/>
                    </a:cubicBezTo>
                    <a:cubicBezTo>
                      <a:pt x="41" y="108"/>
                      <a:pt x="45" y="104"/>
                      <a:pt x="47" y="106"/>
                    </a:cubicBezTo>
                    <a:cubicBezTo>
                      <a:pt x="49" y="108"/>
                      <a:pt x="46" y="112"/>
                      <a:pt x="48" y="114"/>
                    </a:cubicBezTo>
                    <a:cubicBezTo>
                      <a:pt x="50" y="116"/>
                      <a:pt x="54" y="111"/>
                      <a:pt x="56" y="113"/>
                    </a:cubicBezTo>
                    <a:cubicBezTo>
                      <a:pt x="60" y="115"/>
                      <a:pt x="57" y="119"/>
                      <a:pt x="61" y="121"/>
                    </a:cubicBezTo>
                    <a:cubicBezTo>
                      <a:pt x="63" y="122"/>
                      <a:pt x="68" y="118"/>
                      <a:pt x="71" y="119"/>
                    </a:cubicBezTo>
                    <a:cubicBezTo>
                      <a:pt x="73" y="120"/>
                      <a:pt x="74" y="126"/>
                      <a:pt x="77" y="127"/>
                    </a:cubicBezTo>
                    <a:cubicBezTo>
                      <a:pt x="79" y="128"/>
                      <a:pt x="84" y="124"/>
                      <a:pt x="86" y="125"/>
                    </a:cubicBezTo>
                    <a:cubicBezTo>
                      <a:pt x="89" y="126"/>
                      <a:pt x="90" y="132"/>
                      <a:pt x="92" y="133"/>
                    </a:cubicBezTo>
                    <a:cubicBezTo>
                      <a:pt x="96" y="134"/>
                      <a:pt x="100" y="130"/>
                      <a:pt x="101" y="130"/>
                    </a:cubicBezTo>
                    <a:cubicBezTo>
                      <a:pt x="101" y="130"/>
                      <a:pt x="104" y="136"/>
                      <a:pt x="109" y="136"/>
                    </a:cubicBezTo>
                    <a:cubicBezTo>
                      <a:pt x="111" y="137"/>
                      <a:pt x="114" y="131"/>
                      <a:pt x="117" y="132"/>
                    </a:cubicBezTo>
                    <a:cubicBezTo>
                      <a:pt x="120" y="132"/>
                      <a:pt x="122" y="138"/>
                      <a:pt x="125" y="138"/>
                    </a:cubicBezTo>
                    <a:cubicBezTo>
                      <a:pt x="127" y="139"/>
                      <a:pt x="131" y="133"/>
                      <a:pt x="133" y="134"/>
                    </a:cubicBezTo>
                    <a:cubicBezTo>
                      <a:pt x="136" y="134"/>
                      <a:pt x="138" y="140"/>
                      <a:pt x="141" y="140"/>
                    </a:cubicBezTo>
                    <a:cubicBezTo>
                      <a:pt x="145" y="141"/>
                      <a:pt x="145" y="136"/>
                      <a:pt x="149" y="136"/>
                    </a:cubicBezTo>
                    <a:cubicBezTo>
                      <a:pt x="153" y="136"/>
                      <a:pt x="153" y="141"/>
                      <a:pt x="157" y="141"/>
                    </a:cubicBezTo>
                    <a:cubicBezTo>
                      <a:pt x="160" y="140"/>
                      <a:pt x="160" y="135"/>
                      <a:pt x="164" y="134"/>
                    </a:cubicBezTo>
                    <a:cubicBezTo>
                      <a:pt x="167" y="134"/>
                      <a:pt x="168" y="140"/>
                      <a:pt x="171" y="139"/>
                    </a:cubicBezTo>
                    <a:cubicBezTo>
                      <a:pt x="175" y="139"/>
                      <a:pt x="175" y="133"/>
                      <a:pt x="178" y="133"/>
                    </a:cubicBezTo>
                    <a:cubicBezTo>
                      <a:pt x="182" y="133"/>
                      <a:pt x="182" y="139"/>
                      <a:pt x="186" y="138"/>
                    </a:cubicBezTo>
                    <a:cubicBezTo>
                      <a:pt x="190" y="138"/>
                      <a:pt x="189" y="132"/>
                      <a:pt x="193" y="132"/>
                    </a:cubicBezTo>
                    <a:cubicBezTo>
                      <a:pt x="196" y="131"/>
                      <a:pt x="197" y="137"/>
                      <a:pt x="200" y="136"/>
                    </a:cubicBezTo>
                    <a:cubicBezTo>
                      <a:pt x="202" y="135"/>
                      <a:pt x="203" y="129"/>
                      <a:pt x="205" y="129"/>
                    </a:cubicBezTo>
                    <a:cubicBezTo>
                      <a:pt x="207" y="128"/>
                      <a:pt x="211" y="133"/>
                      <a:pt x="213" y="133"/>
                    </a:cubicBezTo>
                    <a:cubicBezTo>
                      <a:pt x="215" y="132"/>
                      <a:pt x="216" y="126"/>
                      <a:pt x="218" y="125"/>
                    </a:cubicBezTo>
                    <a:cubicBezTo>
                      <a:pt x="220" y="125"/>
                      <a:pt x="224" y="130"/>
                      <a:pt x="225" y="129"/>
                    </a:cubicBezTo>
                    <a:cubicBezTo>
                      <a:pt x="229" y="128"/>
                      <a:pt x="230" y="122"/>
                      <a:pt x="230" y="122"/>
                    </a:cubicBezTo>
                    <a:cubicBezTo>
                      <a:pt x="231" y="122"/>
                      <a:pt x="235" y="126"/>
                      <a:pt x="237" y="125"/>
                    </a:cubicBezTo>
                    <a:cubicBezTo>
                      <a:pt x="239" y="124"/>
                      <a:pt x="238" y="118"/>
                      <a:pt x="240" y="118"/>
                    </a:cubicBezTo>
                    <a:cubicBezTo>
                      <a:pt x="242" y="117"/>
                      <a:pt x="246" y="121"/>
                      <a:pt x="248" y="121"/>
                    </a:cubicBezTo>
                    <a:cubicBezTo>
                      <a:pt x="250" y="120"/>
                      <a:pt x="249" y="114"/>
                      <a:pt x="251" y="113"/>
                    </a:cubicBezTo>
                    <a:cubicBezTo>
                      <a:pt x="253" y="112"/>
                      <a:pt x="257" y="117"/>
                      <a:pt x="259" y="116"/>
                    </a:cubicBezTo>
                    <a:cubicBezTo>
                      <a:pt x="262" y="114"/>
                      <a:pt x="259" y="110"/>
                      <a:pt x="261" y="109"/>
                    </a:cubicBezTo>
                    <a:cubicBezTo>
                      <a:pt x="263" y="107"/>
                      <a:pt x="266" y="111"/>
                      <a:pt x="268" y="110"/>
                    </a:cubicBezTo>
                    <a:cubicBezTo>
                      <a:pt x="270" y="108"/>
                      <a:pt x="266" y="104"/>
                      <a:pt x="268" y="102"/>
                    </a:cubicBezTo>
                    <a:cubicBezTo>
                      <a:pt x="270" y="101"/>
                      <a:pt x="274" y="105"/>
                      <a:pt x="275" y="103"/>
                    </a:cubicBezTo>
                    <a:cubicBezTo>
                      <a:pt x="277" y="101"/>
                      <a:pt x="273" y="97"/>
                      <a:pt x="275" y="96"/>
                    </a:cubicBezTo>
                    <a:cubicBezTo>
                      <a:pt x="277" y="94"/>
                      <a:pt x="281" y="98"/>
                      <a:pt x="283" y="96"/>
                    </a:cubicBezTo>
                    <a:cubicBezTo>
                      <a:pt x="285" y="95"/>
                      <a:pt x="281" y="91"/>
                      <a:pt x="282" y="89"/>
                    </a:cubicBezTo>
                    <a:cubicBezTo>
                      <a:pt x="284" y="87"/>
                      <a:pt x="288" y="90"/>
                      <a:pt x="289" y="88"/>
                    </a:cubicBezTo>
                    <a:cubicBezTo>
                      <a:pt x="291" y="86"/>
                      <a:pt x="286" y="83"/>
                      <a:pt x="287" y="81"/>
                    </a:cubicBezTo>
                    <a:cubicBezTo>
                      <a:pt x="288" y="79"/>
                      <a:pt x="293" y="82"/>
                      <a:pt x="294" y="80"/>
                    </a:cubicBezTo>
                    <a:cubicBezTo>
                      <a:pt x="295" y="78"/>
                      <a:pt x="290" y="75"/>
                      <a:pt x="292" y="73"/>
                    </a:cubicBezTo>
                    <a:cubicBezTo>
                      <a:pt x="293" y="71"/>
                      <a:pt x="298" y="74"/>
                      <a:pt x="299" y="72"/>
                    </a:cubicBezTo>
                    <a:cubicBezTo>
                      <a:pt x="300" y="70"/>
                      <a:pt x="295" y="68"/>
                      <a:pt x="296" y="65"/>
                    </a:cubicBezTo>
                    <a:cubicBezTo>
                      <a:pt x="297" y="63"/>
                      <a:pt x="302" y="65"/>
                      <a:pt x="303" y="63"/>
                    </a:cubicBezTo>
                    <a:cubicBezTo>
                      <a:pt x="304" y="61"/>
                      <a:pt x="298" y="59"/>
                      <a:pt x="299" y="57"/>
                    </a:cubicBezTo>
                    <a:cubicBezTo>
                      <a:pt x="300" y="55"/>
                      <a:pt x="305" y="56"/>
                      <a:pt x="306" y="54"/>
                    </a:cubicBezTo>
                    <a:cubicBezTo>
                      <a:pt x="306" y="52"/>
                      <a:pt x="301" y="50"/>
                      <a:pt x="302" y="48"/>
                    </a:cubicBezTo>
                    <a:cubicBezTo>
                      <a:pt x="302" y="46"/>
                      <a:pt x="308" y="47"/>
                      <a:pt x="308" y="45"/>
                    </a:cubicBezTo>
                    <a:cubicBezTo>
                      <a:pt x="309" y="43"/>
                      <a:pt x="304" y="42"/>
                      <a:pt x="304" y="39"/>
                    </a:cubicBezTo>
                    <a:cubicBezTo>
                      <a:pt x="304" y="37"/>
                      <a:pt x="309" y="37"/>
                      <a:pt x="309" y="34"/>
                    </a:cubicBezTo>
                    <a:cubicBezTo>
                      <a:pt x="308" y="32"/>
                      <a:pt x="303" y="34"/>
                      <a:pt x="302" y="31"/>
                    </a:cubicBezTo>
                    <a:cubicBezTo>
                      <a:pt x="302" y="29"/>
                      <a:pt x="307" y="28"/>
                      <a:pt x="307" y="26"/>
                    </a:cubicBezTo>
                    <a:cubicBezTo>
                      <a:pt x="306" y="24"/>
                      <a:pt x="301" y="25"/>
                      <a:pt x="300" y="23"/>
                    </a:cubicBezTo>
                    <a:cubicBezTo>
                      <a:pt x="300" y="20"/>
                      <a:pt x="305" y="19"/>
                      <a:pt x="305" y="17"/>
                    </a:cubicBezTo>
                    <a:cubicBezTo>
                      <a:pt x="304" y="15"/>
                      <a:pt x="299" y="16"/>
                      <a:pt x="298" y="14"/>
                    </a:cubicBezTo>
                    <a:cubicBezTo>
                      <a:pt x="298" y="13"/>
                      <a:pt x="303" y="11"/>
                      <a:pt x="302" y="10"/>
                    </a:cubicBezTo>
                    <a:cubicBezTo>
                      <a:pt x="302" y="9"/>
                      <a:pt x="297" y="12"/>
                      <a:pt x="296" y="11"/>
                    </a:cubicBezTo>
                    <a:cubicBezTo>
                      <a:pt x="296" y="10"/>
                      <a:pt x="300" y="7"/>
                      <a:pt x="300" y="6"/>
                    </a:cubicBezTo>
                    <a:cubicBezTo>
                      <a:pt x="299" y="5"/>
                      <a:pt x="294" y="9"/>
                      <a:pt x="294" y="8"/>
                    </a:cubicBezTo>
                    <a:cubicBezTo>
                      <a:pt x="293" y="7"/>
                      <a:pt x="297" y="2"/>
                      <a:pt x="296" y="2"/>
                    </a:cubicBezTo>
                    <a:cubicBezTo>
                      <a:pt x="295" y="1"/>
                      <a:pt x="295" y="5"/>
                      <a:pt x="294" y="5"/>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576" name="Freeform 173">
                <a:extLst>
                  <a:ext uri="{FF2B5EF4-FFF2-40B4-BE49-F238E27FC236}">
                    <a16:creationId xmlns:a16="http://schemas.microsoft.com/office/drawing/2014/main" id="{BF13B612-2DB5-4133-A975-C98F31E1BAFA}"/>
                  </a:ext>
                </a:extLst>
              </p:cNvPr>
              <p:cNvSpPr>
                <a:spLocks/>
              </p:cNvSpPr>
              <p:nvPr/>
            </p:nvSpPr>
            <p:spPr bwMode="auto">
              <a:xfrm>
                <a:off x="-1700213" y="1916113"/>
                <a:ext cx="560388" cy="106363"/>
              </a:xfrm>
              <a:custGeom>
                <a:avLst/>
                <a:gdLst>
                  <a:gd name="T0" fmla="*/ 0 w 353"/>
                  <a:gd name="T1" fmla="*/ 67 h 67"/>
                  <a:gd name="T2" fmla="*/ 40 w 353"/>
                  <a:gd name="T3" fmla="*/ 0 h 67"/>
                  <a:gd name="T4" fmla="*/ 166 w 353"/>
                  <a:gd name="T5" fmla="*/ 0 h 67"/>
                  <a:gd name="T6" fmla="*/ 187 w 353"/>
                  <a:gd name="T7" fmla="*/ 0 h 67"/>
                  <a:gd name="T8" fmla="*/ 313 w 353"/>
                  <a:gd name="T9" fmla="*/ 0 h 67"/>
                  <a:gd name="T10" fmla="*/ 353 w 353"/>
                  <a:gd name="T11" fmla="*/ 67 h 67"/>
                  <a:gd name="T12" fmla="*/ 176 w 353"/>
                  <a:gd name="T13" fmla="*/ 51 h 67"/>
                  <a:gd name="T14" fmla="*/ 0 w 353"/>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3" h="67">
                    <a:moveTo>
                      <a:pt x="0" y="67"/>
                    </a:moveTo>
                    <a:lnTo>
                      <a:pt x="40" y="0"/>
                    </a:lnTo>
                    <a:lnTo>
                      <a:pt x="166" y="0"/>
                    </a:lnTo>
                    <a:lnTo>
                      <a:pt x="187" y="0"/>
                    </a:lnTo>
                    <a:lnTo>
                      <a:pt x="313" y="0"/>
                    </a:lnTo>
                    <a:lnTo>
                      <a:pt x="353" y="67"/>
                    </a:lnTo>
                    <a:lnTo>
                      <a:pt x="176" y="51"/>
                    </a:lnTo>
                    <a:lnTo>
                      <a:pt x="0"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74">
                <a:extLst>
                  <a:ext uri="{FF2B5EF4-FFF2-40B4-BE49-F238E27FC236}">
                    <a16:creationId xmlns:a16="http://schemas.microsoft.com/office/drawing/2014/main" id="{4F2BE16C-FB55-4A19-B94D-1F2E8B4528C1}"/>
                  </a:ext>
                </a:extLst>
              </p:cNvPr>
              <p:cNvSpPr>
                <a:spLocks noEditPoints="1"/>
              </p:cNvSpPr>
              <p:nvPr/>
            </p:nvSpPr>
            <p:spPr bwMode="auto">
              <a:xfrm>
                <a:off x="-1725613" y="1890713"/>
                <a:ext cx="611188" cy="157163"/>
              </a:xfrm>
              <a:custGeom>
                <a:avLst/>
                <a:gdLst>
                  <a:gd name="T0" fmla="*/ 138 w 144"/>
                  <a:gd name="T1" fmla="*/ 37 h 37"/>
                  <a:gd name="T2" fmla="*/ 137 w 144"/>
                  <a:gd name="T3" fmla="*/ 37 h 37"/>
                  <a:gd name="T4" fmla="*/ 72 w 144"/>
                  <a:gd name="T5" fmla="*/ 31 h 37"/>
                  <a:gd name="T6" fmla="*/ 7 w 144"/>
                  <a:gd name="T7" fmla="*/ 37 h 37"/>
                  <a:gd name="T8" fmla="*/ 1 w 144"/>
                  <a:gd name="T9" fmla="*/ 34 h 37"/>
                  <a:gd name="T10" fmla="*/ 1 w 144"/>
                  <a:gd name="T11" fmla="*/ 28 h 37"/>
                  <a:gd name="T12" fmla="*/ 16 w 144"/>
                  <a:gd name="T13" fmla="*/ 3 h 37"/>
                  <a:gd name="T14" fmla="*/ 21 w 144"/>
                  <a:gd name="T15" fmla="*/ 0 h 37"/>
                  <a:gd name="T16" fmla="*/ 123 w 144"/>
                  <a:gd name="T17" fmla="*/ 0 h 37"/>
                  <a:gd name="T18" fmla="*/ 129 w 144"/>
                  <a:gd name="T19" fmla="*/ 3 h 37"/>
                  <a:gd name="T20" fmla="*/ 143 w 144"/>
                  <a:gd name="T21" fmla="*/ 28 h 37"/>
                  <a:gd name="T22" fmla="*/ 143 w 144"/>
                  <a:gd name="T23" fmla="*/ 34 h 37"/>
                  <a:gd name="T24" fmla="*/ 138 w 144"/>
                  <a:gd name="T25" fmla="*/ 37 h 37"/>
                  <a:gd name="T26" fmla="*/ 72 w 144"/>
                  <a:gd name="T27" fmla="*/ 19 h 37"/>
                  <a:gd name="T28" fmla="*/ 73 w 144"/>
                  <a:gd name="T29" fmla="*/ 19 h 37"/>
                  <a:gd name="T30" fmla="*/ 127 w 144"/>
                  <a:gd name="T31" fmla="*/ 24 h 37"/>
                  <a:gd name="T32" fmla="*/ 120 w 144"/>
                  <a:gd name="T33" fmla="*/ 12 h 37"/>
                  <a:gd name="T34" fmla="*/ 24 w 144"/>
                  <a:gd name="T35" fmla="*/ 12 h 37"/>
                  <a:gd name="T36" fmla="*/ 17 w 144"/>
                  <a:gd name="T37" fmla="*/ 24 h 37"/>
                  <a:gd name="T38" fmla="*/ 72 w 144"/>
                  <a:gd name="T39" fmla="*/ 19 h 37"/>
                  <a:gd name="T40" fmla="*/ 72 w 144"/>
                  <a:gd name="T4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37">
                    <a:moveTo>
                      <a:pt x="138" y="37"/>
                    </a:moveTo>
                    <a:cubicBezTo>
                      <a:pt x="138" y="37"/>
                      <a:pt x="138" y="37"/>
                      <a:pt x="137" y="37"/>
                    </a:cubicBezTo>
                    <a:cubicBezTo>
                      <a:pt x="72" y="31"/>
                      <a:pt x="72" y="31"/>
                      <a:pt x="72" y="31"/>
                    </a:cubicBezTo>
                    <a:cubicBezTo>
                      <a:pt x="7" y="37"/>
                      <a:pt x="7" y="37"/>
                      <a:pt x="7" y="37"/>
                    </a:cubicBezTo>
                    <a:cubicBezTo>
                      <a:pt x="5" y="37"/>
                      <a:pt x="2" y="36"/>
                      <a:pt x="1" y="34"/>
                    </a:cubicBezTo>
                    <a:cubicBezTo>
                      <a:pt x="0" y="32"/>
                      <a:pt x="0" y="30"/>
                      <a:pt x="1" y="28"/>
                    </a:cubicBezTo>
                    <a:cubicBezTo>
                      <a:pt x="16" y="3"/>
                      <a:pt x="16" y="3"/>
                      <a:pt x="16" y="3"/>
                    </a:cubicBezTo>
                    <a:cubicBezTo>
                      <a:pt x="17" y="1"/>
                      <a:pt x="19" y="0"/>
                      <a:pt x="21" y="0"/>
                    </a:cubicBezTo>
                    <a:cubicBezTo>
                      <a:pt x="123" y="0"/>
                      <a:pt x="123" y="0"/>
                      <a:pt x="123" y="0"/>
                    </a:cubicBezTo>
                    <a:cubicBezTo>
                      <a:pt x="126" y="0"/>
                      <a:pt x="128" y="1"/>
                      <a:pt x="129" y="3"/>
                    </a:cubicBezTo>
                    <a:cubicBezTo>
                      <a:pt x="143" y="28"/>
                      <a:pt x="143" y="28"/>
                      <a:pt x="143" y="28"/>
                    </a:cubicBezTo>
                    <a:cubicBezTo>
                      <a:pt x="144" y="30"/>
                      <a:pt x="144" y="32"/>
                      <a:pt x="143" y="34"/>
                    </a:cubicBezTo>
                    <a:cubicBezTo>
                      <a:pt x="142" y="36"/>
                      <a:pt x="140" y="37"/>
                      <a:pt x="138" y="37"/>
                    </a:cubicBezTo>
                    <a:close/>
                    <a:moveTo>
                      <a:pt x="72" y="19"/>
                    </a:moveTo>
                    <a:cubicBezTo>
                      <a:pt x="72" y="19"/>
                      <a:pt x="72" y="19"/>
                      <a:pt x="73" y="19"/>
                    </a:cubicBezTo>
                    <a:cubicBezTo>
                      <a:pt x="127" y="24"/>
                      <a:pt x="127" y="24"/>
                      <a:pt x="127" y="24"/>
                    </a:cubicBezTo>
                    <a:cubicBezTo>
                      <a:pt x="120" y="12"/>
                      <a:pt x="120" y="12"/>
                      <a:pt x="120" y="12"/>
                    </a:cubicBezTo>
                    <a:cubicBezTo>
                      <a:pt x="24" y="12"/>
                      <a:pt x="24" y="12"/>
                      <a:pt x="24" y="12"/>
                    </a:cubicBezTo>
                    <a:cubicBezTo>
                      <a:pt x="17" y="24"/>
                      <a:pt x="17" y="24"/>
                      <a:pt x="17" y="24"/>
                    </a:cubicBezTo>
                    <a:cubicBezTo>
                      <a:pt x="72" y="19"/>
                      <a:pt x="72" y="19"/>
                      <a:pt x="72" y="19"/>
                    </a:cubicBezTo>
                    <a:cubicBezTo>
                      <a:pt x="72" y="19"/>
                      <a:pt x="72" y="19"/>
                      <a:pt x="72" y="1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78" name="Group 577">
                <a:extLst>
                  <a:ext uri="{FF2B5EF4-FFF2-40B4-BE49-F238E27FC236}">
                    <a16:creationId xmlns:a16="http://schemas.microsoft.com/office/drawing/2014/main" id="{25D91417-703E-4E66-9200-D37D6E16DFAE}"/>
                  </a:ext>
                </a:extLst>
              </p:cNvPr>
              <p:cNvGrpSpPr/>
              <p:nvPr/>
            </p:nvGrpSpPr>
            <p:grpSpPr>
              <a:xfrm>
                <a:off x="-1887538" y="2316163"/>
                <a:ext cx="966470" cy="276225"/>
                <a:chOff x="-1887538" y="2316163"/>
                <a:chExt cx="966470" cy="276225"/>
              </a:xfrm>
            </p:grpSpPr>
            <p:sp>
              <p:nvSpPr>
                <p:cNvPr id="654" name="Oval 183">
                  <a:extLst>
                    <a:ext uri="{FF2B5EF4-FFF2-40B4-BE49-F238E27FC236}">
                      <a16:creationId xmlns:a16="http://schemas.microsoft.com/office/drawing/2014/main" id="{A18D5C54-98A5-49F3-BFCF-332DB3B25E31}"/>
                    </a:ext>
                  </a:extLst>
                </p:cNvPr>
                <p:cNvSpPr>
                  <a:spLocks noChangeArrowheads="1"/>
                </p:cNvSpPr>
                <p:nvPr/>
              </p:nvSpPr>
              <p:spPr bwMode="auto">
                <a:xfrm>
                  <a:off x="-966788" y="2316163"/>
                  <a:ext cx="45720" cy="46038"/>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55" name="Group 654">
                  <a:extLst>
                    <a:ext uri="{FF2B5EF4-FFF2-40B4-BE49-F238E27FC236}">
                      <a16:creationId xmlns:a16="http://schemas.microsoft.com/office/drawing/2014/main" id="{9DB2E336-2853-4D18-8D98-C63CA22D5D6D}"/>
                    </a:ext>
                  </a:extLst>
                </p:cNvPr>
                <p:cNvGrpSpPr/>
                <p:nvPr/>
              </p:nvGrpSpPr>
              <p:grpSpPr>
                <a:xfrm>
                  <a:off x="-1887538" y="2333625"/>
                  <a:ext cx="950913" cy="258763"/>
                  <a:chOff x="-1887538" y="2333625"/>
                  <a:chExt cx="950913" cy="258763"/>
                </a:xfrm>
                <a:solidFill>
                  <a:schemeClr val="accent6"/>
                </a:solidFill>
              </p:grpSpPr>
              <p:sp>
                <p:nvSpPr>
                  <p:cNvPr id="656" name="Oval 178">
                    <a:extLst>
                      <a:ext uri="{FF2B5EF4-FFF2-40B4-BE49-F238E27FC236}">
                        <a16:creationId xmlns:a16="http://schemas.microsoft.com/office/drawing/2014/main" id="{80A5B8D8-F7F5-476D-9296-8C40B505F402}"/>
                      </a:ext>
                    </a:extLst>
                  </p:cNvPr>
                  <p:cNvSpPr>
                    <a:spLocks noChangeArrowheads="1"/>
                  </p:cNvSpPr>
                  <p:nvPr/>
                </p:nvSpPr>
                <p:spPr bwMode="auto">
                  <a:xfrm>
                    <a:off x="-1811338" y="24526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Oval 179">
                    <a:extLst>
                      <a:ext uri="{FF2B5EF4-FFF2-40B4-BE49-F238E27FC236}">
                        <a16:creationId xmlns:a16="http://schemas.microsoft.com/office/drawing/2014/main" id="{76B51835-A64E-4D89-9C91-C573EC31DAB1}"/>
                      </a:ext>
                    </a:extLst>
                  </p:cNvPr>
                  <p:cNvSpPr>
                    <a:spLocks noChangeArrowheads="1"/>
                  </p:cNvSpPr>
                  <p:nvPr/>
                </p:nvSpPr>
                <p:spPr bwMode="auto">
                  <a:xfrm>
                    <a:off x="-1497013" y="23336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Oval 180">
                    <a:extLst>
                      <a:ext uri="{FF2B5EF4-FFF2-40B4-BE49-F238E27FC236}">
                        <a16:creationId xmlns:a16="http://schemas.microsoft.com/office/drawing/2014/main" id="{820C45E6-E4D9-49BE-B1FC-417031DA0B90}"/>
                      </a:ext>
                    </a:extLst>
                  </p:cNvPr>
                  <p:cNvSpPr>
                    <a:spLocks noChangeArrowheads="1"/>
                  </p:cNvSpPr>
                  <p:nvPr/>
                </p:nvSpPr>
                <p:spPr bwMode="auto">
                  <a:xfrm>
                    <a:off x="-1268413" y="25415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Oval 181">
                    <a:extLst>
                      <a:ext uri="{FF2B5EF4-FFF2-40B4-BE49-F238E27FC236}">
                        <a16:creationId xmlns:a16="http://schemas.microsoft.com/office/drawing/2014/main" id="{00BA4EA0-F6F3-457D-AD7E-429BF07504BA}"/>
                      </a:ext>
                    </a:extLst>
                  </p:cNvPr>
                  <p:cNvSpPr>
                    <a:spLocks noChangeArrowheads="1"/>
                  </p:cNvSpPr>
                  <p:nvPr/>
                </p:nvSpPr>
                <p:spPr bwMode="auto">
                  <a:xfrm>
                    <a:off x="-1101725" y="2417763"/>
                    <a:ext cx="5080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Oval 182">
                    <a:extLst>
                      <a:ext uri="{FF2B5EF4-FFF2-40B4-BE49-F238E27FC236}">
                        <a16:creationId xmlns:a16="http://schemas.microsoft.com/office/drawing/2014/main" id="{6F948E47-AD86-49C2-9329-76E64410179D}"/>
                      </a:ext>
                    </a:extLst>
                  </p:cNvPr>
                  <p:cNvSpPr>
                    <a:spLocks noChangeArrowheads="1"/>
                  </p:cNvSpPr>
                  <p:nvPr/>
                </p:nvSpPr>
                <p:spPr bwMode="auto">
                  <a:xfrm>
                    <a:off x="-987425" y="24860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Oval 185">
                    <a:extLst>
                      <a:ext uri="{FF2B5EF4-FFF2-40B4-BE49-F238E27FC236}">
                        <a16:creationId xmlns:a16="http://schemas.microsoft.com/office/drawing/2014/main" id="{0AA278C3-F2AB-49B2-A4F9-508D0838AF0D}"/>
                      </a:ext>
                    </a:extLst>
                  </p:cNvPr>
                  <p:cNvSpPr>
                    <a:spLocks noChangeArrowheads="1"/>
                  </p:cNvSpPr>
                  <p:nvPr/>
                </p:nvSpPr>
                <p:spPr bwMode="auto">
                  <a:xfrm>
                    <a:off x="-1887538" y="23669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Oval 186">
                    <a:extLst>
                      <a:ext uri="{FF2B5EF4-FFF2-40B4-BE49-F238E27FC236}">
                        <a16:creationId xmlns:a16="http://schemas.microsoft.com/office/drawing/2014/main" id="{DAE4D988-CD28-4DBC-9627-B0D188CBA4D5}"/>
                      </a:ext>
                    </a:extLst>
                  </p:cNvPr>
                  <p:cNvSpPr>
                    <a:spLocks noChangeArrowheads="1"/>
                  </p:cNvSpPr>
                  <p:nvPr/>
                </p:nvSpPr>
                <p:spPr bwMode="auto">
                  <a:xfrm>
                    <a:off x="-1862138" y="2532063"/>
                    <a:ext cx="47625"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Oval 187">
                    <a:extLst>
                      <a:ext uri="{FF2B5EF4-FFF2-40B4-BE49-F238E27FC236}">
                        <a16:creationId xmlns:a16="http://schemas.microsoft.com/office/drawing/2014/main" id="{7DD4B395-2AF6-4785-BF05-772F0EA2B93D}"/>
                      </a:ext>
                    </a:extLst>
                  </p:cNvPr>
                  <p:cNvSpPr>
                    <a:spLocks noChangeArrowheads="1"/>
                  </p:cNvSpPr>
                  <p:nvPr/>
                </p:nvSpPr>
                <p:spPr bwMode="auto">
                  <a:xfrm>
                    <a:off x="-1624013" y="24050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79" name="Freeform 188">
                <a:extLst>
                  <a:ext uri="{FF2B5EF4-FFF2-40B4-BE49-F238E27FC236}">
                    <a16:creationId xmlns:a16="http://schemas.microsoft.com/office/drawing/2014/main" id="{946B0655-3110-4348-957B-EF6FE8D1FD89}"/>
                  </a:ext>
                </a:extLst>
              </p:cNvPr>
              <p:cNvSpPr>
                <a:spLocks noEditPoints="1"/>
              </p:cNvSpPr>
              <p:nvPr/>
            </p:nvSpPr>
            <p:spPr bwMode="auto">
              <a:xfrm>
                <a:off x="-4521200" y="1954213"/>
                <a:ext cx="3873500" cy="871538"/>
              </a:xfrm>
              <a:custGeom>
                <a:avLst/>
                <a:gdLst>
                  <a:gd name="T0" fmla="*/ 882 w 913"/>
                  <a:gd name="T1" fmla="*/ 128 h 205"/>
                  <a:gd name="T2" fmla="*/ 836 w 913"/>
                  <a:gd name="T3" fmla="*/ 27 h 205"/>
                  <a:gd name="T4" fmla="*/ 906 w 913"/>
                  <a:gd name="T5" fmla="*/ 40 h 205"/>
                  <a:gd name="T6" fmla="*/ 907 w 913"/>
                  <a:gd name="T7" fmla="*/ 28 h 205"/>
                  <a:gd name="T8" fmla="*/ 781 w 913"/>
                  <a:gd name="T9" fmla="*/ 6 h 205"/>
                  <a:gd name="T10" fmla="*/ 680 w 913"/>
                  <a:gd name="T11" fmla="*/ 5 h 205"/>
                  <a:gd name="T12" fmla="*/ 545 w 913"/>
                  <a:gd name="T13" fmla="*/ 30 h 205"/>
                  <a:gd name="T14" fmla="*/ 292 w 913"/>
                  <a:gd name="T15" fmla="*/ 76 h 205"/>
                  <a:gd name="T16" fmla="*/ 5 w 913"/>
                  <a:gd name="T17" fmla="*/ 128 h 205"/>
                  <a:gd name="T18" fmla="*/ 6 w 913"/>
                  <a:gd name="T19" fmla="*/ 140 h 205"/>
                  <a:gd name="T20" fmla="*/ 730 w 913"/>
                  <a:gd name="T21" fmla="*/ 205 h 205"/>
                  <a:gd name="T22" fmla="*/ 878 w 913"/>
                  <a:gd name="T23" fmla="*/ 140 h 205"/>
                  <a:gd name="T24" fmla="*/ 912 w 913"/>
                  <a:gd name="T25" fmla="*/ 134 h 205"/>
                  <a:gd name="T26" fmla="*/ 161 w 913"/>
                  <a:gd name="T27" fmla="*/ 128 h 205"/>
                  <a:gd name="T28" fmla="*/ 161 w 913"/>
                  <a:gd name="T29" fmla="*/ 112 h 205"/>
                  <a:gd name="T30" fmla="*/ 173 w 913"/>
                  <a:gd name="T31" fmla="*/ 110 h 205"/>
                  <a:gd name="T32" fmla="*/ 173 w 913"/>
                  <a:gd name="T33" fmla="*/ 123 h 205"/>
                  <a:gd name="T34" fmla="*/ 287 w 913"/>
                  <a:gd name="T35" fmla="*/ 128 h 205"/>
                  <a:gd name="T36" fmla="*/ 287 w 913"/>
                  <a:gd name="T37" fmla="*/ 91 h 205"/>
                  <a:gd name="T38" fmla="*/ 299 w 913"/>
                  <a:gd name="T39" fmla="*/ 128 h 205"/>
                  <a:gd name="T40" fmla="*/ 390 w 913"/>
                  <a:gd name="T41" fmla="*/ 128 h 205"/>
                  <a:gd name="T42" fmla="*/ 413 w 913"/>
                  <a:gd name="T43" fmla="*/ 123 h 205"/>
                  <a:gd name="T44" fmla="*/ 413 w 913"/>
                  <a:gd name="T45" fmla="*/ 66 h 205"/>
                  <a:gd name="T46" fmla="*/ 425 w 913"/>
                  <a:gd name="T47" fmla="*/ 64 h 205"/>
                  <a:gd name="T48" fmla="*/ 425 w 913"/>
                  <a:gd name="T49" fmla="*/ 120 h 205"/>
                  <a:gd name="T50" fmla="*/ 539 w 913"/>
                  <a:gd name="T51" fmla="*/ 128 h 205"/>
                  <a:gd name="T52" fmla="*/ 539 w 913"/>
                  <a:gd name="T53" fmla="*/ 48 h 205"/>
                  <a:gd name="T54" fmla="*/ 551 w 913"/>
                  <a:gd name="T55" fmla="*/ 128 h 205"/>
                  <a:gd name="T56" fmla="*/ 623 w 913"/>
                  <a:gd name="T57" fmla="*/ 28 h 205"/>
                  <a:gd name="T58" fmla="*/ 579 w 913"/>
                  <a:gd name="T59" fmla="*/ 128 h 205"/>
                  <a:gd name="T60" fmla="*/ 730 w 913"/>
                  <a:gd name="T61" fmla="*/ 193 h 205"/>
                  <a:gd name="T62" fmla="*/ 681 w 913"/>
                  <a:gd name="T63" fmla="*/ 17 h 205"/>
                  <a:gd name="T64" fmla="*/ 683 w 913"/>
                  <a:gd name="T65" fmla="*/ 17 h 205"/>
                  <a:gd name="T66" fmla="*/ 874 w 913"/>
                  <a:gd name="T67" fmla="*/ 10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3" h="205">
                    <a:moveTo>
                      <a:pt x="906" y="128"/>
                    </a:moveTo>
                    <a:cubicBezTo>
                      <a:pt x="882" y="128"/>
                      <a:pt x="882" y="128"/>
                      <a:pt x="882" y="128"/>
                    </a:cubicBezTo>
                    <a:cubicBezTo>
                      <a:pt x="885" y="120"/>
                      <a:pt x="886" y="111"/>
                      <a:pt x="886" y="102"/>
                    </a:cubicBezTo>
                    <a:cubicBezTo>
                      <a:pt x="886" y="72"/>
                      <a:pt x="867" y="46"/>
                      <a:pt x="836" y="27"/>
                    </a:cubicBezTo>
                    <a:cubicBezTo>
                      <a:pt x="905" y="39"/>
                      <a:pt x="905" y="39"/>
                      <a:pt x="905" y="39"/>
                    </a:cubicBezTo>
                    <a:cubicBezTo>
                      <a:pt x="906" y="39"/>
                      <a:pt x="906" y="40"/>
                      <a:pt x="906" y="40"/>
                    </a:cubicBezTo>
                    <a:cubicBezTo>
                      <a:pt x="909" y="40"/>
                      <a:pt x="912" y="37"/>
                      <a:pt x="912" y="35"/>
                    </a:cubicBezTo>
                    <a:cubicBezTo>
                      <a:pt x="913" y="31"/>
                      <a:pt x="911" y="28"/>
                      <a:pt x="907" y="28"/>
                    </a:cubicBezTo>
                    <a:cubicBezTo>
                      <a:pt x="784" y="5"/>
                      <a:pt x="784" y="5"/>
                      <a:pt x="784" y="5"/>
                    </a:cubicBezTo>
                    <a:cubicBezTo>
                      <a:pt x="783" y="5"/>
                      <a:pt x="782" y="5"/>
                      <a:pt x="781" y="6"/>
                    </a:cubicBezTo>
                    <a:cubicBezTo>
                      <a:pt x="765" y="2"/>
                      <a:pt x="748" y="0"/>
                      <a:pt x="730" y="0"/>
                    </a:cubicBezTo>
                    <a:cubicBezTo>
                      <a:pt x="713" y="0"/>
                      <a:pt x="696" y="2"/>
                      <a:pt x="680" y="5"/>
                    </a:cubicBezTo>
                    <a:cubicBezTo>
                      <a:pt x="680" y="5"/>
                      <a:pt x="680" y="5"/>
                      <a:pt x="680" y="5"/>
                    </a:cubicBezTo>
                    <a:cubicBezTo>
                      <a:pt x="545" y="30"/>
                      <a:pt x="545" y="30"/>
                      <a:pt x="545" y="30"/>
                    </a:cubicBezTo>
                    <a:cubicBezTo>
                      <a:pt x="544" y="30"/>
                      <a:pt x="543" y="30"/>
                      <a:pt x="543" y="30"/>
                    </a:cubicBezTo>
                    <a:cubicBezTo>
                      <a:pt x="292" y="76"/>
                      <a:pt x="292" y="76"/>
                      <a:pt x="292" y="76"/>
                    </a:cubicBezTo>
                    <a:cubicBezTo>
                      <a:pt x="292" y="76"/>
                      <a:pt x="292" y="76"/>
                      <a:pt x="291" y="76"/>
                    </a:cubicBezTo>
                    <a:cubicBezTo>
                      <a:pt x="5" y="128"/>
                      <a:pt x="5" y="128"/>
                      <a:pt x="5" y="128"/>
                    </a:cubicBezTo>
                    <a:cubicBezTo>
                      <a:pt x="2" y="128"/>
                      <a:pt x="0" y="131"/>
                      <a:pt x="0" y="134"/>
                    </a:cubicBezTo>
                    <a:cubicBezTo>
                      <a:pt x="1" y="137"/>
                      <a:pt x="3" y="140"/>
                      <a:pt x="6" y="140"/>
                    </a:cubicBezTo>
                    <a:cubicBezTo>
                      <a:pt x="585" y="140"/>
                      <a:pt x="585" y="140"/>
                      <a:pt x="585" y="140"/>
                    </a:cubicBezTo>
                    <a:cubicBezTo>
                      <a:pt x="607" y="178"/>
                      <a:pt x="664" y="205"/>
                      <a:pt x="730" y="205"/>
                    </a:cubicBezTo>
                    <a:cubicBezTo>
                      <a:pt x="796" y="205"/>
                      <a:pt x="853" y="178"/>
                      <a:pt x="876" y="139"/>
                    </a:cubicBezTo>
                    <a:cubicBezTo>
                      <a:pt x="876" y="140"/>
                      <a:pt x="877" y="140"/>
                      <a:pt x="878" y="140"/>
                    </a:cubicBezTo>
                    <a:cubicBezTo>
                      <a:pt x="906" y="140"/>
                      <a:pt x="906" y="140"/>
                      <a:pt x="906" y="140"/>
                    </a:cubicBezTo>
                    <a:cubicBezTo>
                      <a:pt x="910" y="140"/>
                      <a:pt x="912" y="137"/>
                      <a:pt x="912" y="134"/>
                    </a:cubicBezTo>
                    <a:cubicBezTo>
                      <a:pt x="912" y="130"/>
                      <a:pt x="910" y="128"/>
                      <a:pt x="906" y="128"/>
                    </a:cubicBezTo>
                    <a:close/>
                    <a:moveTo>
                      <a:pt x="161" y="128"/>
                    </a:moveTo>
                    <a:cubicBezTo>
                      <a:pt x="74" y="128"/>
                      <a:pt x="74" y="128"/>
                      <a:pt x="74" y="128"/>
                    </a:cubicBezTo>
                    <a:cubicBezTo>
                      <a:pt x="161" y="112"/>
                      <a:pt x="161" y="112"/>
                      <a:pt x="161" y="112"/>
                    </a:cubicBezTo>
                    <a:lnTo>
                      <a:pt x="161" y="128"/>
                    </a:lnTo>
                    <a:close/>
                    <a:moveTo>
                      <a:pt x="173" y="110"/>
                    </a:moveTo>
                    <a:cubicBezTo>
                      <a:pt x="234" y="98"/>
                      <a:pt x="234" y="98"/>
                      <a:pt x="234" y="98"/>
                    </a:cubicBezTo>
                    <a:cubicBezTo>
                      <a:pt x="173" y="123"/>
                      <a:pt x="173" y="123"/>
                      <a:pt x="173" y="123"/>
                    </a:cubicBezTo>
                    <a:lnTo>
                      <a:pt x="173" y="110"/>
                    </a:lnTo>
                    <a:close/>
                    <a:moveTo>
                      <a:pt x="287" y="128"/>
                    </a:moveTo>
                    <a:cubicBezTo>
                      <a:pt x="194" y="128"/>
                      <a:pt x="194" y="128"/>
                      <a:pt x="194" y="128"/>
                    </a:cubicBezTo>
                    <a:cubicBezTo>
                      <a:pt x="287" y="91"/>
                      <a:pt x="287" y="91"/>
                      <a:pt x="287" y="91"/>
                    </a:cubicBezTo>
                    <a:lnTo>
                      <a:pt x="287" y="128"/>
                    </a:lnTo>
                    <a:close/>
                    <a:moveTo>
                      <a:pt x="299" y="128"/>
                    </a:moveTo>
                    <a:cubicBezTo>
                      <a:pt x="299" y="94"/>
                      <a:pt x="299" y="94"/>
                      <a:pt x="299" y="94"/>
                    </a:cubicBezTo>
                    <a:cubicBezTo>
                      <a:pt x="390" y="128"/>
                      <a:pt x="390" y="128"/>
                      <a:pt x="390" y="128"/>
                    </a:cubicBezTo>
                    <a:lnTo>
                      <a:pt x="299" y="128"/>
                    </a:lnTo>
                    <a:close/>
                    <a:moveTo>
                      <a:pt x="413" y="123"/>
                    </a:moveTo>
                    <a:cubicBezTo>
                      <a:pt x="309" y="85"/>
                      <a:pt x="309" y="85"/>
                      <a:pt x="309" y="85"/>
                    </a:cubicBezTo>
                    <a:cubicBezTo>
                      <a:pt x="413" y="66"/>
                      <a:pt x="413" y="66"/>
                      <a:pt x="413" y="66"/>
                    </a:cubicBezTo>
                    <a:lnTo>
                      <a:pt x="413" y="123"/>
                    </a:lnTo>
                    <a:close/>
                    <a:moveTo>
                      <a:pt x="425" y="64"/>
                    </a:moveTo>
                    <a:cubicBezTo>
                      <a:pt x="521" y="46"/>
                      <a:pt x="521" y="46"/>
                      <a:pt x="521" y="46"/>
                    </a:cubicBezTo>
                    <a:cubicBezTo>
                      <a:pt x="425" y="120"/>
                      <a:pt x="425" y="120"/>
                      <a:pt x="425" y="120"/>
                    </a:cubicBezTo>
                    <a:lnTo>
                      <a:pt x="425" y="64"/>
                    </a:lnTo>
                    <a:close/>
                    <a:moveTo>
                      <a:pt x="539" y="128"/>
                    </a:moveTo>
                    <a:cubicBezTo>
                      <a:pt x="434" y="128"/>
                      <a:pt x="434" y="128"/>
                      <a:pt x="434" y="128"/>
                    </a:cubicBezTo>
                    <a:cubicBezTo>
                      <a:pt x="539" y="48"/>
                      <a:pt x="539" y="48"/>
                      <a:pt x="539" y="48"/>
                    </a:cubicBezTo>
                    <a:lnTo>
                      <a:pt x="539" y="128"/>
                    </a:lnTo>
                    <a:close/>
                    <a:moveTo>
                      <a:pt x="551" y="128"/>
                    </a:moveTo>
                    <a:cubicBezTo>
                      <a:pt x="551" y="41"/>
                      <a:pt x="551" y="41"/>
                      <a:pt x="551" y="41"/>
                    </a:cubicBezTo>
                    <a:cubicBezTo>
                      <a:pt x="623" y="28"/>
                      <a:pt x="623" y="28"/>
                      <a:pt x="623" y="28"/>
                    </a:cubicBezTo>
                    <a:cubicBezTo>
                      <a:pt x="593" y="47"/>
                      <a:pt x="574" y="73"/>
                      <a:pt x="574" y="102"/>
                    </a:cubicBezTo>
                    <a:cubicBezTo>
                      <a:pt x="574" y="111"/>
                      <a:pt x="575" y="120"/>
                      <a:pt x="579" y="128"/>
                    </a:cubicBezTo>
                    <a:lnTo>
                      <a:pt x="551" y="128"/>
                    </a:lnTo>
                    <a:close/>
                    <a:moveTo>
                      <a:pt x="730" y="193"/>
                    </a:moveTo>
                    <a:cubicBezTo>
                      <a:pt x="651" y="193"/>
                      <a:pt x="586" y="152"/>
                      <a:pt x="586" y="102"/>
                    </a:cubicBezTo>
                    <a:cubicBezTo>
                      <a:pt x="586" y="63"/>
                      <a:pt x="626" y="30"/>
                      <a:pt x="681" y="17"/>
                    </a:cubicBezTo>
                    <a:cubicBezTo>
                      <a:pt x="682" y="17"/>
                      <a:pt x="682" y="17"/>
                      <a:pt x="682" y="17"/>
                    </a:cubicBezTo>
                    <a:cubicBezTo>
                      <a:pt x="682" y="17"/>
                      <a:pt x="683" y="17"/>
                      <a:pt x="683" y="17"/>
                    </a:cubicBezTo>
                    <a:cubicBezTo>
                      <a:pt x="698" y="14"/>
                      <a:pt x="714" y="12"/>
                      <a:pt x="730" y="12"/>
                    </a:cubicBezTo>
                    <a:cubicBezTo>
                      <a:pt x="810" y="12"/>
                      <a:pt x="874" y="53"/>
                      <a:pt x="874" y="102"/>
                    </a:cubicBezTo>
                    <a:cubicBezTo>
                      <a:pt x="874" y="152"/>
                      <a:pt x="810" y="193"/>
                      <a:pt x="730" y="19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80" name="Freeform 189">
                <a:extLst>
                  <a:ext uri="{FF2B5EF4-FFF2-40B4-BE49-F238E27FC236}">
                    <a16:creationId xmlns:a16="http://schemas.microsoft.com/office/drawing/2014/main" id="{7A56C5D3-DFE9-45CF-B009-729B05949475}"/>
                  </a:ext>
                </a:extLst>
              </p:cNvPr>
              <p:cNvSpPr>
                <a:spLocks/>
              </p:cNvSpPr>
              <p:nvPr/>
            </p:nvSpPr>
            <p:spPr bwMode="auto">
              <a:xfrm>
                <a:off x="-5632450" y="2770188"/>
                <a:ext cx="4979988" cy="349250"/>
              </a:xfrm>
              <a:custGeom>
                <a:avLst/>
                <a:gdLst>
                  <a:gd name="T0" fmla="*/ 839 w 1174"/>
                  <a:gd name="T1" fmla="*/ 34 h 82"/>
                  <a:gd name="T2" fmla="*/ 789 w 1174"/>
                  <a:gd name="T3" fmla="*/ 29 h 82"/>
                  <a:gd name="T4" fmla="*/ 791 w 1174"/>
                  <a:gd name="T5" fmla="*/ 49 h 82"/>
                  <a:gd name="T6" fmla="*/ 800 w 1174"/>
                  <a:gd name="T7" fmla="*/ 34 h 82"/>
                  <a:gd name="T8" fmla="*/ 821 w 1174"/>
                  <a:gd name="T9" fmla="*/ 43 h 82"/>
                  <a:gd name="T10" fmla="*/ 805 w 1174"/>
                  <a:gd name="T11" fmla="*/ 55 h 82"/>
                  <a:gd name="T12" fmla="*/ 800 w 1174"/>
                  <a:gd name="T13" fmla="*/ 61 h 82"/>
                  <a:gd name="T14" fmla="*/ 686 w 1174"/>
                  <a:gd name="T15" fmla="*/ 66 h 82"/>
                  <a:gd name="T16" fmla="*/ 685 w 1174"/>
                  <a:gd name="T17" fmla="*/ 2 h 82"/>
                  <a:gd name="T18" fmla="*/ 657 w 1174"/>
                  <a:gd name="T19" fmla="*/ 58 h 82"/>
                  <a:gd name="T20" fmla="*/ 672 w 1174"/>
                  <a:gd name="T21" fmla="*/ 43 h 82"/>
                  <a:gd name="T22" fmla="*/ 686 w 1174"/>
                  <a:gd name="T23" fmla="*/ 37 h 82"/>
                  <a:gd name="T24" fmla="*/ 680 w 1174"/>
                  <a:gd name="T25" fmla="*/ 55 h 82"/>
                  <a:gd name="T26" fmla="*/ 675 w 1174"/>
                  <a:gd name="T27" fmla="*/ 60 h 82"/>
                  <a:gd name="T28" fmla="*/ 674 w 1174"/>
                  <a:gd name="T29" fmla="*/ 70 h 82"/>
                  <a:gd name="T30" fmla="*/ 581 w 1174"/>
                  <a:gd name="T31" fmla="*/ 28 h 82"/>
                  <a:gd name="T32" fmla="*/ 536 w 1174"/>
                  <a:gd name="T33" fmla="*/ 29 h 82"/>
                  <a:gd name="T34" fmla="*/ 539 w 1174"/>
                  <a:gd name="T35" fmla="*/ 58 h 82"/>
                  <a:gd name="T36" fmla="*/ 548 w 1174"/>
                  <a:gd name="T37" fmla="*/ 37 h 82"/>
                  <a:gd name="T38" fmla="*/ 563 w 1174"/>
                  <a:gd name="T39" fmla="*/ 43 h 82"/>
                  <a:gd name="T40" fmla="*/ 554 w 1174"/>
                  <a:gd name="T41" fmla="*/ 55 h 82"/>
                  <a:gd name="T42" fmla="*/ 548 w 1174"/>
                  <a:gd name="T43" fmla="*/ 60 h 82"/>
                  <a:gd name="T44" fmla="*/ 434 w 1174"/>
                  <a:gd name="T45" fmla="*/ 70 h 82"/>
                  <a:gd name="T46" fmla="*/ 455 w 1174"/>
                  <a:gd name="T47" fmla="*/ 28 h 82"/>
                  <a:gd name="T48" fmla="*/ 401 w 1174"/>
                  <a:gd name="T49" fmla="*/ 28 h 82"/>
                  <a:gd name="T50" fmla="*/ 408 w 1174"/>
                  <a:gd name="T51" fmla="*/ 41 h 82"/>
                  <a:gd name="T52" fmla="*/ 428 w 1174"/>
                  <a:gd name="T53" fmla="*/ 16 h 82"/>
                  <a:gd name="T54" fmla="*/ 448 w 1174"/>
                  <a:gd name="T55" fmla="*/ 41 h 82"/>
                  <a:gd name="T56" fmla="*/ 423 w 1174"/>
                  <a:gd name="T57" fmla="*/ 59 h 82"/>
                  <a:gd name="T58" fmla="*/ 422 w 1174"/>
                  <a:gd name="T59" fmla="*/ 61 h 82"/>
                  <a:gd name="T60" fmla="*/ 327 w 1174"/>
                  <a:gd name="T61" fmla="*/ 58 h 82"/>
                  <a:gd name="T62" fmla="*/ 307 w 1174"/>
                  <a:gd name="T63" fmla="*/ 2 h 82"/>
                  <a:gd name="T64" fmla="*/ 270 w 1174"/>
                  <a:gd name="T65" fmla="*/ 34 h 82"/>
                  <a:gd name="T66" fmla="*/ 288 w 1174"/>
                  <a:gd name="T67" fmla="*/ 43 h 82"/>
                  <a:gd name="T68" fmla="*/ 309 w 1174"/>
                  <a:gd name="T69" fmla="*/ 34 h 82"/>
                  <a:gd name="T70" fmla="*/ 318 w 1174"/>
                  <a:gd name="T71" fmla="*/ 49 h 82"/>
                  <a:gd name="T72" fmla="*/ 297 w 1174"/>
                  <a:gd name="T73" fmla="*/ 59 h 82"/>
                  <a:gd name="T74" fmla="*/ 297 w 1174"/>
                  <a:gd name="T75" fmla="*/ 61 h 82"/>
                  <a:gd name="T76" fmla="*/ 210 w 1174"/>
                  <a:gd name="T77" fmla="*/ 34 h 82"/>
                  <a:gd name="T78" fmla="*/ 173 w 1174"/>
                  <a:gd name="T79" fmla="*/ 2 h 82"/>
                  <a:gd name="T80" fmla="*/ 162 w 1174"/>
                  <a:gd name="T81" fmla="*/ 58 h 82"/>
                  <a:gd name="T82" fmla="*/ 171 w 1174"/>
                  <a:gd name="T83" fmla="*/ 37 h 82"/>
                  <a:gd name="T84" fmla="*/ 185 w 1174"/>
                  <a:gd name="T85" fmla="*/ 43 h 82"/>
                  <a:gd name="T86" fmla="*/ 176 w 1174"/>
                  <a:gd name="T87" fmla="*/ 55 h 82"/>
                  <a:gd name="T88" fmla="*/ 171 w 1174"/>
                  <a:gd name="T89" fmla="*/ 60 h 82"/>
                  <a:gd name="T90" fmla="*/ 58 w 1174"/>
                  <a:gd name="T91" fmla="*/ 70 h 82"/>
                  <a:gd name="T92" fmla="*/ 79 w 1174"/>
                  <a:gd name="T93" fmla="*/ 28 h 82"/>
                  <a:gd name="T94" fmla="*/ 25 w 1174"/>
                  <a:gd name="T95" fmla="*/ 28 h 82"/>
                  <a:gd name="T96" fmla="*/ 36 w 1174"/>
                  <a:gd name="T97" fmla="*/ 49 h 82"/>
                  <a:gd name="T98" fmla="*/ 45 w 1174"/>
                  <a:gd name="T99" fmla="*/ 34 h 82"/>
                  <a:gd name="T100" fmla="*/ 67 w 1174"/>
                  <a:gd name="T101" fmla="*/ 43 h 82"/>
                  <a:gd name="T102" fmla="*/ 50 w 1174"/>
                  <a:gd name="T103" fmla="*/ 55 h 82"/>
                  <a:gd name="T104" fmla="*/ 46 w 1174"/>
                  <a:gd name="T105" fmla="*/ 61 h 82"/>
                  <a:gd name="T106" fmla="*/ 0 w 1174"/>
                  <a:gd name="T10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74" h="82">
                    <a:moveTo>
                      <a:pt x="1168" y="70"/>
                    </a:moveTo>
                    <a:cubicBezTo>
                      <a:pt x="812" y="70"/>
                      <a:pt x="812" y="70"/>
                      <a:pt x="812" y="70"/>
                    </a:cubicBezTo>
                    <a:cubicBezTo>
                      <a:pt x="812" y="66"/>
                      <a:pt x="812" y="66"/>
                      <a:pt x="812" y="66"/>
                    </a:cubicBezTo>
                    <a:cubicBezTo>
                      <a:pt x="818" y="65"/>
                      <a:pt x="825" y="63"/>
                      <a:pt x="830" y="58"/>
                    </a:cubicBezTo>
                    <a:cubicBezTo>
                      <a:pt x="839" y="49"/>
                      <a:pt x="839" y="34"/>
                      <a:pt x="839" y="34"/>
                    </a:cubicBezTo>
                    <a:cubicBezTo>
                      <a:pt x="839" y="31"/>
                      <a:pt x="837" y="28"/>
                      <a:pt x="833" y="28"/>
                    </a:cubicBezTo>
                    <a:cubicBezTo>
                      <a:pt x="833" y="28"/>
                      <a:pt x="829" y="28"/>
                      <a:pt x="824" y="29"/>
                    </a:cubicBezTo>
                    <a:cubicBezTo>
                      <a:pt x="822" y="14"/>
                      <a:pt x="811" y="3"/>
                      <a:pt x="811" y="2"/>
                    </a:cubicBezTo>
                    <a:cubicBezTo>
                      <a:pt x="808" y="0"/>
                      <a:pt x="805" y="0"/>
                      <a:pt x="802" y="2"/>
                    </a:cubicBezTo>
                    <a:cubicBezTo>
                      <a:pt x="802" y="3"/>
                      <a:pt x="791" y="14"/>
                      <a:pt x="789" y="29"/>
                    </a:cubicBezTo>
                    <a:cubicBezTo>
                      <a:pt x="784" y="28"/>
                      <a:pt x="780" y="28"/>
                      <a:pt x="779" y="28"/>
                    </a:cubicBezTo>
                    <a:cubicBezTo>
                      <a:pt x="776" y="28"/>
                      <a:pt x="773" y="31"/>
                      <a:pt x="773" y="34"/>
                    </a:cubicBezTo>
                    <a:cubicBezTo>
                      <a:pt x="773" y="34"/>
                      <a:pt x="774" y="49"/>
                      <a:pt x="783" y="58"/>
                    </a:cubicBezTo>
                    <a:cubicBezTo>
                      <a:pt x="785" y="60"/>
                      <a:pt x="789" y="60"/>
                      <a:pt x="791" y="58"/>
                    </a:cubicBezTo>
                    <a:cubicBezTo>
                      <a:pt x="793" y="55"/>
                      <a:pt x="793" y="52"/>
                      <a:pt x="791" y="49"/>
                    </a:cubicBezTo>
                    <a:cubicBezTo>
                      <a:pt x="789" y="47"/>
                      <a:pt x="787" y="44"/>
                      <a:pt x="787" y="41"/>
                    </a:cubicBezTo>
                    <a:cubicBezTo>
                      <a:pt x="788" y="41"/>
                      <a:pt x="790" y="42"/>
                      <a:pt x="792" y="43"/>
                    </a:cubicBezTo>
                    <a:cubicBezTo>
                      <a:pt x="794" y="44"/>
                      <a:pt x="796" y="44"/>
                      <a:pt x="798" y="43"/>
                    </a:cubicBezTo>
                    <a:cubicBezTo>
                      <a:pt x="800" y="42"/>
                      <a:pt x="801" y="39"/>
                      <a:pt x="801" y="37"/>
                    </a:cubicBezTo>
                    <a:cubicBezTo>
                      <a:pt x="800" y="36"/>
                      <a:pt x="800" y="35"/>
                      <a:pt x="800" y="34"/>
                    </a:cubicBezTo>
                    <a:cubicBezTo>
                      <a:pt x="800" y="27"/>
                      <a:pt x="804" y="20"/>
                      <a:pt x="806" y="16"/>
                    </a:cubicBezTo>
                    <a:cubicBezTo>
                      <a:pt x="809" y="20"/>
                      <a:pt x="813" y="27"/>
                      <a:pt x="813" y="34"/>
                    </a:cubicBezTo>
                    <a:cubicBezTo>
                      <a:pt x="813" y="35"/>
                      <a:pt x="813" y="36"/>
                      <a:pt x="812" y="37"/>
                    </a:cubicBezTo>
                    <a:cubicBezTo>
                      <a:pt x="812" y="39"/>
                      <a:pt x="813" y="42"/>
                      <a:pt x="815" y="43"/>
                    </a:cubicBezTo>
                    <a:cubicBezTo>
                      <a:pt x="817" y="44"/>
                      <a:pt x="819" y="44"/>
                      <a:pt x="821" y="43"/>
                    </a:cubicBezTo>
                    <a:cubicBezTo>
                      <a:pt x="823" y="42"/>
                      <a:pt x="825" y="41"/>
                      <a:pt x="826" y="41"/>
                    </a:cubicBezTo>
                    <a:cubicBezTo>
                      <a:pt x="825" y="44"/>
                      <a:pt x="824" y="47"/>
                      <a:pt x="822" y="49"/>
                    </a:cubicBezTo>
                    <a:cubicBezTo>
                      <a:pt x="816" y="55"/>
                      <a:pt x="807" y="55"/>
                      <a:pt x="806" y="55"/>
                    </a:cubicBezTo>
                    <a:cubicBezTo>
                      <a:pt x="806" y="55"/>
                      <a:pt x="806" y="55"/>
                      <a:pt x="806" y="55"/>
                    </a:cubicBezTo>
                    <a:cubicBezTo>
                      <a:pt x="806" y="55"/>
                      <a:pt x="805" y="55"/>
                      <a:pt x="805" y="55"/>
                    </a:cubicBezTo>
                    <a:cubicBezTo>
                      <a:pt x="803" y="55"/>
                      <a:pt x="802" y="57"/>
                      <a:pt x="801" y="59"/>
                    </a:cubicBezTo>
                    <a:cubicBezTo>
                      <a:pt x="801" y="59"/>
                      <a:pt x="801" y="59"/>
                      <a:pt x="801" y="59"/>
                    </a:cubicBezTo>
                    <a:cubicBezTo>
                      <a:pt x="801" y="59"/>
                      <a:pt x="801" y="59"/>
                      <a:pt x="801" y="60"/>
                    </a:cubicBezTo>
                    <a:cubicBezTo>
                      <a:pt x="801" y="60"/>
                      <a:pt x="801" y="60"/>
                      <a:pt x="801" y="60"/>
                    </a:cubicBezTo>
                    <a:cubicBezTo>
                      <a:pt x="801" y="60"/>
                      <a:pt x="800" y="61"/>
                      <a:pt x="800" y="61"/>
                    </a:cubicBezTo>
                    <a:cubicBezTo>
                      <a:pt x="800" y="61"/>
                      <a:pt x="800" y="61"/>
                      <a:pt x="800" y="61"/>
                    </a:cubicBezTo>
                    <a:cubicBezTo>
                      <a:pt x="800" y="61"/>
                      <a:pt x="800" y="61"/>
                      <a:pt x="800" y="61"/>
                    </a:cubicBezTo>
                    <a:cubicBezTo>
                      <a:pt x="800" y="70"/>
                      <a:pt x="800" y="70"/>
                      <a:pt x="800" y="70"/>
                    </a:cubicBezTo>
                    <a:cubicBezTo>
                      <a:pt x="686" y="70"/>
                      <a:pt x="686" y="70"/>
                      <a:pt x="686" y="70"/>
                    </a:cubicBezTo>
                    <a:cubicBezTo>
                      <a:pt x="686" y="66"/>
                      <a:pt x="686" y="66"/>
                      <a:pt x="686" y="66"/>
                    </a:cubicBezTo>
                    <a:cubicBezTo>
                      <a:pt x="691" y="65"/>
                      <a:pt x="699" y="63"/>
                      <a:pt x="704" y="58"/>
                    </a:cubicBezTo>
                    <a:cubicBezTo>
                      <a:pt x="713" y="49"/>
                      <a:pt x="713" y="34"/>
                      <a:pt x="713" y="34"/>
                    </a:cubicBezTo>
                    <a:cubicBezTo>
                      <a:pt x="713" y="31"/>
                      <a:pt x="711" y="28"/>
                      <a:pt x="707" y="28"/>
                    </a:cubicBezTo>
                    <a:cubicBezTo>
                      <a:pt x="707" y="28"/>
                      <a:pt x="703" y="28"/>
                      <a:pt x="698" y="29"/>
                    </a:cubicBezTo>
                    <a:cubicBezTo>
                      <a:pt x="696" y="14"/>
                      <a:pt x="685" y="3"/>
                      <a:pt x="685" y="2"/>
                    </a:cubicBezTo>
                    <a:cubicBezTo>
                      <a:pt x="682" y="0"/>
                      <a:pt x="679" y="0"/>
                      <a:pt x="676" y="2"/>
                    </a:cubicBezTo>
                    <a:cubicBezTo>
                      <a:pt x="676" y="3"/>
                      <a:pt x="664" y="14"/>
                      <a:pt x="662" y="29"/>
                    </a:cubicBezTo>
                    <a:cubicBezTo>
                      <a:pt x="658" y="28"/>
                      <a:pt x="654" y="28"/>
                      <a:pt x="653" y="28"/>
                    </a:cubicBezTo>
                    <a:cubicBezTo>
                      <a:pt x="650" y="28"/>
                      <a:pt x="647" y="31"/>
                      <a:pt x="647" y="34"/>
                    </a:cubicBezTo>
                    <a:cubicBezTo>
                      <a:pt x="647" y="34"/>
                      <a:pt x="648" y="49"/>
                      <a:pt x="657" y="58"/>
                    </a:cubicBezTo>
                    <a:cubicBezTo>
                      <a:pt x="659" y="60"/>
                      <a:pt x="663" y="60"/>
                      <a:pt x="665" y="58"/>
                    </a:cubicBezTo>
                    <a:cubicBezTo>
                      <a:pt x="667" y="55"/>
                      <a:pt x="667" y="52"/>
                      <a:pt x="665" y="49"/>
                    </a:cubicBezTo>
                    <a:cubicBezTo>
                      <a:pt x="663" y="47"/>
                      <a:pt x="661" y="44"/>
                      <a:pt x="661" y="41"/>
                    </a:cubicBezTo>
                    <a:cubicBezTo>
                      <a:pt x="662" y="41"/>
                      <a:pt x="664" y="42"/>
                      <a:pt x="666" y="43"/>
                    </a:cubicBezTo>
                    <a:cubicBezTo>
                      <a:pt x="668" y="44"/>
                      <a:pt x="670" y="44"/>
                      <a:pt x="672" y="43"/>
                    </a:cubicBezTo>
                    <a:cubicBezTo>
                      <a:pt x="674" y="42"/>
                      <a:pt x="675" y="39"/>
                      <a:pt x="674" y="37"/>
                    </a:cubicBezTo>
                    <a:cubicBezTo>
                      <a:pt x="674" y="36"/>
                      <a:pt x="674" y="35"/>
                      <a:pt x="674" y="34"/>
                    </a:cubicBezTo>
                    <a:cubicBezTo>
                      <a:pt x="674" y="27"/>
                      <a:pt x="678" y="20"/>
                      <a:pt x="680" y="16"/>
                    </a:cubicBezTo>
                    <a:cubicBezTo>
                      <a:pt x="683" y="20"/>
                      <a:pt x="687" y="27"/>
                      <a:pt x="687" y="34"/>
                    </a:cubicBezTo>
                    <a:cubicBezTo>
                      <a:pt x="687" y="35"/>
                      <a:pt x="687" y="36"/>
                      <a:pt x="686" y="37"/>
                    </a:cubicBezTo>
                    <a:cubicBezTo>
                      <a:pt x="686" y="39"/>
                      <a:pt x="687" y="42"/>
                      <a:pt x="689" y="43"/>
                    </a:cubicBezTo>
                    <a:cubicBezTo>
                      <a:pt x="691" y="44"/>
                      <a:pt x="693" y="44"/>
                      <a:pt x="695" y="43"/>
                    </a:cubicBezTo>
                    <a:cubicBezTo>
                      <a:pt x="697" y="42"/>
                      <a:pt x="699" y="41"/>
                      <a:pt x="700" y="41"/>
                    </a:cubicBezTo>
                    <a:cubicBezTo>
                      <a:pt x="699" y="44"/>
                      <a:pt x="698" y="47"/>
                      <a:pt x="696" y="49"/>
                    </a:cubicBezTo>
                    <a:cubicBezTo>
                      <a:pt x="690" y="55"/>
                      <a:pt x="681" y="55"/>
                      <a:pt x="680" y="55"/>
                    </a:cubicBezTo>
                    <a:cubicBezTo>
                      <a:pt x="680" y="55"/>
                      <a:pt x="680" y="55"/>
                      <a:pt x="680" y="55"/>
                    </a:cubicBezTo>
                    <a:cubicBezTo>
                      <a:pt x="680" y="55"/>
                      <a:pt x="679" y="55"/>
                      <a:pt x="679" y="55"/>
                    </a:cubicBezTo>
                    <a:cubicBezTo>
                      <a:pt x="677" y="55"/>
                      <a:pt x="676" y="57"/>
                      <a:pt x="675" y="59"/>
                    </a:cubicBezTo>
                    <a:cubicBezTo>
                      <a:pt x="675" y="59"/>
                      <a:pt x="675" y="59"/>
                      <a:pt x="675" y="59"/>
                    </a:cubicBezTo>
                    <a:cubicBezTo>
                      <a:pt x="675" y="59"/>
                      <a:pt x="675" y="59"/>
                      <a:pt x="675" y="60"/>
                    </a:cubicBezTo>
                    <a:cubicBezTo>
                      <a:pt x="675" y="60"/>
                      <a:pt x="675" y="60"/>
                      <a:pt x="675" y="60"/>
                    </a:cubicBezTo>
                    <a:cubicBezTo>
                      <a:pt x="674" y="60"/>
                      <a:pt x="674" y="61"/>
                      <a:pt x="674" y="61"/>
                    </a:cubicBezTo>
                    <a:cubicBezTo>
                      <a:pt x="674" y="61"/>
                      <a:pt x="674" y="61"/>
                      <a:pt x="674" y="61"/>
                    </a:cubicBezTo>
                    <a:cubicBezTo>
                      <a:pt x="674" y="61"/>
                      <a:pt x="674" y="61"/>
                      <a:pt x="674" y="61"/>
                    </a:cubicBezTo>
                    <a:cubicBezTo>
                      <a:pt x="674" y="70"/>
                      <a:pt x="674" y="70"/>
                      <a:pt x="674" y="70"/>
                    </a:cubicBezTo>
                    <a:cubicBezTo>
                      <a:pt x="560" y="70"/>
                      <a:pt x="560" y="70"/>
                      <a:pt x="560" y="70"/>
                    </a:cubicBezTo>
                    <a:cubicBezTo>
                      <a:pt x="560" y="66"/>
                      <a:pt x="560" y="66"/>
                      <a:pt x="560" y="66"/>
                    </a:cubicBezTo>
                    <a:cubicBezTo>
                      <a:pt x="565" y="65"/>
                      <a:pt x="573" y="63"/>
                      <a:pt x="578" y="58"/>
                    </a:cubicBezTo>
                    <a:cubicBezTo>
                      <a:pt x="587" y="49"/>
                      <a:pt x="587" y="34"/>
                      <a:pt x="587" y="34"/>
                    </a:cubicBezTo>
                    <a:cubicBezTo>
                      <a:pt x="587" y="31"/>
                      <a:pt x="585" y="28"/>
                      <a:pt x="581" y="28"/>
                    </a:cubicBezTo>
                    <a:cubicBezTo>
                      <a:pt x="581" y="28"/>
                      <a:pt x="581" y="28"/>
                      <a:pt x="581" y="28"/>
                    </a:cubicBezTo>
                    <a:cubicBezTo>
                      <a:pt x="581" y="28"/>
                      <a:pt x="577" y="28"/>
                      <a:pt x="572" y="29"/>
                    </a:cubicBezTo>
                    <a:cubicBezTo>
                      <a:pt x="570" y="14"/>
                      <a:pt x="559" y="3"/>
                      <a:pt x="559" y="2"/>
                    </a:cubicBezTo>
                    <a:cubicBezTo>
                      <a:pt x="556" y="0"/>
                      <a:pt x="552" y="0"/>
                      <a:pt x="550" y="2"/>
                    </a:cubicBezTo>
                    <a:cubicBezTo>
                      <a:pt x="550" y="3"/>
                      <a:pt x="538" y="14"/>
                      <a:pt x="536" y="29"/>
                    </a:cubicBezTo>
                    <a:cubicBezTo>
                      <a:pt x="532" y="28"/>
                      <a:pt x="528" y="28"/>
                      <a:pt x="527" y="28"/>
                    </a:cubicBezTo>
                    <a:cubicBezTo>
                      <a:pt x="527" y="28"/>
                      <a:pt x="527" y="28"/>
                      <a:pt x="527" y="28"/>
                    </a:cubicBezTo>
                    <a:cubicBezTo>
                      <a:pt x="524" y="28"/>
                      <a:pt x="521" y="31"/>
                      <a:pt x="521" y="34"/>
                    </a:cubicBezTo>
                    <a:cubicBezTo>
                      <a:pt x="521" y="34"/>
                      <a:pt x="521" y="49"/>
                      <a:pt x="530" y="58"/>
                    </a:cubicBezTo>
                    <a:cubicBezTo>
                      <a:pt x="533" y="60"/>
                      <a:pt x="537" y="60"/>
                      <a:pt x="539" y="58"/>
                    </a:cubicBezTo>
                    <a:cubicBezTo>
                      <a:pt x="541" y="55"/>
                      <a:pt x="541" y="52"/>
                      <a:pt x="539" y="49"/>
                    </a:cubicBezTo>
                    <a:cubicBezTo>
                      <a:pt x="537" y="47"/>
                      <a:pt x="535" y="44"/>
                      <a:pt x="534" y="41"/>
                    </a:cubicBezTo>
                    <a:cubicBezTo>
                      <a:pt x="536" y="41"/>
                      <a:pt x="538" y="42"/>
                      <a:pt x="539" y="43"/>
                    </a:cubicBezTo>
                    <a:cubicBezTo>
                      <a:pt x="541" y="44"/>
                      <a:pt x="544" y="44"/>
                      <a:pt x="546" y="43"/>
                    </a:cubicBezTo>
                    <a:cubicBezTo>
                      <a:pt x="548" y="42"/>
                      <a:pt x="549" y="39"/>
                      <a:pt x="548" y="37"/>
                    </a:cubicBezTo>
                    <a:cubicBezTo>
                      <a:pt x="548" y="36"/>
                      <a:pt x="548" y="35"/>
                      <a:pt x="548" y="34"/>
                    </a:cubicBezTo>
                    <a:cubicBezTo>
                      <a:pt x="548" y="27"/>
                      <a:pt x="551" y="20"/>
                      <a:pt x="554" y="16"/>
                    </a:cubicBezTo>
                    <a:cubicBezTo>
                      <a:pt x="557" y="20"/>
                      <a:pt x="561" y="27"/>
                      <a:pt x="561" y="34"/>
                    </a:cubicBezTo>
                    <a:cubicBezTo>
                      <a:pt x="561" y="35"/>
                      <a:pt x="560" y="36"/>
                      <a:pt x="560" y="37"/>
                    </a:cubicBezTo>
                    <a:cubicBezTo>
                      <a:pt x="560" y="39"/>
                      <a:pt x="561" y="42"/>
                      <a:pt x="563" y="43"/>
                    </a:cubicBezTo>
                    <a:cubicBezTo>
                      <a:pt x="565" y="44"/>
                      <a:pt x="567" y="44"/>
                      <a:pt x="569" y="43"/>
                    </a:cubicBezTo>
                    <a:cubicBezTo>
                      <a:pt x="571" y="42"/>
                      <a:pt x="573" y="41"/>
                      <a:pt x="574" y="41"/>
                    </a:cubicBezTo>
                    <a:cubicBezTo>
                      <a:pt x="573" y="44"/>
                      <a:pt x="572" y="47"/>
                      <a:pt x="570" y="49"/>
                    </a:cubicBezTo>
                    <a:cubicBezTo>
                      <a:pt x="564" y="55"/>
                      <a:pt x="555" y="55"/>
                      <a:pt x="554" y="55"/>
                    </a:cubicBezTo>
                    <a:cubicBezTo>
                      <a:pt x="554" y="55"/>
                      <a:pt x="554" y="55"/>
                      <a:pt x="554" y="55"/>
                    </a:cubicBezTo>
                    <a:cubicBezTo>
                      <a:pt x="553" y="55"/>
                      <a:pt x="553" y="55"/>
                      <a:pt x="553" y="55"/>
                    </a:cubicBezTo>
                    <a:cubicBezTo>
                      <a:pt x="551" y="55"/>
                      <a:pt x="550" y="57"/>
                      <a:pt x="549" y="59"/>
                    </a:cubicBezTo>
                    <a:cubicBezTo>
                      <a:pt x="549" y="59"/>
                      <a:pt x="549" y="59"/>
                      <a:pt x="549" y="59"/>
                    </a:cubicBezTo>
                    <a:cubicBezTo>
                      <a:pt x="549" y="59"/>
                      <a:pt x="548" y="59"/>
                      <a:pt x="548" y="60"/>
                    </a:cubicBezTo>
                    <a:cubicBezTo>
                      <a:pt x="548" y="60"/>
                      <a:pt x="548" y="60"/>
                      <a:pt x="548" y="60"/>
                    </a:cubicBezTo>
                    <a:cubicBezTo>
                      <a:pt x="548" y="60"/>
                      <a:pt x="548" y="61"/>
                      <a:pt x="548" y="61"/>
                    </a:cubicBezTo>
                    <a:cubicBezTo>
                      <a:pt x="548" y="61"/>
                      <a:pt x="548" y="61"/>
                      <a:pt x="548" y="61"/>
                    </a:cubicBezTo>
                    <a:cubicBezTo>
                      <a:pt x="548" y="61"/>
                      <a:pt x="548" y="61"/>
                      <a:pt x="548" y="61"/>
                    </a:cubicBezTo>
                    <a:cubicBezTo>
                      <a:pt x="548" y="70"/>
                      <a:pt x="548" y="70"/>
                      <a:pt x="548" y="70"/>
                    </a:cubicBezTo>
                    <a:cubicBezTo>
                      <a:pt x="434" y="70"/>
                      <a:pt x="434" y="70"/>
                      <a:pt x="434" y="70"/>
                    </a:cubicBezTo>
                    <a:cubicBezTo>
                      <a:pt x="434" y="66"/>
                      <a:pt x="434" y="66"/>
                      <a:pt x="434" y="66"/>
                    </a:cubicBezTo>
                    <a:cubicBezTo>
                      <a:pt x="439" y="65"/>
                      <a:pt x="447" y="63"/>
                      <a:pt x="452" y="58"/>
                    </a:cubicBezTo>
                    <a:cubicBezTo>
                      <a:pt x="461" y="49"/>
                      <a:pt x="461" y="34"/>
                      <a:pt x="461" y="34"/>
                    </a:cubicBezTo>
                    <a:cubicBezTo>
                      <a:pt x="461" y="31"/>
                      <a:pt x="459" y="28"/>
                      <a:pt x="455" y="28"/>
                    </a:cubicBezTo>
                    <a:cubicBezTo>
                      <a:pt x="455" y="28"/>
                      <a:pt x="455" y="28"/>
                      <a:pt x="455" y="28"/>
                    </a:cubicBezTo>
                    <a:cubicBezTo>
                      <a:pt x="455" y="28"/>
                      <a:pt x="451" y="28"/>
                      <a:pt x="446" y="29"/>
                    </a:cubicBezTo>
                    <a:cubicBezTo>
                      <a:pt x="444" y="14"/>
                      <a:pt x="433" y="3"/>
                      <a:pt x="432" y="2"/>
                    </a:cubicBezTo>
                    <a:cubicBezTo>
                      <a:pt x="430" y="0"/>
                      <a:pt x="426" y="0"/>
                      <a:pt x="424" y="2"/>
                    </a:cubicBezTo>
                    <a:cubicBezTo>
                      <a:pt x="424" y="3"/>
                      <a:pt x="412" y="14"/>
                      <a:pt x="410" y="29"/>
                    </a:cubicBezTo>
                    <a:cubicBezTo>
                      <a:pt x="406" y="28"/>
                      <a:pt x="402" y="28"/>
                      <a:pt x="401" y="28"/>
                    </a:cubicBezTo>
                    <a:cubicBezTo>
                      <a:pt x="398" y="28"/>
                      <a:pt x="395" y="31"/>
                      <a:pt x="395" y="34"/>
                    </a:cubicBezTo>
                    <a:cubicBezTo>
                      <a:pt x="395" y="34"/>
                      <a:pt x="395" y="49"/>
                      <a:pt x="404" y="58"/>
                    </a:cubicBezTo>
                    <a:cubicBezTo>
                      <a:pt x="407" y="60"/>
                      <a:pt x="411" y="60"/>
                      <a:pt x="413" y="58"/>
                    </a:cubicBezTo>
                    <a:cubicBezTo>
                      <a:pt x="415" y="55"/>
                      <a:pt x="415" y="52"/>
                      <a:pt x="413" y="49"/>
                    </a:cubicBezTo>
                    <a:cubicBezTo>
                      <a:pt x="411" y="47"/>
                      <a:pt x="409" y="44"/>
                      <a:pt x="408" y="41"/>
                    </a:cubicBezTo>
                    <a:cubicBezTo>
                      <a:pt x="410" y="41"/>
                      <a:pt x="412" y="42"/>
                      <a:pt x="413" y="43"/>
                    </a:cubicBezTo>
                    <a:cubicBezTo>
                      <a:pt x="415" y="44"/>
                      <a:pt x="418" y="44"/>
                      <a:pt x="420" y="43"/>
                    </a:cubicBezTo>
                    <a:cubicBezTo>
                      <a:pt x="422" y="42"/>
                      <a:pt x="423" y="39"/>
                      <a:pt x="422" y="37"/>
                    </a:cubicBezTo>
                    <a:cubicBezTo>
                      <a:pt x="422" y="36"/>
                      <a:pt x="422" y="35"/>
                      <a:pt x="422" y="34"/>
                    </a:cubicBezTo>
                    <a:cubicBezTo>
                      <a:pt x="422" y="27"/>
                      <a:pt x="425" y="20"/>
                      <a:pt x="428" y="16"/>
                    </a:cubicBezTo>
                    <a:cubicBezTo>
                      <a:pt x="431" y="20"/>
                      <a:pt x="434" y="27"/>
                      <a:pt x="434" y="34"/>
                    </a:cubicBezTo>
                    <a:cubicBezTo>
                      <a:pt x="434" y="35"/>
                      <a:pt x="434" y="36"/>
                      <a:pt x="434" y="37"/>
                    </a:cubicBezTo>
                    <a:cubicBezTo>
                      <a:pt x="434" y="39"/>
                      <a:pt x="435" y="42"/>
                      <a:pt x="437" y="43"/>
                    </a:cubicBezTo>
                    <a:cubicBezTo>
                      <a:pt x="439" y="44"/>
                      <a:pt x="441" y="44"/>
                      <a:pt x="443" y="43"/>
                    </a:cubicBezTo>
                    <a:cubicBezTo>
                      <a:pt x="445" y="42"/>
                      <a:pt x="446" y="41"/>
                      <a:pt x="448" y="41"/>
                    </a:cubicBezTo>
                    <a:cubicBezTo>
                      <a:pt x="447" y="44"/>
                      <a:pt x="446" y="47"/>
                      <a:pt x="444" y="49"/>
                    </a:cubicBezTo>
                    <a:cubicBezTo>
                      <a:pt x="438" y="55"/>
                      <a:pt x="429" y="55"/>
                      <a:pt x="428" y="55"/>
                    </a:cubicBezTo>
                    <a:cubicBezTo>
                      <a:pt x="428" y="55"/>
                      <a:pt x="428" y="55"/>
                      <a:pt x="428" y="55"/>
                    </a:cubicBezTo>
                    <a:cubicBezTo>
                      <a:pt x="427" y="55"/>
                      <a:pt x="427" y="55"/>
                      <a:pt x="427" y="55"/>
                    </a:cubicBezTo>
                    <a:cubicBezTo>
                      <a:pt x="425" y="55"/>
                      <a:pt x="423" y="57"/>
                      <a:pt x="423" y="59"/>
                    </a:cubicBezTo>
                    <a:cubicBezTo>
                      <a:pt x="423" y="59"/>
                      <a:pt x="423" y="59"/>
                      <a:pt x="423" y="59"/>
                    </a:cubicBezTo>
                    <a:cubicBezTo>
                      <a:pt x="423" y="59"/>
                      <a:pt x="422" y="59"/>
                      <a:pt x="422" y="60"/>
                    </a:cubicBezTo>
                    <a:cubicBezTo>
                      <a:pt x="422" y="60"/>
                      <a:pt x="422" y="60"/>
                      <a:pt x="422" y="60"/>
                    </a:cubicBezTo>
                    <a:cubicBezTo>
                      <a:pt x="422" y="60"/>
                      <a:pt x="422" y="61"/>
                      <a:pt x="422" y="61"/>
                    </a:cubicBezTo>
                    <a:cubicBezTo>
                      <a:pt x="422" y="61"/>
                      <a:pt x="422" y="61"/>
                      <a:pt x="422" y="61"/>
                    </a:cubicBezTo>
                    <a:cubicBezTo>
                      <a:pt x="422" y="61"/>
                      <a:pt x="422" y="61"/>
                      <a:pt x="422" y="61"/>
                    </a:cubicBezTo>
                    <a:cubicBezTo>
                      <a:pt x="422" y="70"/>
                      <a:pt x="422" y="70"/>
                      <a:pt x="422" y="70"/>
                    </a:cubicBezTo>
                    <a:cubicBezTo>
                      <a:pt x="309" y="70"/>
                      <a:pt x="309" y="70"/>
                      <a:pt x="309" y="70"/>
                    </a:cubicBezTo>
                    <a:cubicBezTo>
                      <a:pt x="309" y="66"/>
                      <a:pt x="309" y="66"/>
                      <a:pt x="309" y="66"/>
                    </a:cubicBezTo>
                    <a:cubicBezTo>
                      <a:pt x="314" y="65"/>
                      <a:pt x="321" y="63"/>
                      <a:pt x="327" y="58"/>
                    </a:cubicBezTo>
                    <a:cubicBezTo>
                      <a:pt x="336" y="49"/>
                      <a:pt x="336" y="34"/>
                      <a:pt x="336" y="34"/>
                    </a:cubicBezTo>
                    <a:cubicBezTo>
                      <a:pt x="336" y="31"/>
                      <a:pt x="333" y="28"/>
                      <a:pt x="330" y="28"/>
                    </a:cubicBezTo>
                    <a:cubicBezTo>
                      <a:pt x="330" y="28"/>
                      <a:pt x="330" y="28"/>
                      <a:pt x="330" y="28"/>
                    </a:cubicBezTo>
                    <a:cubicBezTo>
                      <a:pt x="329" y="28"/>
                      <a:pt x="326" y="28"/>
                      <a:pt x="321" y="29"/>
                    </a:cubicBezTo>
                    <a:cubicBezTo>
                      <a:pt x="319" y="14"/>
                      <a:pt x="308" y="3"/>
                      <a:pt x="307" y="2"/>
                    </a:cubicBezTo>
                    <a:cubicBezTo>
                      <a:pt x="305" y="0"/>
                      <a:pt x="301" y="0"/>
                      <a:pt x="299" y="2"/>
                    </a:cubicBezTo>
                    <a:cubicBezTo>
                      <a:pt x="298" y="3"/>
                      <a:pt x="287" y="14"/>
                      <a:pt x="285" y="29"/>
                    </a:cubicBezTo>
                    <a:cubicBezTo>
                      <a:pt x="280" y="28"/>
                      <a:pt x="277" y="28"/>
                      <a:pt x="276" y="28"/>
                    </a:cubicBezTo>
                    <a:cubicBezTo>
                      <a:pt x="276" y="28"/>
                      <a:pt x="276" y="28"/>
                      <a:pt x="276" y="28"/>
                    </a:cubicBezTo>
                    <a:cubicBezTo>
                      <a:pt x="273" y="28"/>
                      <a:pt x="270" y="31"/>
                      <a:pt x="270" y="34"/>
                    </a:cubicBezTo>
                    <a:cubicBezTo>
                      <a:pt x="270" y="34"/>
                      <a:pt x="270" y="49"/>
                      <a:pt x="279" y="58"/>
                    </a:cubicBezTo>
                    <a:cubicBezTo>
                      <a:pt x="281" y="60"/>
                      <a:pt x="285" y="60"/>
                      <a:pt x="288" y="58"/>
                    </a:cubicBezTo>
                    <a:cubicBezTo>
                      <a:pt x="290" y="55"/>
                      <a:pt x="290" y="52"/>
                      <a:pt x="288" y="49"/>
                    </a:cubicBezTo>
                    <a:cubicBezTo>
                      <a:pt x="285" y="47"/>
                      <a:pt x="284" y="44"/>
                      <a:pt x="283" y="41"/>
                    </a:cubicBezTo>
                    <a:cubicBezTo>
                      <a:pt x="285" y="41"/>
                      <a:pt x="286" y="42"/>
                      <a:pt x="288" y="43"/>
                    </a:cubicBezTo>
                    <a:cubicBezTo>
                      <a:pt x="290" y="44"/>
                      <a:pt x="293" y="44"/>
                      <a:pt x="294" y="43"/>
                    </a:cubicBezTo>
                    <a:cubicBezTo>
                      <a:pt x="296" y="42"/>
                      <a:pt x="297" y="39"/>
                      <a:pt x="297" y="37"/>
                    </a:cubicBezTo>
                    <a:cubicBezTo>
                      <a:pt x="297" y="36"/>
                      <a:pt x="297" y="35"/>
                      <a:pt x="297" y="34"/>
                    </a:cubicBezTo>
                    <a:cubicBezTo>
                      <a:pt x="297" y="27"/>
                      <a:pt x="300" y="20"/>
                      <a:pt x="303" y="16"/>
                    </a:cubicBezTo>
                    <a:cubicBezTo>
                      <a:pt x="306" y="20"/>
                      <a:pt x="309" y="27"/>
                      <a:pt x="309" y="34"/>
                    </a:cubicBezTo>
                    <a:cubicBezTo>
                      <a:pt x="309" y="35"/>
                      <a:pt x="309" y="36"/>
                      <a:pt x="309" y="37"/>
                    </a:cubicBezTo>
                    <a:cubicBezTo>
                      <a:pt x="309" y="39"/>
                      <a:pt x="310" y="42"/>
                      <a:pt x="311" y="43"/>
                    </a:cubicBezTo>
                    <a:cubicBezTo>
                      <a:pt x="313" y="44"/>
                      <a:pt x="316" y="44"/>
                      <a:pt x="318" y="43"/>
                    </a:cubicBezTo>
                    <a:cubicBezTo>
                      <a:pt x="319" y="42"/>
                      <a:pt x="321" y="41"/>
                      <a:pt x="323" y="41"/>
                    </a:cubicBezTo>
                    <a:cubicBezTo>
                      <a:pt x="322" y="44"/>
                      <a:pt x="321" y="47"/>
                      <a:pt x="318" y="49"/>
                    </a:cubicBezTo>
                    <a:cubicBezTo>
                      <a:pt x="313" y="55"/>
                      <a:pt x="303" y="55"/>
                      <a:pt x="303" y="55"/>
                    </a:cubicBezTo>
                    <a:cubicBezTo>
                      <a:pt x="303" y="55"/>
                      <a:pt x="302" y="55"/>
                      <a:pt x="302" y="55"/>
                    </a:cubicBezTo>
                    <a:cubicBezTo>
                      <a:pt x="302" y="55"/>
                      <a:pt x="302" y="55"/>
                      <a:pt x="302" y="55"/>
                    </a:cubicBezTo>
                    <a:cubicBezTo>
                      <a:pt x="300" y="55"/>
                      <a:pt x="298" y="57"/>
                      <a:pt x="297" y="59"/>
                    </a:cubicBezTo>
                    <a:cubicBezTo>
                      <a:pt x="297" y="59"/>
                      <a:pt x="297" y="59"/>
                      <a:pt x="297" y="59"/>
                    </a:cubicBezTo>
                    <a:cubicBezTo>
                      <a:pt x="297" y="59"/>
                      <a:pt x="297" y="59"/>
                      <a:pt x="297" y="60"/>
                    </a:cubicBezTo>
                    <a:cubicBezTo>
                      <a:pt x="297" y="60"/>
                      <a:pt x="297" y="60"/>
                      <a:pt x="297" y="60"/>
                    </a:cubicBezTo>
                    <a:cubicBezTo>
                      <a:pt x="297" y="60"/>
                      <a:pt x="297" y="61"/>
                      <a:pt x="297" y="61"/>
                    </a:cubicBezTo>
                    <a:cubicBezTo>
                      <a:pt x="297" y="61"/>
                      <a:pt x="297" y="61"/>
                      <a:pt x="297" y="61"/>
                    </a:cubicBezTo>
                    <a:cubicBezTo>
                      <a:pt x="297" y="61"/>
                      <a:pt x="297" y="61"/>
                      <a:pt x="297" y="61"/>
                    </a:cubicBezTo>
                    <a:cubicBezTo>
                      <a:pt x="297" y="70"/>
                      <a:pt x="297" y="70"/>
                      <a:pt x="297" y="70"/>
                    </a:cubicBezTo>
                    <a:cubicBezTo>
                      <a:pt x="183" y="70"/>
                      <a:pt x="183" y="70"/>
                      <a:pt x="183" y="70"/>
                    </a:cubicBezTo>
                    <a:cubicBezTo>
                      <a:pt x="183" y="66"/>
                      <a:pt x="183" y="66"/>
                      <a:pt x="183" y="66"/>
                    </a:cubicBezTo>
                    <a:cubicBezTo>
                      <a:pt x="188" y="65"/>
                      <a:pt x="195" y="63"/>
                      <a:pt x="201" y="58"/>
                    </a:cubicBezTo>
                    <a:cubicBezTo>
                      <a:pt x="210" y="49"/>
                      <a:pt x="210" y="34"/>
                      <a:pt x="210" y="34"/>
                    </a:cubicBezTo>
                    <a:cubicBezTo>
                      <a:pt x="210" y="31"/>
                      <a:pt x="207" y="28"/>
                      <a:pt x="204" y="28"/>
                    </a:cubicBezTo>
                    <a:cubicBezTo>
                      <a:pt x="204" y="28"/>
                      <a:pt x="204" y="28"/>
                      <a:pt x="204" y="28"/>
                    </a:cubicBezTo>
                    <a:cubicBezTo>
                      <a:pt x="203" y="28"/>
                      <a:pt x="200" y="28"/>
                      <a:pt x="195" y="29"/>
                    </a:cubicBezTo>
                    <a:cubicBezTo>
                      <a:pt x="193" y="14"/>
                      <a:pt x="182" y="3"/>
                      <a:pt x="181" y="2"/>
                    </a:cubicBezTo>
                    <a:cubicBezTo>
                      <a:pt x="179" y="0"/>
                      <a:pt x="175" y="0"/>
                      <a:pt x="173" y="2"/>
                    </a:cubicBezTo>
                    <a:cubicBezTo>
                      <a:pt x="172" y="3"/>
                      <a:pt x="161" y="14"/>
                      <a:pt x="159" y="29"/>
                    </a:cubicBezTo>
                    <a:cubicBezTo>
                      <a:pt x="154" y="28"/>
                      <a:pt x="150" y="28"/>
                      <a:pt x="150" y="28"/>
                    </a:cubicBezTo>
                    <a:cubicBezTo>
                      <a:pt x="147" y="28"/>
                      <a:pt x="144" y="31"/>
                      <a:pt x="144" y="34"/>
                    </a:cubicBezTo>
                    <a:cubicBezTo>
                      <a:pt x="144" y="34"/>
                      <a:pt x="144" y="49"/>
                      <a:pt x="153" y="58"/>
                    </a:cubicBezTo>
                    <a:cubicBezTo>
                      <a:pt x="155" y="60"/>
                      <a:pt x="159" y="60"/>
                      <a:pt x="162" y="58"/>
                    </a:cubicBezTo>
                    <a:cubicBezTo>
                      <a:pt x="164" y="55"/>
                      <a:pt x="164" y="52"/>
                      <a:pt x="162" y="49"/>
                    </a:cubicBezTo>
                    <a:cubicBezTo>
                      <a:pt x="159" y="47"/>
                      <a:pt x="158" y="44"/>
                      <a:pt x="157" y="41"/>
                    </a:cubicBezTo>
                    <a:cubicBezTo>
                      <a:pt x="159" y="41"/>
                      <a:pt x="160" y="42"/>
                      <a:pt x="162" y="43"/>
                    </a:cubicBezTo>
                    <a:cubicBezTo>
                      <a:pt x="164" y="44"/>
                      <a:pt x="167" y="44"/>
                      <a:pt x="168" y="43"/>
                    </a:cubicBezTo>
                    <a:cubicBezTo>
                      <a:pt x="170" y="42"/>
                      <a:pt x="171" y="39"/>
                      <a:pt x="171" y="37"/>
                    </a:cubicBezTo>
                    <a:cubicBezTo>
                      <a:pt x="171" y="36"/>
                      <a:pt x="171" y="35"/>
                      <a:pt x="171" y="34"/>
                    </a:cubicBezTo>
                    <a:cubicBezTo>
                      <a:pt x="171" y="27"/>
                      <a:pt x="174" y="20"/>
                      <a:pt x="177" y="16"/>
                    </a:cubicBezTo>
                    <a:cubicBezTo>
                      <a:pt x="180" y="20"/>
                      <a:pt x="183" y="27"/>
                      <a:pt x="183" y="34"/>
                    </a:cubicBezTo>
                    <a:cubicBezTo>
                      <a:pt x="183" y="35"/>
                      <a:pt x="183" y="36"/>
                      <a:pt x="183" y="37"/>
                    </a:cubicBezTo>
                    <a:cubicBezTo>
                      <a:pt x="183" y="39"/>
                      <a:pt x="184" y="42"/>
                      <a:pt x="185" y="43"/>
                    </a:cubicBezTo>
                    <a:cubicBezTo>
                      <a:pt x="187" y="44"/>
                      <a:pt x="190" y="44"/>
                      <a:pt x="192" y="43"/>
                    </a:cubicBezTo>
                    <a:cubicBezTo>
                      <a:pt x="193" y="42"/>
                      <a:pt x="195" y="41"/>
                      <a:pt x="197" y="41"/>
                    </a:cubicBezTo>
                    <a:cubicBezTo>
                      <a:pt x="196" y="44"/>
                      <a:pt x="195" y="47"/>
                      <a:pt x="192" y="49"/>
                    </a:cubicBezTo>
                    <a:cubicBezTo>
                      <a:pt x="187" y="55"/>
                      <a:pt x="177" y="55"/>
                      <a:pt x="177" y="55"/>
                    </a:cubicBezTo>
                    <a:cubicBezTo>
                      <a:pt x="177" y="55"/>
                      <a:pt x="176" y="55"/>
                      <a:pt x="176" y="55"/>
                    </a:cubicBezTo>
                    <a:cubicBezTo>
                      <a:pt x="176" y="55"/>
                      <a:pt x="176" y="55"/>
                      <a:pt x="176" y="55"/>
                    </a:cubicBezTo>
                    <a:cubicBezTo>
                      <a:pt x="174" y="55"/>
                      <a:pt x="172" y="57"/>
                      <a:pt x="171" y="59"/>
                    </a:cubicBezTo>
                    <a:cubicBezTo>
                      <a:pt x="171" y="59"/>
                      <a:pt x="171" y="59"/>
                      <a:pt x="171" y="59"/>
                    </a:cubicBezTo>
                    <a:cubicBezTo>
                      <a:pt x="171" y="59"/>
                      <a:pt x="171" y="59"/>
                      <a:pt x="171" y="60"/>
                    </a:cubicBezTo>
                    <a:cubicBezTo>
                      <a:pt x="171" y="60"/>
                      <a:pt x="171" y="60"/>
                      <a:pt x="171" y="60"/>
                    </a:cubicBezTo>
                    <a:cubicBezTo>
                      <a:pt x="171" y="60"/>
                      <a:pt x="171" y="61"/>
                      <a:pt x="171" y="61"/>
                    </a:cubicBezTo>
                    <a:cubicBezTo>
                      <a:pt x="171" y="61"/>
                      <a:pt x="171" y="61"/>
                      <a:pt x="171" y="61"/>
                    </a:cubicBezTo>
                    <a:cubicBezTo>
                      <a:pt x="171" y="61"/>
                      <a:pt x="171" y="61"/>
                      <a:pt x="171" y="61"/>
                    </a:cubicBezTo>
                    <a:cubicBezTo>
                      <a:pt x="171" y="70"/>
                      <a:pt x="171" y="70"/>
                      <a:pt x="171" y="70"/>
                    </a:cubicBezTo>
                    <a:cubicBezTo>
                      <a:pt x="58" y="70"/>
                      <a:pt x="58" y="70"/>
                      <a:pt x="58" y="70"/>
                    </a:cubicBezTo>
                    <a:cubicBezTo>
                      <a:pt x="58" y="66"/>
                      <a:pt x="58" y="66"/>
                      <a:pt x="58" y="66"/>
                    </a:cubicBezTo>
                    <a:cubicBezTo>
                      <a:pt x="63" y="65"/>
                      <a:pt x="70" y="63"/>
                      <a:pt x="75" y="58"/>
                    </a:cubicBezTo>
                    <a:cubicBezTo>
                      <a:pt x="85" y="49"/>
                      <a:pt x="85" y="34"/>
                      <a:pt x="85" y="34"/>
                    </a:cubicBezTo>
                    <a:cubicBezTo>
                      <a:pt x="85" y="31"/>
                      <a:pt x="82" y="28"/>
                      <a:pt x="79" y="28"/>
                    </a:cubicBezTo>
                    <a:cubicBezTo>
                      <a:pt x="79" y="28"/>
                      <a:pt x="79" y="28"/>
                      <a:pt x="79" y="28"/>
                    </a:cubicBezTo>
                    <a:cubicBezTo>
                      <a:pt x="78" y="28"/>
                      <a:pt x="74" y="28"/>
                      <a:pt x="70" y="29"/>
                    </a:cubicBezTo>
                    <a:cubicBezTo>
                      <a:pt x="68" y="14"/>
                      <a:pt x="56" y="3"/>
                      <a:pt x="56" y="2"/>
                    </a:cubicBezTo>
                    <a:cubicBezTo>
                      <a:pt x="54" y="0"/>
                      <a:pt x="50" y="0"/>
                      <a:pt x="47" y="2"/>
                    </a:cubicBezTo>
                    <a:cubicBezTo>
                      <a:pt x="47" y="3"/>
                      <a:pt x="36" y="14"/>
                      <a:pt x="34" y="29"/>
                    </a:cubicBezTo>
                    <a:cubicBezTo>
                      <a:pt x="29" y="28"/>
                      <a:pt x="25" y="28"/>
                      <a:pt x="25" y="28"/>
                    </a:cubicBezTo>
                    <a:cubicBezTo>
                      <a:pt x="25" y="28"/>
                      <a:pt x="25" y="28"/>
                      <a:pt x="25" y="28"/>
                    </a:cubicBezTo>
                    <a:cubicBezTo>
                      <a:pt x="21" y="28"/>
                      <a:pt x="19" y="31"/>
                      <a:pt x="19" y="34"/>
                    </a:cubicBezTo>
                    <a:cubicBezTo>
                      <a:pt x="19" y="34"/>
                      <a:pt x="19" y="49"/>
                      <a:pt x="28" y="58"/>
                    </a:cubicBezTo>
                    <a:cubicBezTo>
                      <a:pt x="30" y="60"/>
                      <a:pt x="34" y="60"/>
                      <a:pt x="36" y="58"/>
                    </a:cubicBezTo>
                    <a:cubicBezTo>
                      <a:pt x="39" y="55"/>
                      <a:pt x="39" y="52"/>
                      <a:pt x="36" y="49"/>
                    </a:cubicBezTo>
                    <a:cubicBezTo>
                      <a:pt x="34" y="47"/>
                      <a:pt x="33" y="44"/>
                      <a:pt x="32" y="41"/>
                    </a:cubicBezTo>
                    <a:cubicBezTo>
                      <a:pt x="33" y="41"/>
                      <a:pt x="35" y="42"/>
                      <a:pt x="37" y="43"/>
                    </a:cubicBezTo>
                    <a:cubicBezTo>
                      <a:pt x="39" y="44"/>
                      <a:pt x="41" y="44"/>
                      <a:pt x="43" y="43"/>
                    </a:cubicBezTo>
                    <a:cubicBezTo>
                      <a:pt x="45" y="42"/>
                      <a:pt x="46" y="39"/>
                      <a:pt x="46" y="37"/>
                    </a:cubicBezTo>
                    <a:cubicBezTo>
                      <a:pt x="45" y="36"/>
                      <a:pt x="45" y="35"/>
                      <a:pt x="45" y="34"/>
                    </a:cubicBezTo>
                    <a:cubicBezTo>
                      <a:pt x="45" y="27"/>
                      <a:pt x="49" y="20"/>
                      <a:pt x="52" y="16"/>
                    </a:cubicBezTo>
                    <a:cubicBezTo>
                      <a:pt x="55" y="20"/>
                      <a:pt x="58" y="27"/>
                      <a:pt x="58" y="34"/>
                    </a:cubicBezTo>
                    <a:cubicBezTo>
                      <a:pt x="58" y="35"/>
                      <a:pt x="58" y="36"/>
                      <a:pt x="58" y="37"/>
                    </a:cubicBezTo>
                    <a:cubicBezTo>
                      <a:pt x="57" y="39"/>
                      <a:pt x="58" y="42"/>
                      <a:pt x="60" y="43"/>
                    </a:cubicBezTo>
                    <a:cubicBezTo>
                      <a:pt x="62" y="44"/>
                      <a:pt x="65" y="44"/>
                      <a:pt x="67" y="43"/>
                    </a:cubicBezTo>
                    <a:cubicBezTo>
                      <a:pt x="68" y="42"/>
                      <a:pt x="70" y="41"/>
                      <a:pt x="71" y="41"/>
                    </a:cubicBezTo>
                    <a:cubicBezTo>
                      <a:pt x="71" y="44"/>
                      <a:pt x="69" y="47"/>
                      <a:pt x="67" y="49"/>
                    </a:cubicBezTo>
                    <a:cubicBezTo>
                      <a:pt x="61" y="55"/>
                      <a:pt x="52" y="55"/>
                      <a:pt x="52" y="55"/>
                    </a:cubicBezTo>
                    <a:cubicBezTo>
                      <a:pt x="51" y="55"/>
                      <a:pt x="51" y="55"/>
                      <a:pt x="51" y="55"/>
                    </a:cubicBezTo>
                    <a:cubicBezTo>
                      <a:pt x="51" y="55"/>
                      <a:pt x="51" y="55"/>
                      <a:pt x="50" y="55"/>
                    </a:cubicBezTo>
                    <a:cubicBezTo>
                      <a:pt x="48" y="55"/>
                      <a:pt x="47" y="57"/>
                      <a:pt x="46" y="59"/>
                    </a:cubicBezTo>
                    <a:cubicBezTo>
                      <a:pt x="46" y="59"/>
                      <a:pt x="46" y="59"/>
                      <a:pt x="46" y="59"/>
                    </a:cubicBezTo>
                    <a:cubicBezTo>
                      <a:pt x="46" y="59"/>
                      <a:pt x="46" y="59"/>
                      <a:pt x="46" y="60"/>
                    </a:cubicBezTo>
                    <a:cubicBezTo>
                      <a:pt x="46" y="60"/>
                      <a:pt x="46" y="60"/>
                      <a:pt x="46" y="60"/>
                    </a:cubicBezTo>
                    <a:cubicBezTo>
                      <a:pt x="46" y="60"/>
                      <a:pt x="46" y="61"/>
                      <a:pt x="46" y="61"/>
                    </a:cubicBezTo>
                    <a:cubicBezTo>
                      <a:pt x="46" y="61"/>
                      <a:pt x="46" y="61"/>
                      <a:pt x="46" y="61"/>
                    </a:cubicBezTo>
                    <a:cubicBezTo>
                      <a:pt x="46" y="61"/>
                      <a:pt x="46" y="61"/>
                      <a:pt x="46" y="61"/>
                    </a:cubicBezTo>
                    <a:cubicBezTo>
                      <a:pt x="46" y="70"/>
                      <a:pt x="46" y="70"/>
                      <a:pt x="46" y="70"/>
                    </a:cubicBezTo>
                    <a:cubicBezTo>
                      <a:pt x="6" y="70"/>
                      <a:pt x="6" y="70"/>
                      <a:pt x="6" y="70"/>
                    </a:cubicBezTo>
                    <a:cubicBezTo>
                      <a:pt x="3" y="70"/>
                      <a:pt x="0" y="73"/>
                      <a:pt x="0" y="76"/>
                    </a:cubicBezTo>
                    <a:cubicBezTo>
                      <a:pt x="0" y="79"/>
                      <a:pt x="3" y="82"/>
                      <a:pt x="6" y="82"/>
                    </a:cubicBezTo>
                    <a:cubicBezTo>
                      <a:pt x="1168" y="82"/>
                      <a:pt x="1168" y="82"/>
                      <a:pt x="1168" y="82"/>
                    </a:cubicBezTo>
                    <a:cubicBezTo>
                      <a:pt x="1172" y="82"/>
                      <a:pt x="1174" y="79"/>
                      <a:pt x="1174" y="76"/>
                    </a:cubicBezTo>
                    <a:cubicBezTo>
                      <a:pt x="1174" y="73"/>
                      <a:pt x="1172" y="70"/>
                      <a:pt x="1168" y="7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81" name="Freeform 190">
                <a:extLst>
                  <a:ext uri="{FF2B5EF4-FFF2-40B4-BE49-F238E27FC236}">
                    <a16:creationId xmlns:a16="http://schemas.microsoft.com/office/drawing/2014/main" id="{E1E39385-F36B-4493-9934-D8A216123C13}"/>
                  </a:ext>
                </a:extLst>
              </p:cNvPr>
              <p:cNvSpPr>
                <a:spLocks/>
              </p:cNvSpPr>
              <p:nvPr/>
            </p:nvSpPr>
            <p:spPr bwMode="auto">
              <a:xfrm>
                <a:off x="-4371975" y="2486025"/>
                <a:ext cx="50800" cy="50800"/>
              </a:xfrm>
              <a:custGeom>
                <a:avLst/>
                <a:gdLst>
                  <a:gd name="T0" fmla="*/ 6 w 12"/>
                  <a:gd name="T1" fmla="*/ 12 h 12"/>
                  <a:gd name="T2" fmla="*/ 1 w 12"/>
                  <a:gd name="T3" fmla="*/ 10 h 12"/>
                  <a:gd name="T4" fmla="*/ 0 w 12"/>
                  <a:gd name="T5" fmla="*/ 6 h 12"/>
                  <a:gd name="T6" fmla="*/ 1 w 12"/>
                  <a:gd name="T7" fmla="*/ 2 h 12"/>
                  <a:gd name="T8" fmla="*/ 10 w 12"/>
                  <a:gd name="T9" fmla="*/ 2 h 12"/>
                  <a:gd name="T10" fmla="*/ 12 w 12"/>
                  <a:gd name="T11" fmla="*/ 6 h 12"/>
                  <a:gd name="T12" fmla="*/ 10 w 12"/>
                  <a:gd name="T13" fmla="*/ 10 h 12"/>
                  <a:gd name="T14" fmla="*/ 6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6" y="12"/>
                    </a:moveTo>
                    <a:cubicBezTo>
                      <a:pt x="4" y="12"/>
                      <a:pt x="3" y="12"/>
                      <a:pt x="1" y="10"/>
                    </a:cubicBezTo>
                    <a:cubicBezTo>
                      <a:pt x="0" y="9"/>
                      <a:pt x="0" y="8"/>
                      <a:pt x="0" y="6"/>
                    </a:cubicBezTo>
                    <a:cubicBezTo>
                      <a:pt x="0" y="5"/>
                      <a:pt x="0" y="3"/>
                      <a:pt x="1" y="2"/>
                    </a:cubicBezTo>
                    <a:cubicBezTo>
                      <a:pt x="4" y="0"/>
                      <a:pt x="8" y="0"/>
                      <a:pt x="10" y="2"/>
                    </a:cubicBezTo>
                    <a:cubicBezTo>
                      <a:pt x="11" y="3"/>
                      <a:pt x="12" y="5"/>
                      <a:pt x="12" y="6"/>
                    </a:cubicBezTo>
                    <a:cubicBezTo>
                      <a:pt x="12" y="8"/>
                      <a:pt x="11" y="9"/>
                      <a:pt x="10" y="10"/>
                    </a:cubicBezTo>
                    <a:cubicBezTo>
                      <a:pt x="9" y="12"/>
                      <a:pt x="7" y="12"/>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2" name="Group 581">
                <a:extLst>
                  <a:ext uri="{FF2B5EF4-FFF2-40B4-BE49-F238E27FC236}">
                    <a16:creationId xmlns:a16="http://schemas.microsoft.com/office/drawing/2014/main" id="{77110055-CBBA-4153-8A68-3D3923C7E013}"/>
                  </a:ext>
                </a:extLst>
              </p:cNvPr>
              <p:cNvGrpSpPr/>
              <p:nvPr/>
            </p:nvGrpSpPr>
            <p:grpSpPr>
              <a:xfrm>
                <a:off x="-4521200" y="2566988"/>
                <a:ext cx="2481262" cy="200025"/>
                <a:chOff x="-4521200" y="2566988"/>
                <a:chExt cx="2481262" cy="200025"/>
              </a:xfrm>
            </p:grpSpPr>
            <p:grpSp>
              <p:nvGrpSpPr>
                <p:cNvPr id="600" name="Group 599">
                  <a:extLst>
                    <a:ext uri="{FF2B5EF4-FFF2-40B4-BE49-F238E27FC236}">
                      <a16:creationId xmlns:a16="http://schemas.microsoft.com/office/drawing/2014/main" id="{6A89D275-F1A3-4AD6-9FE2-4F1F9051AD25}"/>
                    </a:ext>
                  </a:extLst>
                </p:cNvPr>
                <p:cNvGrpSpPr/>
                <p:nvPr/>
              </p:nvGrpSpPr>
              <p:grpSpPr>
                <a:xfrm>
                  <a:off x="-2382838" y="2566988"/>
                  <a:ext cx="342900" cy="200025"/>
                  <a:chOff x="-2382838" y="2566988"/>
                  <a:chExt cx="342900" cy="200025"/>
                </a:xfrm>
              </p:grpSpPr>
              <p:sp>
                <p:nvSpPr>
                  <p:cNvPr id="644" name="Oval 191">
                    <a:extLst>
                      <a:ext uri="{FF2B5EF4-FFF2-40B4-BE49-F238E27FC236}">
                        <a16:creationId xmlns:a16="http://schemas.microsoft.com/office/drawing/2014/main" id="{08746D1A-A233-46D8-BEFB-38B442565B0D}"/>
                      </a:ext>
                    </a:extLst>
                  </p:cNvPr>
                  <p:cNvSpPr>
                    <a:spLocks noChangeArrowheads="1"/>
                  </p:cNvSpPr>
                  <p:nvPr/>
                </p:nvSpPr>
                <p:spPr bwMode="auto">
                  <a:xfrm>
                    <a:off x="-2187575"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5" name="Oval 192">
                    <a:extLst>
                      <a:ext uri="{FF2B5EF4-FFF2-40B4-BE49-F238E27FC236}">
                        <a16:creationId xmlns:a16="http://schemas.microsoft.com/office/drawing/2014/main" id="{634B66D6-B528-49FF-A6D3-41A0773FB1C5}"/>
                      </a:ext>
                    </a:extLst>
                  </p:cNvPr>
                  <p:cNvSpPr>
                    <a:spLocks noChangeArrowheads="1"/>
                  </p:cNvSpPr>
                  <p:nvPr/>
                </p:nvSpPr>
                <p:spPr bwMode="auto">
                  <a:xfrm>
                    <a:off x="-2136775"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6" name="Oval 193">
                    <a:extLst>
                      <a:ext uri="{FF2B5EF4-FFF2-40B4-BE49-F238E27FC236}">
                        <a16:creationId xmlns:a16="http://schemas.microsoft.com/office/drawing/2014/main" id="{62ED8F86-6B3D-4234-B1E9-919D0F606B5F}"/>
                      </a:ext>
                    </a:extLst>
                  </p:cNvPr>
                  <p:cNvSpPr>
                    <a:spLocks noChangeArrowheads="1"/>
                  </p:cNvSpPr>
                  <p:nvPr/>
                </p:nvSpPr>
                <p:spPr bwMode="auto">
                  <a:xfrm>
                    <a:off x="-2090738"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7" name="Oval 194">
                    <a:extLst>
                      <a:ext uri="{FF2B5EF4-FFF2-40B4-BE49-F238E27FC236}">
                        <a16:creationId xmlns:a16="http://schemas.microsoft.com/office/drawing/2014/main" id="{03F6EC9B-FDF7-4A59-A201-4B60AEACDD92}"/>
                      </a:ext>
                    </a:extLst>
                  </p:cNvPr>
                  <p:cNvSpPr>
                    <a:spLocks noChangeArrowheads="1"/>
                  </p:cNvSpPr>
                  <p:nvPr/>
                </p:nvSpPr>
                <p:spPr bwMode="auto">
                  <a:xfrm>
                    <a:off x="-2235200" y="25669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8" name="Oval 195">
                    <a:extLst>
                      <a:ext uri="{FF2B5EF4-FFF2-40B4-BE49-F238E27FC236}">
                        <a16:creationId xmlns:a16="http://schemas.microsoft.com/office/drawing/2014/main" id="{179C5196-82C9-4126-922A-9FD9CE604E7C}"/>
                      </a:ext>
                    </a:extLst>
                  </p:cNvPr>
                  <p:cNvSpPr>
                    <a:spLocks noChangeArrowheads="1"/>
                  </p:cNvSpPr>
                  <p:nvPr/>
                </p:nvSpPr>
                <p:spPr bwMode="auto">
                  <a:xfrm>
                    <a:off x="-2187575"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9" name="Oval 196">
                    <a:extLst>
                      <a:ext uri="{FF2B5EF4-FFF2-40B4-BE49-F238E27FC236}">
                        <a16:creationId xmlns:a16="http://schemas.microsoft.com/office/drawing/2014/main" id="{DD2A82E1-FFEB-4853-9A7B-407DB65D2AB1}"/>
                      </a:ext>
                    </a:extLst>
                  </p:cNvPr>
                  <p:cNvSpPr>
                    <a:spLocks noChangeArrowheads="1"/>
                  </p:cNvSpPr>
                  <p:nvPr/>
                </p:nvSpPr>
                <p:spPr bwMode="auto">
                  <a:xfrm>
                    <a:off x="-2136775"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50" name="Oval 197">
                    <a:extLst>
                      <a:ext uri="{FF2B5EF4-FFF2-40B4-BE49-F238E27FC236}">
                        <a16:creationId xmlns:a16="http://schemas.microsoft.com/office/drawing/2014/main" id="{032699BF-40A4-4B26-A0FC-974EAFC6BFEC}"/>
                      </a:ext>
                    </a:extLst>
                  </p:cNvPr>
                  <p:cNvSpPr>
                    <a:spLocks noChangeArrowheads="1"/>
                  </p:cNvSpPr>
                  <p:nvPr/>
                </p:nvSpPr>
                <p:spPr bwMode="auto">
                  <a:xfrm>
                    <a:off x="-2090738"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51" name="Oval 199">
                    <a:extLst>
                      <a:ext uri="{FF2B5EF4-FFF2-40B4-BE49-F238E27FC236}">
                        <a16:creationId xmlns:a16="http://schemas.microsoft.com/office/drawing/2014/main" id="{1A5C0A0B-285A-4AD5-BB31-492036216CF2}"/>
                      </a:ext>
                    </a:extLst>
                  </p:cNvPr>
                  <p:cNvSpPr>
                    <a:spLocks noChangeArrowheads="1"/>
                  </p:cNvSpPr>
                  <p:nvPr/>
                </p:nvSpPr>
                <p:spPr bwMode="auto">
                  <a:xfrm>
                    <a:off x="-2187575"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52" name="Oval 201">
                    <a:extLst>
                      <a:ext uri="{FF2B5EF4-FFF2-40B4-BE49-F238E27FC236}">
                        <a16:creationId xmlns:a16="http://schemas.microsoft.com/office/drawing/2014/main" id="{DEC0F5B5-374C-4D2B-9341-012E255D3387}"/>
                      </a:ext>
                    </a:extLst>
                  </p:cNvPr>
                  <p:cNvSpPr>
                    <a:spLocks noChangeArrowheads="1"/>
                  </p:cNvSpPr>
                  <p:nvPr/>
                </p:nvSpPr>
                <p:spPr bwMode="auto">
                  <a:xfrm>
                    <a:off x="-2332038"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53" name="Oval 202">
                    <a:extLst>
                      <a:ext uri="{FF2B5EF4-FFF2-40B4-BE49-F238E27FC236}">
                        <a16:creationId xmlns:a16="http://schemas.microsoft.com/office/drawing/2014/main" id="{A2305372-8848-49DC-9F07-D946F2BCB5AB}"/>
                      </a:ext>
                    </a:extLst>
                  </p:cNvPr>
                  <p:cNvSpPr>
                    <a:spLocks noChangeArrowheads="1"/>
                  </p:cNvSpPr>
                  <p:nvPr/>
                </p:nvSpPr>
                <p:spPr bwMode="auto">
                  <a:xfrm>
                    <a:off x="-2382838"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grpSp>
            <p:grpSp>
              <p:nvGrpSpPr>
                <p:cNvPr id="601" name="Group 600">
                  <a:extLst>
                    <a:ext uri="{FF2B5EF4-FFF2-40B4-BE49-F238E27FC236}">
                      <a16:creationId xmlns:a16="http://schemas.microsoft.com/office/drawing/2014/main" id="{541C5170-469D-4AA9-BA38-496286C4A034}"/>
                    </a:ext>
                  </a:extLst>
                </p:cNvPr>
                <p:cNvGrpSpPr/>
                <p:nvPr/>
              </p:nvGrpSpPr>
              <p:grpSpPr>
                <a:xfrm>
                  <a:off x="-4521200" y="2566988"/>
                  <a:ext cx="342900" cy="200025"/>
                  <a:chOff x="-4521200" y="2566988"/>
                  <a:chExt cx="342900" cy="200025"/>
                </a:xfrm>
              </p:grpSpPr>
              <p:sp>
                <p:nvSpPr>
                  <p:cNvPr id="634" name="Oval 633">
                    <a:extLst>
                      <a:ext uri="{FF2B5EF4-FFF2-40B4-BE49-F238E27FC236}">
                        <a16:creationId xmlns:a16="http://schemas.microsoft.com/office/drawing/2014/main" id="{E4D63B30-E78F-4B24-9E2E-3329712FE8B9}"/>
                      </a:ext>
                    </a:extLst>
                  </p:cNvPr>
                  <p:cNvSpPr>
                    <a:spLocks noChangeArrowheads="1"/>
                  </p:cNvSpPr>
                  <p:nvPr/>
                </p:nvSpPr>
                <p:spPr bwMode="auto">
                  <a:xfrm>
                    <a:off x="-4325938"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5" name="Oval 634">
                    <a:extLst>
                      <a:ext uri="{FF2B5EF4-FFF2-40B4-BE49-F238E27FC236}">
                        <a16:creationId xmlns:a16="http://schemas.microsoft.com/office/drawing/2014/main" id="{7B3973CF-6F6E-45D6-8A79-CCF29B676475}"/>
                      </a:ext>
                    </a:extLst>
                  </p:cNvPr>
                  <p:cNvSpPr>
                    <a:spLocks noChangeArrowheads="1"/>
                  </p:cNvSpPr>
                  <p:nvPr/>
                </p:nvSpPr>
                <p:spPr bwMode="auto">
                  <a:xfrm>
                    <a:off x="-4275138"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6" name="Oval 635">
                    <a:extLst>
                      <a:ext uri="{FF2B5EF4-FFF2-40B4-BE49-F238E27FC236}">
                        <a16:creationId xmlns:a16="http://schemas.microsoft.com/office/drawing/2014/main" id="{0D9EEB4D-2DBE-41E9-87EB-BFC4B06F469B}"/>
                      </a:ext>
                    </a:extLst>
                  </p:cNvPr>
                  <p:cNvSpPr>
                    <a:spLocks noChangeArrowheads="1"/>
                  </p:cNvSpPr>
                  <p:nvPr/>
                </p:nvSpPr>
                <p:spPr bwMode="auto">
                  <a:xfrm>
                    <a:off x="-4229100"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7" name="Oval 636">
                    <a:extLst>
                      <a:ext uri="{FF2B5EF4-FFF2-40B4-BE49-F238E27FC236}">
                        <a16:creationId xmlns:a16="http://schemas.microsoft.com/office/drawing/2014/main" id="{625B91A8-F01B-469C-9D5C-6F230E962D91}"/>
                      </a:ext>
                    </a:extLst>
                  </p:cNvPr>
                  <p:cNvSpPr>
                    <a:spLocks noChangeArrowheads="1"/>
                  </p:cNvSpPr>
                  <p:nvPr/>
                </p:nvSpPr>
                <p:spPr bwMode="auto">
                  <a:xfrm>
                    <a:off x="-4371975" y="25669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8" name="Oval 637">
                    <a:extLst>
                      <a:ext uri="{FF2B5EF4-FFF2-40B4-BE49-F238E27FC236}">
                        <a16:creationId xmlns:a16="http://schemas.microsoft.com/office/drawing/2014/main" id="{649A638A-14AD-4AB4-848E-F6112B0AD81D}"/>
                      </a:ext>
                    </a:extLst>
                  </p:cNvPr>
                  <p:cNvSpPr>
                    <a:spLocks noChangeArrowheads="1"/>
                  </p:cNvSpPr>
                  <p:nvPr/>
                </p:nvSpPr>
                <p:spPr bwMode="auto">
                  <a:xfrm>
                    <a:off x="-4325938"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9" name="Oval 210">
                    <a:extLst>
                      <a:ext uri="{FF2B5EF4-FFF2-40B4-BE49-F238E27FC236}">
                        <a16:creationId xmlns:a16="http://schemas.microsoft.com/office/drawing/2014/main" id="{4D800F1F-2080-41A9-B951-2DE4E2E4E73C}"/>
                      </a:ext>
                    </a:extLst>
                  </p:cNvPr>
                  <p:cNvSpPr>
                    <a:spLocks noChangeArrowheads="1"/>
                  </p:cNvSpPr>
                  <p:nvPr/>
                </p:nvSpPr>
                <p:spPr bwMode="auto">
                  <a:xfrm>
                    <a:off x="-4229100"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0" name="Oval 211">
                    <a:extLst>
                      <a:ext uri="{FF2B5EF4-FFF2-40B4-BE49-F238E27FC236}">
                        <a16:creationId xmlns:a16="http://schemas.microsoft.com/office/drawing/2014/main" id="{CF615614-4953-478E-BF0F-FD02567643E0}"/>
                      </a:ext>
                    </a:extLst>
                  </p:cNvPr>
                  <p:cNvSpPr>
                    <a:spLocks noChangeArrowheads="1"/>
                  </p:cNvSpPr>
                  <p:nvPr/>
                </p:nvSpPr>
                <p:spPr bwMode="auto">
                  <a:xfrm>
                    <a:off x="-4424363" y="2617788"/>
                    <a:ext cx="52388"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1" name="Oval 213">
                    <a:extLst>
                      <a:ext uri="{FF2B5EF4-FFF2-40B4-BE49-F238E27FC236}">
                        <a16:creationId xmlns:a16="http://schemas.microsoft.com/office/drawing/2014/main" id="{A970DAE4-7A53-44FD-946B-CADDDBA18745}"/>
                      </a:ext>
                    </a:extLst>
                  </p:cNvPr>
                  <p:cNvSpPr>
                    <a:spLocks noChangeArrowheads="1"/>
                  </p:cNvSpPr>
                  <p:nvPr/>
                </p:nvSpPr>
                <p:spPr bwMode="auto">
                  <a:xfrm>
                    <a:off x="-4424363" y="2716213"/>
                    <a:ext cx="52388"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2" name="Oval 215">
                    <a:extLst>
                      <a:ext uri="{FF2B5EF4-FFF2-40B4-BE49-F238E27FC236}">
                        <a16:creationId xmlns:a16="http://schemas.microsoft.com/office/drawing/2014/main" id="{49D52B29-FDAD-4A2A-8A3E-E8E78774AF54}"/>
                      </a:ext>
                    </a:extLst>
                  </p:cNvPr>
                  <p:cNvSpPr>
                    <a:spLocks noChangeArrowheads="1"/>
                  </p:cNvSpPr>
                  <p:nvPr/>
                </p:nvSpPr>
                <p:spPr bwMode="auto">
                  <a:xfrm>
                    <a:off x="-4521200"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43" name="Oval 216">
                    <a:extLst>
                      <a:ext uri="{FF2B5EF4-FFF2-40B4-BE49-F238E27FC236}">
                        <a16:creationId xmlns:a16="http://schemas.microsoft.com/office/drawing/2014/main" id="{9B7017AA-8362-4F97-A04A-D687B374CFFA}"/>
                      </a:ext>
                    </a:extLst>
                  </p:cNvPr>
                  <p:cNvSpPr>
                    <a:spLocks noChangeArrowheads="1"/>
                  </p:cNvSpPr>
                  <p:nvPr/>
                </p:nvSpPr>
                <p:spPr bwMode="auto">
                  <a:xfrm>
                    <a:off x="-4371975"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grpSp>
            <p:grpSp>
              <p:nvGrpSpPr>
                <p:cNvPr id="602" name="Group 601">
                  <a:extLst>
                    <a:ext uri="{FF2B5EF4-FFF2-40B4-BE49-F238E27FC236}">
                      <a16:creationId xmlns:a16="http://schemas.microsoft.com/office/drawing/2014/main" id="{D2076E79-A4F7-4936-97FB-F2D14A34DCFE}"/>
                    </a:ext>
                  </a:extLst>
                </p:cNvPr>
                <p:cNvGrpSpPr/>
                <p:nvPr/>
              </p:nvGrpSpPr>
              <p:grpSpPr>
                <a:xfrm>
                  <a:off x="-3986213" y="2617788"/>
                  <a:ext cx="342900" cy="149225"/>
                  <a:chOff x="-3986213" y="2617788"/>
                  <a:chExt cx="342900" cy="149225"/>
                </a:xfrm>
              </p:grpSpPr>
              <p:sp>
                <p:nvSpPr>
                  <p:cNvPr id="624" name="Oval 217">
                    <a:extLst>
                      <a:ext uri="{FF2B5EF4-FFF2-40B4-BE49-F238E27FC236}">
                        <a16:creationId xmlns:a16="http://schemas.microsoft.com/office/drawing/2014/main" id="{4D9112D3-ACBC-4A05-82C7-88AAF0F12B0A}"/>
                      </a:ext>
                    </a:extLst>
                  </p:cNvPr>
                  <p:cNvSpPr>
                    <a:spLocks noChangeArrowheads="1"/>
                  </p:cNvSpPr>
                  <p:nvPr/>
                </p:nvSpPr>
                <p:spPr bwMode="auto">
                  <a:xfrm>
                    <a:off x="-3790950"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5" name="Oval 218">
                    <a:extLst>
                      <a:ext uri="{FF2B5EF4-FFF2-40B4-BE49-F238E27FC236}">
                        <a16:creationId xmlns:a16="http://schemas.microsoft.com/office/drawing/2014/main" id="{32AFCF07-417D-428F-B9B7-C510A1C31105}"/>
                      </a:ext>
                    </a:extLst>
                  </p:cNvPr>
                  <p:cNvSpPr>
                    <a:spLocks noChangeArrowheads="1"/>
                  </p:cNvSpPr>
                  <p:nvPr/>
                </p:nvSpPr>
                <p:spPr bwMode="auto">
                  <a:xfrm>
                    <a:off x="-3740150"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6" name="Oval 219">
                    <a:extLst>
                      <a:ext uri="{FF2B5EF4-FFF2-40B4-BE49-F238E27FC236}">
                        <a16:creationId xmlns:a16="http://schemas.microsoft.com/office/drawing/2014/main" id="{A9535807-A3A3-4432-89A6-2DA8FDA30016}"/>
                      </a:ext>
                    </a:extLst>
                  </p:cNvPr>
                  <p:cNvSpPr>
                    <a:spLocks noChangeArrowheads="1"/>
                  </p:cNvSpPr>
                  <p:nvPr/>
                </p:nvSpPr>
                <p:spPr bwMode="auto">
                  <a:xfrm>
                    <a:off x="-3694113"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7" name="Oval 221">
                    <a:extLst>
                      <a:ext uri="{FF2B5EF4-FFF2-40B4-BE49-F238E27FC236}">
                        <a16:creationId xmlns:a16="http://schemas.microsoft.com/office/drawing/2014/main" id="{57738F8D-033F-4DC8-8C90-820A6198BC3B}"/>
                      </a:ext>
                    </a:extLst>
                  </p:cNvPr>
                  <p:cNvSpPr>
                    <a:spLocks noChangeArrowheads="1"/>
                  </p:cNvSpPr>
                  <p:nvPr/>
                </p:nvSpPr>
                <p:spPr bwMode="auto">
                  <a:xfrm>
                    <a:off x="-3790950"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8" name="Oval 222">
                    <a:extLst>
                      <a:ext uri="{FF2B5EF4-FFF2-40B4-BE49-F238E27FC236}">
                        <a16:creationId xmlns:a16="http://schemas.microsoft.com/office/drawing/2014/main" id="{643405F0-3029-4C6C-9500-49BC90B17486}"/>
                      </a:ext>
                    </a:extLst>
                  </p:cNvPr>
                  <p:cNvSpPr>
                    <a:spLocks noChangeArrowheads="1"/>
                  </p:cNvSpPr>
                  <p:nvPr/>
                </p:nvSpPr>
                <p:spPr bwMode="auto">
                  <a:xfrm>
                    <a:off x="-3740150"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9" name="Oval 223">
                    <a:extLst>
                      <a:ext uri="{FF2B5EF4-FFF2-40B4-BE49-F238E27FC236}">
                        <a16:creationId xmlns:a16="http://schemas.microsoft.com/office/drawing/2014/main" id="{035E214C-D936-4594-AED7-CE005001F684}"/>
                      </a:ext>
                    </a:extLst>
                  </p:cNvPr>
                  <p:cNvSpPr>
                    <a:spLocks noChangeArrowheads="1"/>
                  </p:cNvSpPr>
                  <p:nvPr/>
                </p:nvSpPr>
                <p:spPr bwMode="auto">
                  <a:xfrm>
                    <a:off x="-3694113"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0" name="Oval 225">
                    <a:extLst>
                      <a:ext uri="{FF2B5EF4-FFF2-40B4-BE49-F238E27FC236}">
                        <a16:creationId xmlns:a16="http://schemas.microsoft.com/office/drawing/2014/main" id="{44F321B2-0B9F-4F1A-8DAD-2A8E90955DFE}"/>
                      </a:ext>
                    </a:extLst>
                  </p:cNvPr>
                  <p:cNvSpPr>
                    <a:spLocks noChangeArrowheads="1"/>
                  </p:cNvSpPr>
                  <p:nvPr/>
                </p:nvSpPr>
                <p:spPr bwMode="auto">
                  <a:xfrm>
                    <a:off x="-3790950"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1" name="Oval 227">
                    <a:extLst>
                      <a:ext uri="{FF2B5EF4-FFF2-40B4-BE49-F238E27FC236}">
                        <a16:creationId xmlns:a16="http://schemas.microsoft.com/office/drawing/2014/main" id="{35318D99-8F8E-489D-ADE6-BACF63C46E08}"/>
                      </a:ext>
                    </a:extLst>
                  </p:cNvPr>
                  <p:cNvSpPr>
                    <a:spLocks noChangeArrowheads="1"/>
                  </p:cNvSpPr>
                  <p:nvPr/>
                </p:nvSpPr>
                <p:spPr bwMode="auto">
                  <a:xfrm>
                    <a:off x="-3935413"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2" name="Oval 228">
                    <a:extLst>
                      <a:ext uri="{FF2B5EF4-FFF2-40B4-BE49-F238E27FC236}">
                        <a16:creationId xmlns:a16="http://schemas.microsoft.com/office/drawing/2014/main" id="{D2FDD69D-D92B-42DD-B8FA-AB00FB787A8E}"/>
                      </a:ext>
                    </a:extLst>
                  </p:cNvPr>
                  <p:cNvSpPr>
                    <a:spLocks noChangeArrowheads="1"/>
                  </p:cNvSpPr>
                  <p:nvPr/>
                </p:nvSpPr>
                <p:spPr bwMode="auto">
                  <a:xfrm>
                    <a:off x="-3986213"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33" name="Oval 229">
                    <a:extLst>
                      <a:ext uri="{FF2B5EF4-FFF2-40B4-BE49-F238E27FC236}">
                        <a16:creationId xmlns:a16="http://schemas.microsoft.com/office/drawing/2014/main" id="{3397E0CD-BFF7-4947-BB95-32DC0A9A2FA5}"/>
                      </a:ext>
                    </a:extLst>
                  </p:cNvPr>
                  <p:cNvSpPr>
                    <a:spLocks noChangeArrowheads="1"/>
                  </p:cNvSpPr>
                  <p:nvPr/>
                </p:nvSpPr>
                <p:spPr bwMode="auto">
                  <a:xfrm>
                    <a:off x="-3838575"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grpSp>
            <p:grpSp>
              <p:nvGrpSpPr>
                <p:cNvPr id="603" name="Group 602">
                  <a:extLst>
                    <a:ext uri="{FF2B5EF4-FFF2-40B4-BE49-F238E27FC236}">
                      <a16:creationId xmlns:a16="http://schemas.microsoft.com/office/drawing/2014/main" id="{3ED54681-A93B-4B2F-8C9A-7953A2C35B38}"/>
                    </a:ext>
                  </a:extLst>
                </p:cNvPr>
                <p:cNvGrpSpPr/>
                <p:nvPr/>
              </p:nvGrpSpPr>
              <p:grpSpPr>
                <a:xfrm>
                  <a:off x="-3452813" y="2566988"/>
                  <a:ext cx="344488" cy="200025"/>
                  <a:chOff x="-3452813" y="2566988"/>
                  <a:chExt cx="344488" cy="200025"/>
                </a:xfrm>
              </p:grpSpPr>
              <p:sp>
                <p:nvSpPr>
                  <p:cNvPr id="614" name="Oval 230">
                    <a:extLst>
                      <a:ext uri="{FF2B5EF4-FFF2-40B4-BE49-F238E27FC236}">
                        <a16:creationId xmlns:a16="http://schemas.microsoft.com/office/drawing/2014/main" id="{92EBB7B5-C1B1-4C89-AA08-1C541B8F97B2}"/>
                      </a:ext>
                    </a:extLst>
                  </p:cNvPr>
                  <p:cNvSpPr>
                    <a:spLocks noChangeArrowheads="1"/>
                  </p:cNvSpPr>
                  <p:nvPr/>
                </p:nvSpPr>
                <p:spPr bwMode="auto">
                  <a:xfrm>
                    <a:off x="-3257550"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5" name="Oval 231">
                    <a:extLst>
                      <a:ext uri="{FF2B5EF4-FFF2-40B4-BE49-F238E27FC236}">
                        <a16:creationId xmlns:a16="http://schemas.microsoft.com/office/drawing/2014/main" id="{11100A3E-EE4F-4340-B95E-C65C2820D3A7}"/>
                      </a:ext>
                    </a:extLst>
                  </p:cNvPr>
                  <p:cNvSpPr>
                    <a:spLocks noChangeArrowheads="1"/>
                  </p:cNvSpPr>
                  <p:nvPr/>
                </p:nvSpPr>
                <p:spPr bwMode="auto">
                  <a:xfrm>
                    <a:off x="-3206750"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6" name="Oval 232">
                    <a:extLst>
                      <a:ext uri="{FF2B5EF4-FFF2-40B4-BE49-F238E27FC236}">
                        <a16:creationId xmlns:a16="http://schemas.microsoft.com/office/drawing/2014/main" id="{B69E35BF-22AA-4506-BCF0-C40F5FBBAD77}"/>
                      </a:ext>
                    </a:extLst>
                  </p:cNvPr>
                  <p:cNvSpPr>
                    <a:spLocks noChangeArrowheads="1"/>
                  </p:cNvSpPr>
                  <p:nvPr/>
                </p:nvSpPr>
                <p:spPr bwMode="auto">
                  <a:xfrm>
                    <a:off x="-3159125"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7" name="Oval 233">
                    <a:extLst>
                      <a:ext uri="{FF2B5EF4-FFF2-40B4-BE49-F238E27FC236}">
                        <a16:creationId xmlns:a16="http://schemas.microsoft.com/office/drawing/2014/main" id="{617C4F90-2D30-4A6C-B169-CC9233767D3E}"/>
                      </a:ext>
                    </a:extLst>
                  </p:cNvPr>
                  <p:cNvSpPr>
                    <a:spLocks noChangeArrowheads="1"/>
                  </p:cNvSpPr>
                  <p:nvPr/>
                </p:nvSpPr>
                <p:spPr bwMode="auto">
                  <a:xfrm>
                    <a:off x="-3303588" y="25669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8" name="Oval 234">
                    <a:extLst>
                      <a:ext uri="{FF2B5EF4-FFF2-40B4-BE49-F238E27FC236}">
                        <a16:creationId xmlns:a16="http://schemas.microsoft.com/office/drawing/2014/main" id="{BC8C9463-5A6D-4E1F-B965-CF01C3F44366}"/>
                      </a:ext>
                    </a:extLst>
                  </p:cNvPr>
                  <p:cNvSpPr>
                    <a:spLocks noChangeArrowheads="1"/>
                  </p:cNvSpPr>
                  <p:nvPr/>
                </p:nvSpPr>
                <p:spPr bwMode="auto">
                  <a:xfrm>
                    <a:off x="-3257550"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9" name="Oval 235">
                    <a:extLst>
                      <a:ext uri="{FF2B5EF4-FFF2-40B4-BE49-F238E27FC236}">
                        <a16:creationId xmlns:a16="http://schemas.microsoft.com/office/drawing/2014/main" id="{0989754C-21A7-4AFA-985D-5247ECC9D222}"/>
                      </a:ext>
                    </a:extLst>
                  </p:cNvPr>
                  <p:cNvSpPr>
                    <a:spLocks noChangeArrowheads="1"/>
                  </p:cNvSpPr>
                  <p:nvPr/>
                </p:nvSpPr>
                <p:spPr bwMode="auto">
                  <a:xfrm>
                    <a:off x="-3206750"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0" name="Oval 238">
                    <a:extLst>
                      <a:ext uri="{FF2B5EF4-FFF2-40B4-BE49-F238E27FC236}">
                        <a16:creationId xmlns:a16="http://schemas.microsoft.com/office/drawing/2014/main" id="{3846F69D-3C0A-4998-8AEB-D51DD233B873}"/>
                      </a:ext>
                    </a:extLst>
                  </p:cNvPr>
                  <p:cNvSpPr>
                    <a:spLocks noChangeArrowheads="1"/>
                  </p:cNvSpPr>
                  <p:nvPr/>
                </p:nvSpPr>
                <p:spPr bwMode="auto">
                  <a:xfrm>
                    <a:off x="-3257550"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1" name="Oval 240">
                    <a:extLst>
                      <a:ext uri="{FF2B5EF4-FFF2-40B4-BE49-F238E27FC236}">
                        <a16:creationId xmlns:a16="http://schemas.microsoft.com/office/drawing/2014/main" id="{A80C6799-6C50-4120-A133-1DA19D8D2171}"/>
                      </a:ext>
                    </a:extLst>
                  </p:cNvPr>
                  <p:cNvSpPr>
                    <a:spLocks noChangeArrowheads="1"/>
                  </p:cNvSpPr>
                  <p:nvPr/>
                </p:nvSpPr>
                <p:spPr bwMode="auto">
                  <a:xfrm>
                    <a:off x="-3402013" y="2663825"/>
                    <a:ext cx="52388"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2" name="Oval 241">
                    <a:extLst>
                      <a:ext uri="{FF2B5EF4-FFF2-40B4-BE49-F238E27FC236}">
                        <a16:creationId xmlns:a16="http://schemas.microsoft.com/office/drawing/2014/main" id="{53CDA2D7-9501-4884-B8E6-6AC467B53745}"/>
                      </a:ext>
                    </a:extLst>
                  </p:cNvPr>
                  <p:cNvSpPr>
                    <a:spLocks noChangeArrowheads="1"/>
                  </p:cNvSpPr>
                  <p:nvPr/>
                </p:nvSpPr>
                <p:spPr bwMode="auto">
                  <a:xfrm>
                    <a:off x="-3452813"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23" name="Oval 242">
                    <a:extLst>
                      <a:ext uri="{FF2B5EF4-FFF2-40B4-BE49-F238E27FC236}">
                        <a16:creationId xmlns:a16="http://schemas.microsoft.com/office/drawing/2014/main" id="{E1A96968-4409-4740-BE03-19276F922FDF}"/>
                      </a:ext>
                    </a:extLst>
                  </p:cNvPr>
                  <p:cNvSpPr>
                    <a:spLocks noChangeArrowheads="1"/>
                  </p:cNvSpPr>
                  <p:nvPr/>
                </p:nvSpPr>
                <p:spPr bwMode="auto">
                  <a:xfrm>
                    <a:off x="-3303588"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grpSp>
            <p:grpSp>
              <p:nvGrpSpPr>
                <p:cNvPr id="604" name="Group 603">
                  <a:extLst>
                    <a:ext uri="{FF2B5EF4-FFF2-40B4-BE49-F238E27FC236}">
                      <a16:creationId xmlns:a16="http://schemas.microsoft.com/office/drawing/2014/main" id="{968319AF-5AFC-4FF7-9F8A-7F78532F4EEA}"/>
                    </a:ext>
                  </a:extLst>
                </p:cNvPr>
                <p:cNvGrpSpPr/>
                <p:nvPr/>
              </p:nvGrpSpPr>
              <p:grpSpPr>
                <a:xfrm>
                  <a:off x="-2867025" y="2566988"/>
                  <a:ext cx="292100" cy="200025"/>
                  <a:chOff x="-2867025" y="2566988"/>
                  <a:chExt cx="292100" cy="200025"/>
                </a:xfrm>
              </p:grpSpPr>
              <p:sp>
                <p:nvSpPr>
                  <p:cNvPr id="605" name="Oval 243">
                    <a:extLst>
                      <a:ext uri="{FF2B5EF4-FFF2-40B4-BE49-F238E27FC236}">
                        <a16:creationId xmlns:a16="http://schemas.microsoft.com/office/drawing/2014/main" id="{713DA364-4A70-4B76-AE75-7FEFA895005E}"/>
                      </a:ext>
                    </a:extLst>
                  </p:cNvPr>
                  <p:cNvSpPr>
                    <a:spLocks noChangeArrowheads="1"/>
                  </p:cNvSpPr>
                  <p:nvPr/>
                </p:nvSpPr>
                <p:spPr bwMode="auto">
                  <a:xfrm>
                    <a:off x="-2722563" y="26177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06" name="Oval 244">
                    <a:extLst>
                      <a:ext uri="{FF2B5EF4-FFF2-40B4-BE49-F238E27FC236}">
                        <a16:creationId xmlns:a16="http://schemas.microsoft.com/office/drawing/2014/main" id="{7D9A8241-1EBD-4DC6-89B1-C2C4B2CD768F}"/>
                      </a:ext>
                    </a:extLst>
                  </p:cNvPr>
                  <p:cNvSpPr>
                    <a:spLocks noChangeArrowheads="1"/>
                  </p:cNvSpPr>
                  <p:nvPr/>
                </p:nvSpPr>
                <p:spPr bwMode="auto">
                  <a:xfrm>
                    <a:off x="-2671763"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07" name="Oval 245">
                    <a:extLst>
                      <a:ext uri="{FF2B5EF4-FFF2-40B4-BE49-F238E27FC236}">
                        <a16:creationId xmlns:a16="http://schemas.microsoft.com/office/drawing/2014/main" id="{B40CB1E1-9984-44C4-B55B-F33486011BF2}"/>
                      </a:ext>
                    </a:extLst>
                  </p:cNvPr>
                  <p:cNvSpPr>
                    <a:spLocks noChangeArrowheads="1"/>
                  </p:cNvSpPr>
                  <p:nvPr/>
                </p:nvSpPr>
                <p:spPr bwMode="auto">
                  <a:xfrm>
                    <a:off x="-2625725"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08" name="Oval 246">
                    <a:extLst>
                      <a:ext uri="{FF2B5EF4-FFF2-40B4-BE49-F238E27FC236}">
                        <a16:creationId xmlns:a16="http://schemas.microsoft.com/office/drawing/2014/main" id="{A716E00C-C0EE-48B5-8C2B-05A98E64EE83}"/>
                      </a:ext>
                    </a:extLst>
                  </p:cNvPr>
                  <p:cNvSpPr>
                    <a:spLocks noChangeArrowheads="1"/>
                  </p:cNvSpPr>
                  <p:nvPr/>
                </p:nvSpPr>
                <p:spPr bwMode="auto">
                  <a:xfrm>
                    <a:off x="-2768600" y="2566988"/>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09" name="Oval 248">
                    <a:extLst>
                      <a:ext uri="{FF2B5EF4-FFF2-40B4-BE49-F238E27FC236}">
                        <a16:creationId xmlns:a16="http://schemas.microsoft.com/office/drawing/2014/main" id="{C213AB82-568E-45B6-AA21-08524B9D1260}"/>
                      </a:ext>
                    </a:extLst>
                  </p:cNvPr>
                  <p:cNvSpPr>
                    <a:spLocks noChangeArrowheads="1"/>
                  </p:cNvSpPr>
                  <p:nvPr/>
                </p:nvSpPr>
                <p:spPr bwMode="auto">
                  <a:xfrm>
                    <a:off x="-2671763"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0" name="Oval 250">
                    <a:extLst>
                      <a:ext uri="{FF2B5EF4-FFF2-40B4-BE49-F238E27FC236}">
                        <a16:creationId xmlns:a16="http://schemas.microsoft.com/office/drawing/2014/main" id="{4863A79A-CE83-4E19-A010-4026C3D0687C}"/>
                      </a:ext>
                    </a:extLst>
                  </p:cNvPr>
                  <p:cNvSpPr>
                    <a:spLocks noChangeArrowheads="1"/>
                  </p:cNvSpPr>
                  <p:nvPr/>
                </p:nvSpPr>
                <p:spPr bwMode="auto">
                  <a:xfrm>
                    <a:off x="-2820988" y="2617788"/>
                    <a:ext cx="52388"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1" name="Oval 251">
                    <a:extLst>
                      <a:ext uri="{FF2B5EF4-FFF2-40B4-BE49-F238E27FC236}">
                        <a16:creationId xmlns:a16="http://schemas.microsoft.com/office/drawing/2014/main" id="{74E3A5B4-640D-49D2-9B4A-A449D126E5CA}"/>
                      </a:ext>
                    </a:extLst>
                  </p:cNvPr>
                  <p:cNvSpPr>
                    <a:spLocks noChangeArrowheads="1"/>
                  </p:cNvSpPr>
                  <p:nvPr/>
                </p:nvSpPr>
                <p:spPr bwMode="auto">
                  <a:xfrm>
                    <a:off x="-2722563" y="2716213"/>
                    <a:ext cx="50800"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2" name="Oval 252">
                    <a:extLst>
                      <a:ext uri="{FF2B5EF4-FFF2-40B4-BE49-F238E27FC236}">
                        <a16:creationId xmlns:a16="http://schemas.microsoft.com/office/drawing/2014/main" id="{10E0379F-50CF-488C-ADD2-4E23F9200131}"/>
                      </a:ext>
                    </a:extLst>
                  </p:cNvPr>
                  <p:cNvSpPr>
                    <a:spLocks noChangeArrowheads="1"/>
                  </p:cNvSpPr>
                  <p:nvPr/>
                </p:nvSpPr>
                <p:spPr bwMode="auto">
                  <a:xfrm>
                    <a:off x="-2820988" y="2716213"/>
                    <a:ext cx="52388" cy="50800"/>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sp>
                <p:nvSpPr>
                  <p:cNvPr id="613" name="Oval 253">
                    <a:extLst>
                      <a:ext uri="{FF2B5EF4-FFF2-40B4-BE49-F238E27FC236}">
                        <a16:creationId xmlns:a16="http://schemas.microsoft.com/office/drawing/2014/main" id="{05922F34-4288-490F-8177-88EE17A46AFF}"/>
                      </a:ext>
                    </a:extLst>
                  </p:cNvPr>
                  <p:cNvSpPr>
                    <a:spLocks noChangeArrowheads="1"/>
                  </p:cNvSpPr>
                  <p:nvPr/>
                </p:nvSpPr>
                <p:spPr bwMode="auto">
                  <a:xfrm>
                    <a:off x="-2867025" y="2663825"/>
                    <a:ext cx="50800" cy="5238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latin typeface="Arial"/>
                    </a:endParaRPr>
                  </a:p>
                </p:txBody>
              </p:sp>
            </p:grpSp>
          </p:grpSp>
          <p:grpSp>
            <p:nvGrpSpPr>
              <p:cNvPr id="583" name="Group 582">
                <a:extLst>
                  <a:ext uri="{FF2B5EF4-FFF2-40B4-BE49-F238E27FC236}">
                    <a16:creationId xmlns:a16="http://schemas.microsoft.com/office/drawing/2014/main" id="{166B49E2-7118-41B2-AF4B-B279E945191F}"/>
                  </a:ext>
                </a:extLst>
              </p:cNvPr>
              <p:cNvGrpSpPr/>
              <p:nvPr/>
            </p:nvGrpSpPr>
            <p:grpSpPr>
              <a:xfrm>
                <a:off x="-4470400" y="2566988"/>
                <a:ext cx="2286000" cy="200025"/>
                <a:chOff x="-4470400" y="2566988"/>
                <a:chExt cx="2286000" cy="200025"/>
              </a:xfrm>
              <a:solidFill>
                <a:schemeClr val="accent6"/>
              </a:solidFill>
            </p:grpSpPr>
            <p:sp>
              <p:nvSpPr>
                <p:cNvPr id="584" name="Oval 198">
                  <a:extLst>
                    <a:ext uri="{FF2B5EF4-FFF2-40B4-BE49-F238E27FC236}">
                      <a16:creationId xmlns:a16="http://schemas.microsoft.com/office/drawing/2014/main" id="{D10E426C-018A-4046-AEEA-04C9FBA6D4DE}"/>
                    </a:ext>
                  </a:extLst>
                </p:cNvPr>
                <p:cNvSpPr>
                  <a:spLocks noChangeArrowheads="1"/>
                </p:cNvSpPr>
                <p:nvPr/>
              </p:nvSpPr>
              <p:spPr bwMode="auto">
                <a:xfrm>
                  <a:off x="-2286000" y="2617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Oval 200">
                  <a:extLst>
                    <a:ext uri="{FF2B5EF4-FFF2-40B4-BE49-F238E27FC236}">
                      <a16:creationId xmlns:a16="http://schemas.microsoft.com/office/drawing/2014/main" id="{9567395A-CA6B-4029-B6B6-84C4CA3FD331}"/>
                    </a:ext>
                  </a:extLst>
                </p:cNvPr>
                <p:cNvSpPr>
                  <a:spLocks noChangeArrowheads="1"/>
                </p:cNvSpPr>
                <p:nvPr/>
              </p:nvSpPr>
              <p:spPr bwMode="auto">
                <a:xfrm>
                  <a:off x="-2286000" y="271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Oval 203">
                  <a:extLst>
                    <a:ext uri="{FF2B5EF4-FFF2-40B4-BE49-F238E27FC236}">
                      <a16:creationId xmlns:a16="http://schemas.microsoft.com/office/drawing/2014/main" id="{2BE6B0FE-6BBC-48F3-B58D-20D67C82CE22}"/>
                    </a:ext>
                  </a:extLst>
                </p:cNvPr>
                <p:cNvSpPr>
                  <a:spLocks noChangeArrowheads="1"/>
                </p:cNvSpPr>
                <p:nvPr/>
              </p:nvSpPr>
              <p:spPr bwMode="auto">
                <a:xfrm>
                  <a:off x="-2235200" y="2663825"/>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Oval 586">
                  <a:extLst>
                    <a:ext uri="{FF2B5EF4-FFF2-40B4-BE49-F238E27FC236}">
                      <a16:creationId xmlns:a16="http://schemas.microsoft.com/office/drawing/2014/main" id="{C78077C1-A13C-45B8-B9F5-D24EC21D256C}"/>
                    </a:ext>
                  </a:extLst>
                </p:cNvPr>
                <p:cNvSpPr>
                  <a:spLocks noChangeArrowheads="1"/>
                </p:cNvSpPr>
                <p:nvPr/>
              </p:nvSpPr>
              <p:spPr bwMode="auto">
                <a:xfrm>
                  <a:off x="-4275138" y="2663825"/>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Oval 212">
                  <a:extLst>
                    <a:ext uri="{FF2B5EF4-FFF2-40B4-BE49-F238E27FC236}">
                      <a16:creationId xmlns:a16="http://schemas.microsoft.com/office/drawing/2014/main" id="{EABB5AEB-DDCC-460A-B621-84577568FBC4}"/>
                    </a:ext>
                  </a:extLst>
                </p:cNvPr>
                <p:cNvSpPr>
                  <a:spLocks noChangeArrowheads="1"/>
                </p:cNvSpPr>
                <p:nvPr/>
              </p:nvSpPr>
              <p:spPr bwMode="auto">
                <a:xfrm>
                  <a:off x="-4325938" y="271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Oval 214">
                  <a:extLst>
                    <a:ext uri="{FF2B5EF4-FFF2-40B4-BE49-F238E27FC236}">
                      <a16:creationId xmlns:a16="http://schemas.microsoft.com/office/drawing/2014/main" id="{D4CEE034-C516-4056-863A-7D2B05F2CCAF}"/>
                    </a:ext>
                  </a:extLst>
                </p:cNvPr>
                <p:cNvSpPr>
                  <a:spLocks noChangeArrowheads="1"/>
                </p:cNvSpPr>
                <p:nvPr/>
              </p:nvSpPr>
              <p:spPr bwMode="auto">
                <a:xfrm>
                  <a:off x="-4470400" y="2663825"/>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Oval 220">
                  <a:extLst>
                    <a:ext uri="{FF2B5EF4-FFF2-40B4-BE49-F238E27FC236}">
                      <a16:creationId xmlns:a16="http://schemas.microsoft.com/office/drawing/2014/main" id="{9B744B66-A4EC-4E4A-B282-440063C3E84B}"/>
                    </a:ext>
                  </a:extLst>
                </p:cNvPr>
                <p:cNvSpPr>
                  <a:spLocks noChangeArrowheads="1"/>
                </p:cNvSpPr>
                <p:nvPr/>
              </p:nvSpPr>
              <p:spPr bwMode="auto">
                <a:xfrm>
                  <a:off x="-3838575" y="25669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Oval 224">
                  <a:extLst>
                    <a:ext uri="{FF2B5EF4-FFF2-40B4-BE49-F238E27FC236}">
                      <a16:creationId xmlns:a16="http://schemas.microsoft.com/office/drawing/2014/main" id="{C0D9A42B-8D23-452C-8E38-A28C660B6140}"/>
                    </a:ext>
                  </a:extLst>
                </p:cNvPr>
                <p:cNvSpPr>
                  <a:spLocks noChangeArrowheads="1"/>
                </p:cNvSpPr>
                <p:nvPr/>
              </p:nvSpPr>
              <p:spPr bwMode="auto">
                <a:xfrm>
                  <a:off x="-3889375" y="2617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Oval 226">
                  <a:extLst>
                    <a:ext uri="{FF2B5EF4-FFF2-40B4-BE49-F238E27FC236}">
                      <a16:creationId xmlns:a16="http://schemas.microsoft.com/office/drawing/2014/main" id="{E05A5E4B-C33D-405E-ACB3-2A902FDE6335}"/>
                    </a:ext>
                  </a:extLst>
                </p:cNvPr>
                <p:cNvSpPr>
                  <a:spLocks noChangeArrowheads="1"/>
                </p:cNvSpPr>
                <p:nvPr/>
              </p:nvSpPr>
              <p:spPr bwMode="auto">
                <a:xfrm>
                  <a:off x="-3889375" y="271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Oval 236">
                  <a:extLst>
                    <a:ext uri="{FF2B5EF4-FFF2-40B4-BE49-F238E27FC236}">
                      <a16:creationId xmlns:a16="http://schemas.microsoft.com/office/drawing/2014/main" id="{90C3647D-1C2F-4B91-9FAB-55FFEB784B0E}"/>
                    </a:ext>
                  </a:extLst>
                </p:cNvPr>
                <p:cNvSpPr>
                  <a:spLocks noChangeArrowheads="1"/>
                </p:cNvSpPr>
                <p:nvPr/>
              </p:nvSpPr>
              <p:spPr bwMode="auto">
                <a:xfrm>
                  <a:off x="-3159125" y="271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Oval 237">
                  <a:extLst>
                    <a:ext uri="{FF2B5EF4-FFF2-40B4-BE49-F238E27FC236}">
                      <a16:creationId xmlns:a16="http://schemas.microsoft.com/office/drawing/2014/main" id="{6F4E948C-9A8D-4068-9D5E-75B08C849816}"/>
                    </a:ext>
                  </a:extLst>
                </p:cNvPr>
                <p:cNvSpPr>
                  <a:spLocks noChangeArrowheads="1"/>
                </p:cNvSpPr>
                <p:nvPr/>
              </p:nvSpPr>
              <p:spPr bwMode="auto">
                <a:xfrm>
                  <a:off x="-3354388" y="2617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Oval 239">
                  <a:extLst>
                    <a:ext uri="{FF2B5EF4-FFF2-40B4-BE49-F238E27FC236}">
                      <a16:creationId xmlns:a16="http://schemas.microsoft.com/office/drawing/2014/main" id="{5AED1997-6496-4240-AEAF-3C3E59FD5142}"/>
                    </a:ext>
                  </a:extLst>
                </p:cNvPr>
                <p:cNvSpPr>
                  <a:spLocks noChangeArrowheads="1"/>
                </p:cNvSpPr>
                <p:nvPr/>
              </p:nvSpPr>
              <p:spPr bwMode="auto">
                <a:xfrm>
                  <a:off x="-3354388" y="271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Oval 247">
                  <a:extLst>
                    <a:ext uri="{FF2B5EF4-FFF2-40B4-BE49-F238E27FC236}">
                      <a16:creationId xmlns:a16="http://schemas.microsoft.com/office/drawing/2014/main" id="{7FD60FDE-B763-4E27-8FD3-299279C8AA6D}"/>
                    </a:ext>
                  </a:extLst>
                </p:cNvPr>
                <p:cNvSpPr>
                  <a:spLocks noChangeArrowheads="1"/>
                </p:cNvSpPr>
                <p:nvPr/>
              </p:nvSpPr>
              <p:spPr bwMode="auto">
                <a:xfrm>
                  <a:off x="-2722563" y="26177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Oval 249">
                  <a:extLst>
                    <a:ext uri="{FF2B5EF4-FFF2-40B4-BE49-F238E27FC236}">
                      <a16:creationId xmlns:a16="http://schemas.microsoft.com/office/drawing/2014/main" id="{9DEC6ED9-7833-48C0-9CDE-01D5780FEC80}"/>
                    </a:ext>
                  </a:extLst>
                </p:cNvPr>
                <p:cNvSpPr>
                  <a:spLocks noChangeArrowheads="1"/>
                </p:cNvSpPr>
                <p:nvPr/>
              </p:nvSpPr>
              <p:spPr bwMode="auto">
                <a:xfrm>
                  <a:off x="-2625725" y="271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Oval 254">
                  <a:extLst>
                    <a:ext uri="{FF2B5EF4-FFF2-40B4-BE49-F238E27FC236}">
                      <a16:creationId xmlns:a16="http://schemas.microsoft.com/office/drawing/2014/main" id="{3AAD524E-8CA8-4EA1-A27C-E5E208352AD5}"/>
                    </a:ext>
                  </a:extLst>
                </p:cNvPr>
                <p:cNvSpPr>
                  <a:spLocks noChangeArrowheads="1"/>
                </p:cNvSpPr>
                <p:nvPr/>
              </p:nvSpPr>
              <p:spPr bwMode="auto">
                <a:xfrm>
                  <a:off x="-2917825" y="271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Oval 255">
                  <a:extLst>
                    <a:ext uri="{FF2B5EF4-FFF2-40B4-BE49-F238E27FC236}">
                      <a16:creationId xmlns:a16="http://schemas.microsoft.com/office/drawing/2014/main" id="{CDA95B0B-F2BE-4705-9FCA-AAC8359C77E8}"/>
                    </a:ext>
                  </a:extLst>
                </p:cNvPr>
                <p:cNvSpPr>
                  <a:spLocks noChangeArrowheads="1"/>
                </p:cNvSpPr>
                <p:nvPr/>
              </p:nvSpPr>
              <p:spPr bwMode="auto">
                <a:xfrm>
                  <a:off x="-2768600" y="2663825"/>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6" name="Rectangle 41">
              <a:extLst>
                <a:ext uri="{FF2B5EF4-FFF2-40B4-BE49-F238E27FC236}">
                  <a16:creationId xmlns:a16="http://schemas.microsoft.com/office/drawing/2014/main" id="{411C8D28-66EB-4500-8E1D-56A07B098916}"/>
                </a:ext>
              </a:extLst>
            </p:cNvPr>
            <p:cNvSpPr>
              <a:spLocks noChangeArrowheads="1"/>
            </p:cNvSpPr>
            <p:nvPr/>
          </p:nvSpPr>
          <p:spPr bwMode="auto">
            <a:xfrm>
              <a:off x="8259675" y="4186185"/>
              <a:ext cx="135180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750" b="1" kern="0" spc="140" dirty="0">
                  <a:latin typeface="Arial Narrow" charset="0"/>
                </a:rPr>
                <a:t>SENSITIVE CROP</a:t>
              </a:r>
            </a:p>
          </p:txBody>
        </p:sp>
        <p:sp>
          <p:nvSpPr>
            <p:cNvPr id="39" name="Rectangle 41">
              <a:extLst>
                <a:ext uri="{FF2B5EF4-FFF2-40B4-BE49-F238E27FC236}">
                  <a16:creationId xmlns:a16="http://schemas.microsoft.com/office/drawing/2014/main" id="{120FDF33-62A7-4D2A-8CEC-670C8A4383A9}"/>
                </a:ext>
              </a:extLst>
            </p:cNvPr>
            <p:cNvSpPr>
              <a:spLocks noChangeArrowheads="1"/>
            </p:cNvSpPr>
            <p:nvPr/>
          </p:nvSpPr>
          <p:spPr bwMode="auto">
            <a:xfrm>
              <a:off x="7757564" y="3019282"/>
              <a:ext cx="13518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200" b="1" kern="0" spc="140">
                  <a:solidFill>
                    <a:schemeClr val="accent6"/>
                  </a:solidFill>
                  <a:latin typeface="Arial Narrow" charset="0"/>
                </a:rPr>
                <a:t>CONTAMINATED</a:t>
              </a:r>
              <a:br>
                <a:rPr lang="en-US" altLang="en-US" sz="1200" b="1" kern="0" spc="140">
                  <a:solidFill>
                    <a:schemeClr val="accent6"/>
                  </a:solidFill>
                  <a:latin typeface="Arial Narrow" charset="0"/>
                </a:rPr>
              </a:br>
              <a:r>
                <a:rPr lang="en-US" altLang="en-US" sz="1200" b="1" kern="0" spc="140">
                  <a:solidFill>
                    <a:schemeClr val="accent6"/>
                  </a:solidFill>
                  <a:latin typeface="Arial Narrow" charset="0"/>
                </a:rPr>
                <a:t>SPRAYER</a:t>
              </a:r>
            </a:p>
          </p:txBody>
        </p:sp>
        <p:sp>
          <p:nvSpPr>
            <p:cNvPr id="568" name="Oval 187">
              <a:extLst>
                <a:ext uri="{FF2B5EF4-FFF2-40B4-BE49-F238E27FC236}">
                  <a16:creationId xmlns:a16="http://schemas.microsoft.com/office/drawing/2014/main" id="{6523E200-C5F7-456D-8EB7-4810D05F493C}"/>
                </a:ext>
              </a:extLst>
            </p:cNvPr>
            <p:cNvSpPr>
              <a:spLocks noChangeArrowheads="1"/>
            </p:cNvSpPr>
            <p:nvPr/>
          </p:nvSpPr>
          <p:spPr bwMode="auto">
            <a:xfrm>
              <a:off x="10610248" y="3721268"/>
              <a:ext cx="38008" cy="38008"/>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8" name="Group 1207">
            <a:extLst>
              <a:ext uri="{FF2B5EF4-FFF2-40B4-BE49-F238E27FC236}">
                <a16:creationId xmlns:a16="http://schemas.microsoft.com/office/drawing/2014/main" id="{AD61C672-9667-4F3B-93CA-51A99CED7974}"/>
              </a:ext>
            </a:extLst>
          </p:cNvPr>
          <p:cNvGrpSpPr/>
          <p:nvPr/>
        </p:nvGrpSpPr>
        <p:grpSpPr>
          <a:xfrm>
            <a:off x="7561228" y="4709366"/>
            <a:ext cx="3736536" cy="1219609"/>
            <a:chOff x="7561228" y="4709366"/>
            <a:chExt cx="3736536" cy="1219609"/>
          </a:xfrm>
        </p:grpSpPr>
        <p:sp>
          <p:nvSpPr>
            <p:cNvPr id="37" name="Rectangle 41">
              <a:extLst>
                <a:ext uri="{FF2B5EF4-FFF2-40B4-BE49-F238E27FC236}">
                  <a16:creationId xmlns:a16="http://schemas.microsoft.com/office/drawing/2014/main" id="{67377BF5-FCAF-4C9B-A35E-EFE92F66BEA0}"/>
                </a:ext>
              </a:extLst>
            </p:cNvPr>
            <p:cNvSpPr>
              <a:spLocks noChangeArrowheads="1"/>
            </p:cNvSpPr>
            <p:nvPr/>
          </p:nvSpPr>
          <p:spPr bwMode="auto">
            <a:xfrm>
              <a:off x="9868650" y="5813559"/>
              <a:ext cx="135180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750" b="1" kern="0" spc="140" dirty="0">
                  <a:latin typeface="Arial Narrow" charset="0"/>
                </a:rPr>
                <a:t>SENSITIVE CROP</a:t>
              </a:r>
            </a:p>
          </p:txBody>
        </p:sp>
        <p:sp>
          <p:nvSpPr>
            <p:cNvPr id="38" name="Rectangle 41">
              <a:extLst>
                <a:ext uri="{FF2B5EF4-FFF2-40B4-BE49-F238E27FC236}">
                  <a16:creationId xmlns:a16="http://schemas.microsoft.com/office/drawing/2014/main" id="{91932D8D-5666-4DA8-BC5A-0D4D5CC9527F}"/>
                </a:ext>
              </a:extLst>
            </p:cNvPr>
            <p:cNvSpPr>
              <a:spLocks noChangeArrowheads="1"/>
            </p:cNvSpPr>
            <p:nvPr/>
          </p:nvSpPr>
          <p:spPr bwMode="auto">
            <a:xfrm>
              <a:off x="7858537" y="5813559"/>
              <a:ext cx="135180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750" b="1" kern="0" spc="140">
                  <a:latin typeface="Arial Narrow" charset="0"/>
                </a:rPr>
                <a:t>TARGET CROP</a:t>
              </a:r>
            </a:p>
          </p:txBody>
        </p:sp>
        <p:sp>
          <p:nvSpPr>
            <p:cNvPr id="40" name="Rectangle 41">
              <a:extLst>
                <a:ext uri="{FF2B5EF4-FFF2-40B4-BE49-F238E27FC236}">
                  <a16:creationId xmlns:a16="http://schemas.microsoft.com/office/drawing/2014/main" id="{9F029C64-98DB-4D20-97E5-738BFD47429A}"/>
                </a:ext>
              </a:extLst>
            </p:cNvPr>
            <p:cNvSpPr>
              <a:spLocks noChangeArrowheads="1"/>
            </p:cNvSpPr>
            <p:nvPr/>
          </p:nvSpPr>
          <p:spPr bwMode="auto">
            <a:xfrm>
              <a:off x="7561228" y="4853864"/>
              <a:ext cx="13518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200" b="1" kern="0" spc="140">
                  <a:solidFill>
                    <a:schemeClr val="accent6"/>
                  </a:solidFill>
                  <a:latin typeface="Arial Narrow" charset="0"/>
                </a:rPr>
                <a:t>VOLATILIZATION</a:t>
              </a:r>
            </a:p>
          </p:txBody>
        </p:sp>
        <p:grpSp>
          <p:nvGrpSpPr>
            <p:cNvPr id="672" name="Group 671">
              <a:extLst>
                <a:ext uri="{FF2B5EF4-FFF2-40B4-BE49-F238E27FC236}">
                  <a16:creationId xmlns:a16="http://schemas.microsoft.com/office/drawing/2014/main" id="{05679453-E78F-4141-9A87-640F606E967A}"/>
                </a:ext>
              </a:extLst>
            </p:cNvPr>
            <p:cNvGrpSpPr/>
            <p:nvPr/>
          </p:nvGrpSpPr>
          <p:grpSpPr>
            <a:xfrm>
              <a:off x="7561228" y="4709366"/>
              <a:ext cx="3736536" cy="1018406"/>
              <a:chOff x="-5632450" y="3946525"/>
              <a:chExt cx="4979988" cy="1357313"/>
            </a:xfrm>
          </p:grpSpPr>
          <p:grpSp>
            <p:nvGrpSpPr>
              <p:cNvPr id="673" name="Group 672">
                <a:extLst>
                  <a:ext uri="{FF2B5EF4-FFF2-40B4-BE49-F238E27FC236}">
                    <a16:creationId xmlns:a16="http://schemas.microsoft.com/office/drawing/2014/main" id="{0D58C9AD-D408-4E8D-857F-CF1B175E65AA}"/>
                  </a:ext>
                </a:extLst>
              </p:cNvPr>
              <p:cNvGrpSpPr/>
              <p:nvPr/>
            </p:nvGrpSpPr>
            <p:grpSpPr>
              <a:xfrm>
                <a:off x="-5432425" y="3986213"/>
                <a:ext cx="4308475" cy="950912"/>
                <a:chOff x="-5432425" y="3986213"/>
                <a:chExt cx="4308475" cy="950912"/>
              </a:xfrm>
              <a:solidFill>
                <a:schemeClr val="accent6"/>
              </a:solidFill>
            </p:grpSpPr>
            <p:sp>
              <p:nvSpPr>
                <p:cNvPr id="702" name="Oval 256">
                  <a:extLst>
                    <a:ext uri="{FF2B5EF4-FFF2-40B4-BE49-F238E27FC236}">
                      <a16:creationId xmlns:a16="http://schemas.microsoft.com/office/drawing/2014/main" id="{17095BE2-362C-426E-A512-269477B42959}"/>
                    </a:ext>
                  </a:extLst>
                </p:cNvPr>
                <p:cNvSpPr>
                  <a:spLocks noChangeArrowheads="1"/>
                </p:cNvSpPr>
                <p:nvPr/>
              </p:nvSpPr>
              <p:spPr bwMode="auto">
                <a:xfrm>
                  <a:off x="-5432425" y="47593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Oval 258">
                  <a:extLst>
                    <a:ext uri="{FF2B5EF4-FFF2-40B4-BE49-F238E27FC236}">
                      <a16:creationId xmlns:a16="http://schemas.microsoft.com/office/drawing/2014/main" id="{1D271A4F-A2E9-4304-89B9-4DA5BC6932CE}"/>
                    </a:ext>
                  </a:extLst>
                </p:cNvPr>
                <p:cNvSpPr>
                  <a:spLocks noChangeArrowheads="1"/>
                </p:cNvSpPr>
                <p:nvPr/>
              </p:nvSpPr>
              <p:spPr bwMode="auto">
                <a:xfrm>
                  <a:off x="-4899025" y="46958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260">
                  <a:extLst>
                    <a:ext uri="{FF2B5EF4-FFF2-40B4-BE49-F238E27FC236}">
                      <a16:creationId xmlns:a16="http://schemas.microsoft.com/office/drawing/2014/main" id="{5025196A-F935-4DA0-AAF3-715706E7B44C}"/>
                    </a:ext>
                  </a:extLst>
                </p:cNvPr>
                <p:cNvSpPr>
                  <a:spLocks/>
                </p:cNvSpPr>
                <p:nvPr/>
              </p:nvSpPr>
              <p:spPr bwMode="auto">
                <a:xfrm>
                  <a:off x="-5199063" y="4495800"/>
                  <a:ext cx="53975" cy="55563"/>
                </a:xfrm>
                <a:custGeom>
                  <a:avLst/>
                  <a:gdLst>
                    <a:gd name="T0" fmla="*/ 2 w 13"/>
                    <a:gd name="T1" fmla="*/ 3 h 13"/>
                    <a:gd name="T2" fmla="*/ 10 w 13"/>
                    <a:gd name="T3" fmla="*/ 3 h 13"/>
                    <a:gd name="T4" fmla="*/ 10 w 13"/>
                    <a:gd name="T5" fmla="*/ 11 h 13"/>
                    <a:gd name="T6" fmla="*/ 2 w 13"/>
                    <a:gd name="T7" fmla="*/ 11 h 13"/>
                    <a:gd name="T8" fmla="*/ 2 w 13"/>
                    <a:gd name="T9" fmla="*/ 3 h 13"/>
                  </a:gdLst>
                  <a:ahLst/>
                  <a:cxnLst>
                    <a:cxn ang="0">
                      <a:pos x="T0" y="T1"/>
                    </a:cxn>
                    <a:cxn ang="0">
                      <a:pos x="T2" y="T3"/>
                    </a:cxn>
                    <a:cxn ang="0">
                      <a:pos x="T4" y="T5"/>
                    </a:cxn>
                    <a:cxn ang="0">
                      <a:pos x="T6" y="T7"/>
                    </a:cxn>
                    <a:cxn ang="0">
                      <a:pos x="T8" y="T9"/>
                    </a:cxn>
                  </a:cxnLst>
                  <a:rect l="0" t="0" r="r" b="b"/>
                  <a:pathLst>
                    <a:path w="13" h="13">
                      <a:moveTo>
                        <a:pt x="2" y="3"/>
                      </a:moveTo>
                      <a:cubicBezTo>
                        <a:pt x="4" y="0"/>
                        <a:pt x="8" y="0"/>
                        <a:pt x="10" y="3"/>
                      </a:cubicBezTo>
                      <a:cubicBezTo>
                        <a:pt x="13" y="5"/>
                        <a:pt x="13" y="9"/>
                        <a:pt x="10" y="11"/>
                      </a:cubicBezTo>
                      <a:cubicBezTo>
                        <a:pt x="8" y="13"/>
                        <a:pt x="4" y="13"/>
                        <a:pt x="2" y="11"/>
                      </a:cubicBezTo>
                      <a:cubicBezTo>
                        <a:pt x="0" y="9"/>
                        <a:pt x="0" y="5"/>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Oval 262">
                  <a:extLst>
                    <a:ext uri="{FF2B5EF4-FFF2-40B4-BE49-F238E27FC236}">
                      <a16:creationId xmlns:a16="http://schemas.microsoft.com/office/drawing/2014/main" id="{F67A9A85-69FD-4959-BDF4-04C3776CB793}"/>
                    </a:ext>
                  </a:extLst>
                </p:cNvPr>
                <p:cNvSpPr>
                  <a:spLocks noChangeArrowheads="1"/>
                </p:cNvSpPr>
                <p:nvPr/>
              </p:nvSpPr>
              <p:spPr bwMode="auto">
                <a:xfrm>
                  <a:off x="-1433513" y="4802188"/>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Oval 264">
                  <a:extLst>
                    <a:ext uri="{FF2B5EF4-FFF2-40B4-BE49-F238E27FC236}">
                      <a16:creationId xmlns:a16="http://schemas.microsoft.com/office/drawing/2014/main" id="{AB81584E-C3C2-48FD-AA1C-311A397560C3}"/>
                    </a:ext>
                  </a:extLst>
                </p:cNvPr>
                <p:cNvSpPr>
                  <a:spLocks noChangeArrowheads="1"/>
                </p:cNvSpPr>
                <p:nvPr/>
              </p:nvSpPr>
              <p:spPr bwMode="auto">
                <a:xfrm>
                  <a:off x="-1174750" y="46783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Oval 266">
                  <a:extLst>
                    <a:ext uri="{FF2B5EF4-FFF2-40B4-BE49-F238E27FC236}">
                      <a16:creationId xmlns:a16="http://schemas.microsoft.com/office/drawing/2014/main" id="{71127621-48B4-4DEB-A672-DA488E7EBE32}"/>
                    </a:ext>
                  </a:extLst>
                </p:cNvPr>
                <p:cNvSpPr>
                  <a:spLocks noChangeArrowheads="1"/>
                </p:cNvSpPr>
                <p:nvPr/>
              </p:nvSpPr>
              <p:spPr bwMode="auto">
                <a:xfrm>
                  <a:off x="-1327150" y="45513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Oval 268">
                  <a:extLst>
                    <a:ext uri="{FF2B5EF4-FFF2-40B4-BE49-F238E27FC236}">
                      <a16:creationId xmlns:a16="http://schemas.microsoft.com/office/drawing/2014/main" id="{95DA913D-515E-4E9B-A7F2-CA66CB913EE0}"/>
                    </a:ext>
                  </a:extLst>
                </p:cNvPr>
                <p:cNvSpPr>
                  <a:spLocks noChangeArrowheads="1"/>
                </p:cNvSpPr>
                <p:nvPr/>
              </p:nvSpPr>
              <p:spPr bwMode="auto">
                <a:xfrm>
                  <a:off x="-1674813" y="45894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270">
                  <a:extLst>
                    <a:ext uri="{FF2B5EF4-FFF2-40B4-BE49-F238E27FC236}">
                      <a16:creationId xmlns:a16="http://schemas.microsoft.com/office/drawing/2014/main" id="{8399C869-1D68-420D-BB1B-DF0BAE7608E9}"/>
                    </a:ext>
                  </a:extLst>
                </p:cNvPr>
                <p:cNvSpPr>
                  <a:spLocks/>
                </p:cNvSpPr>
                <p:nvPr/>
              </p:nvSpPr>
              <p:spPr bwMode="auto">
                <a:xfrm>
                  <a:off x="-4384675" y="4691063"/>
                  <a:ext cx="53975" cy="55563"/>
                </a:xfrm>
                <a:custGeom>
                  <a:avLst/>
                  <a:gdLst>
                    <a:gd name="T0" fmla="*/ 3 w 13"/>
                    <a:gd name="T1" fmla="*/ 2 h 13"/>
                    <a:gd name="T2" fmla="*/ 11 w 13"/>
                    <a:gd name="T3" fmla="*/ 2 h 13"/>
                    <a:gd name="T4" fmla="*/ 11 w 13"/>
                    <a:gd name="T5" fmla="*/ 11 h 13"/>
                    <a:gd name="T6" fmla="*/ 3 w 13"/>
                    <a:gd name="T7" fmla="*/ 11 h 13"/>
                    <a:gd name="T8" fmla="*/ 3 w 13"/>
                    <a:gd name="T9" fmla="*/ 2 h 13"/>
                  </a:gdLst>
                  <a:ahLst/>
                  <a:cxnLst>
                    <a:cxn ang="0">
                      <a:pos x="T0" y="T1"/>
                    </a:cxn>
                    <a:cxn ang="0">
                      <a:pos x="T2" y="T3"/>
                    </a:cxn>
                    <a:cxn ang="0">
                      <a:pos x="T4" y="T5"/>
                    </a:cxn>
                    <a:cxn ang="0">
                      <a:pos x="T6" y="T7"/>
                    </a:cxn>
                    <a:cxn ang="0">
                      <a:pos x="T8" y="T9"/>
                    </a:cxn>
                  </a:cxnLst>
                  <a:rect l="0" t="0" r="r" b="b"/>
                  <a:pathLst>
                    <a:path w="13" h="13">
                      <a:moveTo>
                        <a:pt x="3" y="2"/>
                      </a:moveTo>
                      <a:cubicBezTo>
                        <a:pt x="5" y="0"/>
                        <a:pt x="9" y="0"/>
                        <a:pt x="11" y="2"/>
                      </a:cubicBezTo>
                      <a:cubicBezTo>
                        <a:pt x="13" y="5"/>
                        <a:pt x="13" y="8"/>
                        <a:pt x="11" y="11"/>
                      </a:cubicBezTo>
                      <a:cubicBezTo>
                        <a:pt x="9" y="13"/>
                        <a:pt x="5" y="13"/>
                        <a:pt x="3" y="11"/>
                      </a:cubicBezTo>
                      <a:cubicBezTo>
                        <a:pt x="0" y="8"/>
                        <a:pt x="0" y="5"/>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272">
                  <a:extLst>
                    <a:ext uri="{FF2B5EF4-FFF2-40B4-BE49-F238E27FC236}">
                      <a16:creationId xmlns:a16="http://schemas.microsoft.com/office/drawing/2014/main" id="{B29C2E33-53B7-41A0-912B-9ACA1C02121F}"/>
                    </a:ext>
                  </a:extLst>
                </p:cNvPr>
                <p:cNvSpPr>
                  <a:spLocks/>
                </p:cNvSpPr>
                <p:nvPr/>
              </p:nvSpPr>
              <p:spPr bwMode="auto">
                <a:xfrm>
                  <a:off x="-3998913" y="4622800"/>
                  <a:ext cx="53975" cy="55563"/>
                </a:xfrm>
                <a:custGeom>
                  <a:avLst/>
                  <a:gdLst>
                    <a:gd name="T0" fmla="*/ 2 w 13"/>
                    <a:gd name="T1" fmla="*/ 2 h 13"/>
                    <a:gd name="T2" fmla="*/ 10 w 13"/>
                    <a:gd name="T3" fmla="*/ 2 h 13"/>
                    <a:gd name="T4" fmla="*/ 10 w 13"/>
                    <a:gd name="T5" fmla="*/ 11 h 13"/>
                    <a:gd name="T6" fmla="*/ 2 w 13"/>
                    <a:gd name="T7" fmla="*/ 11 h 13"/>
                    <a:gd name="T8" fmla="*/ 2 w 13"/>
                    <a:gd name="T9" fmla="*/ 2 h 13"/>
                  </a:gdLst>
                  <a:ahLst/>
                  <a:cxnLst>
                    <a:cxn ang="0">
                      <a:pos x="T0" y="T1"/>
                    </a:cxn>
                    <a:cxn ang="0">
                      <a:pos x="T2" y="T3"/>
                    </a:cxn>
                    <a:cxn ang="0">
                      <a:pos x="T4" y="T5"/>
                    </a:cxn>
                    <a:cxn ang="0">
                      <a:pos x="T6" y="T7"/>
                    </a:cxn>
                    <a:cxn ang="0">
                      <a:pos x="T8" y="T9"/>
                    </a:cxn>
                  </a:cxnLst>
                  <a:rect l="0" t="0" r="r" b="b"/>
                  <a:pathLst>
                    <a:path w="13" h="13">
                      <a:moveTo>
                        <a:pt x="2" y="2"/>
                      </a:moveTo>
                      <a:cubicBezTo>
                        <a:pt x="4" y="0"/>
                        <a:pt x="8" y="0"/>
                        <a:pt x="10" y="2"/>
                      </a:cubicBezTo>
                      <a:cubicBezTo>
                        <a:pt x="13" y="5"/>
                        <a:pt x="13" y="8"/>
                        <a:pt x="10" y="11"/>
                      </a:cubicBezTo>
                      <a:cubicBezTo>
                        <a:pt x="8" y="13"/>
                        <a:pt x="4" y="13"/>
                        <a:pt x="2" y="11"/>
                      </a:cubicBezTo>
                      <a:cubicBezTo>
                        <a:pt x="0" y="8"/>
                        <a:pt x="0" y="5"/>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274">
                  <a:extLst>
                    <a:ext uri="{FF2B5EF4-FFF2-40B4-BE49-F238E27FC236}">
                      <a16:creationId xmlns:a16="http://schemas.microsoft.com/office/drawing/2014/main" id="{D688DFE5-55CE-4D4C-AA68-79A32CE374F9}"/>
                    </a:ext>
                  </a:extLst>
                </p:cNvPr>
                <p:cNvSpPr>
                  <a:spLocks/>
                </p:cNvSpPr>
                <p:nvPr/>
              </p:nvSpPr>
              <p:spPr bwMode="auto">
                <a:xfrm>
                  <a:off x="-2200275" y="4487863"/>
                  <a:ext cx="53975" cy="53975"/>
                </a:xfrm>
                <a:custGeom>
                  <a:avLst/>
                  <a:gdLst>
                    <a:gd name="T0" fmla="*/ 11 w 13"/>
                    <a:gd name="T1" fmla="*/ 3 h 13"/>
                    <a:gd name="T2" fmla="*/ 11 w 13"/>
                    <a:gd name="T3" fmla="*/ 11 h 13"/>
                    <a:gd name="T4" fmla="*/ 3 w 13"/>
                    <a:gd name="T5" fmla="*/ 11 h 13"/>
                    <a:gd name="T6" fmla="*/ 3 w 13"/>
                    <a:gd name="T7" fmla="*/ 3 h 13"/>
                    <a:gd name="T8" fmla="*/ 11 w 13"/>
                    <a:gd name="T9" fmla="*/ 3 h 13"/>
                  </a:gdLst>
                  <a:ahLst/>
                  <a:cxnLst>
                    <a:cxn ang="0">
                      <a:pos x="T0" y="T1"/>
                    </a:cxn>
                    <a:cxn ang="0">
                      <a:pos x="T2" y="T3"/>
                    </a:cxn>
                    <a:cxn ang="0">
                      <a:pos x="T4" y="T5"/>
                    </a:cxn>
                    <a:cxn ang="0">
                      <a:pos x="T6" y="T7"/>
                    </a:cxn>
                    <a:cxn ang="0">
                      <a:pos x="T8" y="T9"/>
                    </a:cxn>
                  </a:cxnLst>
                  <a:rect l="0" t="0" r="r" b="b"/>
                  <a:pathLst>
                    <a:path w="13" h="13">
                      <a:moveTo>
                        <a:pt x="11" y="3"/>
                      </a:moveTo>
                      <a:cubicBezTo>
                        <a:pt x="13" y="5"/>
                        <a:pt x="13" y="9"/>
                        <a:pt x="11" y="11"/>
                      </a:cubicBezTo>
                      <a:cubicBezTo>
                        <a:pt x="9" y="13"/>
                        <a:pt x="5" y="13"/>
                        <a:pt x="3" y="11"/>
                      </a:cubicBezTo>
                      <a:cubicBezTo>
                        <a:pt x="0" y="9"/>
                        <a:pt x="0" y="5"/>
                        <a:pt x="3" y="3"/>
                      </a:cubicBezTo>
                      <a:cubicBezTo>
                        <a:pt x="5" y="0"/>
                        <a:pt x="9" y="0"/>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276">
                  <a:extLst>
                    <a:ext uri="{FF2B5EF4-FFF2-40B4-BE49-F238E27FC236}">
                      <a16:creationId xmlns:a16="http://schemas.microsoft.com/office/drawing/2014/main" id="{D09B6195-4684-46D4-97ED-2DDA71D6A1CB}"/>
                    </a:ext>
                  </a:extLst>
                </p:cNvPr>
                <p:cNvSpPr>
                  <a:spLocks/>
                </p:cNvSpPr>
                <p:nvPr/>
              </p:nvSpPr>
              <p:spPr bwMode="auto">
                <a:xfrm>
                  <a:off x="-2549525" y="4810125"/>
                  <a:ext cx="55563" cy="55563"/>
                </a:xfrm>
                <a:custGeom>
                  <a:avLst/>
                  <a:gdLst>
                    <a:gd name="T0" fmla="*/ 11 w 13"/>
                    <a:gd name="T1" fmla="*/ 3 h 13"/>
                    <a:gd name="T2" fmla="*/ 11 w 13"/>
                    <a:gd name="T3" fmla="*/ 11 h 13"/>
                    <a:gd name="T4" fmla="*/ 2 w 13"/>
                    <a:gd name="T5" fmla="*/ 11 h 13"/>
                    <a:gd name="T6" fmla="*/ 2 w 13"/>
                    <a:gd name="T7" fmla="*/ 3 h 13"/>
                    <a:gd name="T8" fmla="*/ 11 w 13"/>
                    <a:gd name="T9" fmla="*/ 3 h 13"/>
                  </a:gdLst>
                  <a:ahLst/>
                  <a:cxnLst>
                    <a:cxn ang="0">
                      <a:pos x="T0" y="T1"/>
                    </a:cxn>
                    <a:cxn ang="0">
                      <a:pos x="T2" y="T3"/>
                    </a:cxn>
                    <a:cxn ang="0">
                      <a:pos x="T4" y="T5"/>
                    </a:cxn>
                    <a:cxn ang="0">
                      <a:pos x="T6" y="T7"/>
                    </a:cxn>
                    <a:cxn ang="0">
                      <a:pos x="T8" y="T9"/>
                    </a:cxn>
                  </a:cxnLst>
                  <a:rect l="0" t="0" r="r" b="b"/>
                  <a:pathLst>
                    <a:path w="13" h="13">
                      <a:moveTo>
                        <a:pt x="11" y="3"/>
                      </a:moveTo>
                      <a:cubicBezTo>
                        <a:pt x="13" y="5"/>
                        <a:pt x="13" y="9"/>
                        <a:pt x="11" y="11"/>
                      </a:cubicBezTo>
                      <a:cubicBezTo>
                        <a:pt x="8" y="13"/>
                        <a:pt x="5" y="13"/>
                        <a:pt x="2" y="11"/>
                      </a:cubicBezTo>
                      <a:cubicBezTo>
                        <a:pt x="0" y="9"/>
                        <a:pt x="0" y="5"/>
                        <a:pt x="2" y="3"/>
                      </a:cubicBezTo>
                      <a:cubicBezTo>
                        <a:pt x="5" y="0"/>
                        <a:pt x="8" y="0"/>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278">
                  <a:extLst>
                    <a:ext uri="{FF2B5EF4-FFF2-40B4-BE49-F238E27FC236}">
                      <a16:creationId xmlns:a16="http://schemas.microsoft.com/office/drawing/2014/main" id="{3B553F0C-7C7D-426A-AEEA-9C167971C297}"/>
                    </a:ext>
                  </a:extLst>
                </p:cNvPr>
                <p:cNvSpPr>
                  <a:spLocks/>
                </p:cNvSpPr>
                <p:nvPr/>
              </p:nvSpPr>
              <p:spPr bwMode="auto">
                <a:xfrm>
                  <a:off x="-2005013" y="4660900"/>
                  <a:ext cx="53975" cy="55563"/>
                </a:xfrm>
                <a:custGeom>
                  <a:avLst/>
                  <a:gdLst>
                    <a:gd name="T0" fmla="*/ 10 w 13"/>
                    <a:gd name="T1" fmla="*/ 3 h 13"/>
                    <a:gd name="T2" fmla="*/ 10 w 13"/>
                    <a:gd name="T3" fmla="*/ 11 h 13"/>
                    <a:gd name="T4" fmla="*/ 2 w 13"/>
                    <a:gd name="T5" fmla="*/ 11 h 13"/>
                    <a:gd name="T6" fmla="*/ 2 w 13"/>
                    <a:gd name="T7" fmla="*/ 3 h 13"/>
                    <a:gd name="T8" fmla="*/ 10 w 13"/>
                    <a:gd name="T9" fmla="*/ 3 h 13"/>
                  </a:gdLst>
                  <a:ahLst/>
                  <a:cxnLst>
                    <a:cxn ang="0">
                      <a:pos x="T0" y="T1"/>
                    </a:cxn>
                    <a:cxn ang="0">
                      <a:pos x="T2" y="T3"/>
                    </a:cxn>
                    <a:cxn ang="0">
                      <a:pos x="T4" y="T5"/>
                    </a:cxn>
                    <a:cxn ang="0">
                      <a:pos x="T6" y="T7"/>
                    </a:cxn>
                    <a:cxn ang="0">
                      <a:pos x="T8" y="T9"/>
                    </a:cxn>
                  </a:cxnLst>
                  <a:rect l="0" t="0" r="r" b="b"/>
                  <a:pathLst>
                    <a:path w="13" h="13">
                      <a:moveTo>
                        <a:pt x="10" y="3"/>
                      </a:moveTo>
                      <a:cubicBezTo>
                        <a:pt x="13" y="5"/>
                        <a:pt x="13" y="9"/>
                        <a:pt x="10" y="11"/>
                      </a:cubicBezTo>
                      <a:cubicBezTo>
                        <a:pt x="8" y="13"/>
                        <a:pt x="4" y="13"/>
                        <a:pt x="2" y="11"/>
                      </a:cubicBezTo>
                      <a:cubicBezTo>
                        <a:pt x="0" y="9"/>
                        <a:pt x="0" y="5"/>
                        <a:pt x="2" y="3"/>
                      </a:cubicBezTo>
                      <a:cubicBezTo>
                        <a:pt x="4" y="0"/>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280">
                  <a:extLst>
                    <a:ext uri="{FF2B5EF4-FFF2-40B4-BE49-F238E27FC236}">
                      <a16:creationId xmlns:a16="http://schemas.microsoft.com/office/drawing/2014/main" id="{9EB4B8C2-06B3-4475-8801-7513D1AE79B0}"/>
                    </a:ext>
                  </a:extLst>
                </p:cNvPr>
                <p:cNvSpPr>
                  <a:spLocks/>
                </p:cNvSpPr>
                <p:nvPr/>
              </p:nvSpPr>
              <p:spPr bwMode="auto">
                <a:xfrm>
                  <a:off x="-1844675" y="4257675"/>
                  <a:ext cx="55563" cy="55563"/>
                </a:xfrm>
                <a:custGeom>
                  <a:avLst/>
                  <a:gdLst>
                    <a:gd name="T0" fmla="*/ 11 w 13"/>
                    <a:gd name="T1" fmla="*/ 2 h 13"/>
                    <a:gd name="T2" fmla="*/ 11 w 13"/>
                    <a:gd name="T3" fmla="*/ 11 h 13"/>
                    <a:gd name="T4" fmla="*/ 2 w 13"/>
                    <a:gd name="T5" fmla="*/ 11 h 13"/>
                    <a:gd name="T6" fmla="*/ 2 w 13"/>
                    <a:gd name="T7" fmla="*/ 2 h 13"/>
                    <a:gd name="T8" fmla="*/ 11 w 13"/>
                    <a:gd name="T9" fmla="*/ 2 h 13"/>
                  </a:gdLst>
                  <a:ahLst/>
                  <a:cxnLst>
                    <a:cxn ang="0">
                      <a:pos x="T0" y="T1"/>
                    </a:cxn>
                    <a:cxn ang="0">
                      <a:pos x="T2" y="T3"/>
                    </a:cxn>
                    <a:cxn ang="0">
                      <a:pos x="T4" y="T5"/>
                    </a:cxn>
                    <a:cxn ang="0">
                      <a:pos x="T6" y="T7"/>
                    </a:cxn>
                    <a:cxn ang="0">
                      <a:pos x="T8" y="T9"/>
                    </a:cxn>
                  </a:cxnLst>
                  <a:rect l="0" t="0" r="r" b="b"/>
                  <a:pathLst>
                    <a:path w="13" h="13">
                      <a:moveTo>
                        <a:pt x="11" y="2"/>
                      </a:moveTo>
                      <a:cubicBezTo>
                        <a:pt x="13" y="5"/>
                        <a:pt x="13" y="8"/>
                        <a:pt x="11" y="11"/>
                      </a:cubicBezTo>
                      <a:cubicBezTo>
                        <a:pt x="9" y="13"/>
                        <a:pt x="5" y="13"/>
                        <a:pt x="2" y="11"/>
                      </a:cubicBezTo>
                      <a:cubicBezTo>
                        <a:pt x="0" y="8"/>
                        <a:pt x="0" y="5"/>
                        <a:pt x="2" y="2"/>
                      </a:cubicBezTo>
                      <a:cubicBezTo>
                        <a:pt x="5" y="0"/>
                        <a:pt x="9" y="0"/>
                        <a:pt x="1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282">
                  <a:extLst>
                    <a:ext uri="{FF2B5EF4-FFF2-40B4-BE49-F238E27FC236}">
                      <a16:creationId xmlns:a16="http://schemas.microsoft.com/office/drawing/2014/main" id="{C45F05CF-E439-44F7-B735-864221B6A06C}"/>
                    </a:ext>
                  </a:extLst>
                </p:cNvPr>
                <p:cNvSpPr>
                  <a:spLocks/>
                </p:cNvSpPr>
                <p:nvPr/>
              </p:nvSpPr>
              <p:spPr bwMode="auto">
                <a:xfrm>
                  <a:off x="-1593850" y="4176713"/>
                  <a:ext cx="53975" cy="55563"/>
                </a:xfrm>
                <a:custGeom>
                  <a:avLst/>
                  <a:gdLst>
                    <a:gd name="T0" fmla="*/ 10 w 13"/>
                    <a:gd name="T1" fmla="*/ 3 h 13"/>
                    <a:gd name="T2" fmla="*/ 10 w 13"/>
                    <a:gd name="T3" fmla="*/ 11 h 13"/>
                    <a:gd name="T4" fmla="*/ 2 w 13"/>
                    <a:gd name="T5" fmla="*/ 11 h 13"/>
                    <a:gd name="T6" fmla="*/ 2 w 13"/>
                    <a:gd name="T7" fmla="*/ 3 h 13"/>
                    <a:gd name="T8" fmla="*/ 10 w 13"/>
                    <a:gd name="T9" fmla="*/ 3 h 13"/>
                  </a:gdLst>
                  <a:ahLst/>
                  <a:cxnLst>
                    <a:cxn ang="0">
                      <a:pos x="T0" y="T1"/>
                    </a:cxn>
                    <a:cxn ang="0">
                      <a:pos x="T2" y="T3"/>
                    </a:cxn>
                    <a:cxn ang="0">
                      <a:pos x="T4" y="T5"/>
                    </a:cxn>
                    <a:cxn ang="0">
                      <a:pos x="T6" y="T7"/>
                    </a:cxn>
                    <a:cxn ang="0">
                      <a:pos x="T8" y="T9"/>
                    </a:cxn>
                  </a:cxnLst>
                  <a:rect l="0" t="0" r="r" b="b"/>
                  <a:pathLst>
                    <a:path w="13" h="13">
                      <a:moveTo>
                        <a:pt x="10" y="3"/>
                      </a:moveTo>
                      <a:cubicBezTo>
                        <a:pt x="13" y="5"/>
                        <a:pt x="13" y="9"/>
                        <a:pt x="10" y="11"/>
                      </a:cubicBezTo>
                      <a:cubicBezTo>
                        <a:pt x="8" y="13"/>
                        <a:pt x="4" y="13"/>
                        <a:pt x="2" y="11"/>
                      </a:cubicBezTo>
                      <a:cubicBezTo>
                        <a:pt x="0" y="9"/>
                        <a:pt x="0" y="5"/>
                        <a:pt x="2" y="3"/>
                      </a:cubicBezTo>
                      <a:cubicBezTo>
                        <a:pt x="4" y="0"/>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Oval 284">
                  <a:extLst>
                    <a:ext uri="{FF2B5EF4-FFF2-40B4-BE49-F238E27FC236}">
                      <a16:creationId xmlns:a16="http://schemas.microsoft.com/office/drawing/2014/main" id="{A9C1DAF5-038A-4F02-B00F-B406A8645BDE}"/>
                    </a:ext>
                  </a:extLst>
                </p:cNvPr>
                <p:cNvSpPr>
                  <a:spLocks noChangeArrowheads="1"/>
                </p:cNvSpPr>
                <p:nvPr/>
              </p:nvSpPr>
              <p:spPr bwMode="auto">
                <a:xfrm>
                  <a:off x="-3727450" y="41513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Oval 286">
                  <a:extLst>
                    <a:ext uri="{FF2B5EF4-FFF2-40B4-BE49-F238E27FC236}">
                      <a16:creationId xmlns:a16="http://schemas.microsoft.com/office/drawing/2014/main" id="{06C928EF-B508-4CB4-95AF-94B46BA72675}"/>
                    </a:ext>
                  </a:extLst>
                </p:cNvPr>
                <p:cNvSpPr>
                  <a:spLocks noChangeArrowheads="1"/>
                </p:cNvSpPr>
                <p:nvPr/>
              </p:nvSpPr>
              <p:spPr bwMode="auto">
                <a:xfrm>
                  <a:off x="-4181475" y="398621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Oval 288">
                  <a:extLst>
                    <a:ext uri="{FF2B5EF4-FFF2-40B4-BE49-F238E27FC236}">
                      <a16:creationId xmlns:a16="http://schemas.microsoft.com/office/drawing/2014/main" id="{4335F135-06FE-43E0-925B-7B3989FDEECD}"/>
                    </a:ext>
                  </a:extLst>
                </p:cNvPr>
                <p:cNvSpPr>
                  <a:spLocks noChangeArrowheads="1"/>
                </p:cNvSpPr>
                <p:nvPr/>
              </p:nvSpPr>
              <p:spPr bwMode="auto">
                <a:xfrm>
                  <a:off x="-3498850" y="409257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Oval 290">
                  <a:extLst>
                    <a:ext uri="{FF2B5EF4-FFF2-40B4-BE49-F238E27FC236}">
                      <a16:creationId xmlns:a16="http://schemas.microsoft.com/office/drawing/2014/main" id="{3A3FCC6A-9E35-4AF2-A105-0385AB9597DD}"/>
                    </a:ext>
                  </a:extLst>
                </p:cNvPr>
                <p:cNvSpPr>
                  <a:spLocks noChangeArrowheads="1"/>
                </p:cNvSpPr>
                <p:nvPr/>
              </p:nvSpPr>
              <p:spPr bwMode="auto">
                <a:xfrm>
                  <a:off x="-2935288" y="3990975"/>
                  <a:ext cx="47625"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292">
                  <a:extLst>
                    <a:ext uri="{FF2B5EF4-FFF2-40B4-BE49-F238E27FC236}">
                      <a16:creationId xmlns:a16="http://schemas.microsoft.com/office/drawing/2014/main" id="{31D36D02-45C7-47CE-9FB3-03D21965A6D6}"/>
                    </a:ext>
                  </a:extLst>
                </p:cNvPr>
                <p:cNvSpPr>
                  <a:spLocks/>
                </p:cNvSpPr>
                <p:nvPr/>
              </p:nvSpPr>
              <p:spPr bwMode="auto">
                <a:xfrm>
                  <a:off x="-2268538" y="4079875"/>
                  <a:ext cx="55563" cy="55563"/>
                </a:xfrm>
                <a:custGeom>
                  <a:avLst/>
                  <a:gdLst>
                    <a:gd name="T0" fmla="*/ 11 w 13"/>
                    <a:gd name="T1" fmla="*/ 2 h 13"/>
                    <a:gd name="T2" fmla="*/ 11 w 13"/>
                    <a:gd name="T3" fmla="*/ 11 h 13"/>
                    <a:gd name="T4" fmla="*/ 2 w 13"/>
                    <a:gd name="T5" fmla="*/ 11 h 13"/>
                    <a:gd name="T6" fmla="*/ 2 w 13"/>
                    <a:gd name="T7" fmla="*/ 2 h 13"/>
                    <a:gd name="T8" fmla="*/ 11 w 13"/>
                    <a:gd name="T9" fmla="*/ 2 h 13"/>
                  </a:gdLst>
                  <a:ahLst/>
                  <a:cxnLst>
                    <a:cxn ang="0">
                      <a:pos x="T0" y="T1"/>
                    </a:cxn>
                    <a:cxn ang="0">
                      <a:pos x="T2" y="T3"/>
                    </a:cxn>
                    <a:cxn ang="0">
                      <a:pos x="T4" y="T5"/>
                    </a:cxn>
                    <a:cxn ang="0">
                      <a:pos x="T6" y="T7"/>
                    </a:cxn>
                    <a:cxn ang="0">
                      <a:pos x="T8" y="T9"/>
                    </a:cxn>
                  </a:cxnLst>
                  <a:rect l="0" t="0" r="r" b="b"/>
                  <a:pathLst>
                    <a:path w="13" h="13">
                      <a:moveTo>
                        <a:pt x="11" y="2"/>
                      </a:moveTo>
                      <a:cubicBezTo>
                        <a:pt x="13" y="5"/>
                        <a:pt x="13" y="9"/>
                        <a:pt x="11" y="11"/>
                      </a:cubicBezTo>
                      <a:cubicBezTo>
                        <a:pt x="8" y="13"/>
                        <a:pt x="4" y="13"/>
                        <a:pt x="2" y="11"/>
                      </a:cubicBezTo>
                      <a:cubicBezTo>
                        <a:pt x="0" y="9"/>
                        <a:pt x="0" y="5"/>
                        <a:pt x="2" y="2"/>
                      </a:cubicBezTo>
                      <a:cubicBezTo>
                        <a:pt x="4" y="0"/>
                        <a:pt x="8" y="0"/>
                        <a:pt x="1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Oval 294">
                  <a:extLst>
                    <a:ext uri="{FF2B5EF4-FFF2-40B4-BE49-F238E27FC236}">
                      <a16:creationId xmlns:a16="http://schemas.microsoft.com/office/drawing/2014/main" id="{0F4DC6E9-6D5E-41B8-A7CB-48197A957694}"/>
                    </a:ext>
                  </a:extLst>
                </p:cNvPr>
                <p:cNvSpPr>
                  <a:spLocks noChangeArrowheads="1"/>
                </p:cNvSpPr>
                <p:nvPr/>
              </p:nvSpPr>
              <p:spPr bwMode="auto">
                <a:xfrm>
                  <a:off x="-3367088" y="4424363"/>
                  <a:ext cx="4603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Oval 296">
                  <a:extLst>
                    <a:ext uri="{FF2B5EF4-FFF2-40B4-BE49-F238E27FC236}">
                      <a16:creationId xmlns:a16="http://schemas.microsoft.com/office/drawing/2014/main" id="{4D0B0EB8-E40B-4A8E-80E2-3396B08E9E3D}"/>
                    </a:ext>
                  </a:extLst>
                </p:cNvPr>
                <p:cNvSpPr>
                  <a:spLocks noChangeArrowheads="1"/>
                </p:cNvSpPr>
                <p:nvPr/>
              </p:nvSpPr>
              <p:spPr bwMode="auto">
                <a:xfrm>
                  <a:off x="-2841625" y="4356100"/>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Oval 298">
                  <a:extLst>
                    <a:ext uri="{FF2B5EF4-FFF2-40B4-BE49-F238E27FC236}">
                      <a16:creationId xmlns:a16="http://schemas.microsoft.com/office/drawing/2014/main" id="{CA5CA900-0F3C-4A21-ABDE-0D02FBA2316E}"/>
                    </a:ext>
                  </a:extLst>
                </p:cNvPr>
                <p:cNvSpPr>
                  <a:spLocks noChangeArrowheads="1"/>
                </p:cNvSpPr>
                <p:nvPr/>
              </p:nvSpPr>
              <p:spPr bwMode="auto">
                <a:xfrm>
                  <a:off x="-5056188" y="4886325"/>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300">
                  <a:extLst>
                    <a:ext uri="{FF2B5EF4-FFF2-40B4-BE49-F238E27FC236}">
                      <a16:creationId xmlns:a16="http://schemas.microsoft.com/office/drawing/2014/main" id="{0CC33C2A-6719-4CAD-83EA-DC42D6796DA0}"/>
                    </a:ext>
                  </a:extLst>
                </p:cNvPr>
                <p:cNvSpPr>
                  <a:spLocks/>
                </p:cNvSpPr>
                <p:nvPr/>
              </p:nvSpPr>
              <p:spPr bwMode="auto">
                <a:xfrm>
                  <a:off x="-4092575" y="4883150"/>
                  <a:ext cx="55563" cy="53975"/>
                </a:xfrm>
                <a:custGeom>
                  <a:avLst/>
                  <a:gdLst>
                    <a:gd name="T0" fmla="*/ 2 w 13"/>
                    <a:gd name="T1" fmla="*/ 2 h 13"/>
                    <a:gd name="T2" fmla="*/ 11 w 13"/>
                    <a:gd name="T3" fmla="*/ 2 h 13"/>
                    <a:gd name="T4" fmla="*/ 11 w 13"/>
                    <a:gd name="T5" fmla="*/ 11 h 13"/>
                    <a:gd name="T6" fmla="*/ 2 w 13"/>
                    <a:gd name="T7" fmla="*/ 11 h 13"/>
                    <a:gd name="T8" fmla="*/ 2 w 13"/>
                    <a:gd name="T9" fmla="*/ 2 h 13"/>
                  </a:gdLst>
                  <a:ahLst/>
                  <a:cxnLst>
                    <a:cxn ang="0">
                      <a:pos x="T0" y="T1"/>
                    </a:cxn>
                    <a:cxn ang="0">
                      <a:pos x="T2" y="T3"/>
                    </a:cxn>
                    <a:cxn ang="0">
                      <a:pos x="T4" y="T5"/>
                    </a:cxn>
                    <a:cxn ang="0">
                      <a:pos x="T6" y="T7"/>
                    </a:cxn>
                    <a:cxn ang="0">
                      <a:pos x="T8" y="T9"/>
                    </a:cxn>
                  </a:cxnLst>
                  <a:rect l="0" t="0" r="r" b="b"/>
                  <a:pathLst>
                    <a:path w="13" h="13">
                      <a:moveTo>
                        <a:pt x="2" y="2"/>
                      </a:moveTo>
                      <a:cubicBezTo>
                        <a:pt x="5" y="0"/>
                        <a:pt x="8" y="0"/>
                        <a:pt x="11" y="2"/>
                      </a:cubicBezTo>
                      <a:cubicBezTo>
                        <a:pt x="13" y="5"/>
                        <a:pt x="13" y="9"/>
                        <a:pt x="11" y="11"/>
                      </a:cubicBezTo>
                      <a:cubicBezTo>
                        <a:pt x="8" y="13"/>
                        <a:pt x="5" y="13"/>
                        <a:pt x="2" y="11"/>
                      </a:cubicBezTo>
                      <a:cubicBezTo>
                        <a:pt x="0" y="9"/>
                        <a:pt x="0" y="5"/>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74" name="Group 673">
                <a:extLst>
                  <a:ext uri="{FF2B5EF4-FFF2-40B4-BE49-F238E27FC236}">
                    <a16:creationId xmlns:a16="http://schemas.microsoft.com/office/drawing/2014/main" id="{20C554EE-3D03-4ECB-B5A3-325EF6EBF258}"/>
                  </a:ext>
                </a:extLst>
              </p:cNvPr>
              <p:cNvGrpSpPr/>
              <p:nvPr/>
            </p:nvGrpSpPr>
            <p:grpSpPr>
              <a:xfrm>
                <a:off x="-5632450" y="3948113"/>
                <a:ext cx="4979988" cy="1355725"/>
                <a:chOff x="-5632450" y="3948113"/>
                <a:chExt cx="4979988" cy="1355725"/>
              </a:xfrm>
            </p:grpSpPr>
            <p:sp>
              <p:nvSpPr>
                <p:cNvPr id="676" name="Freeform 164">
                  <a:extLst>
                    <a:ext uri="{FF2B5EF4-FFF2-40B4-BE49-F238E27FC236}">
                      <a16:creationId xmlns:a16="http://schemas.microsoft.com/office/drawing/2014/main" id="{B51520FE-4C37-4406-AEBD-1ADB3A89ABFA}"/>
                    </a:ext>
                  </a:extLst>
                </p:cNvPr>
                <p:cNvSpPr>
                  <a:spLocks/>
                </p:cNvSpPr>
                <p:nvPr/>
              </p:nvSpPr>
              <p:spPr bwMode="auto">
                <a:xfrm>
                  <a:off x="-5632450" y="4954588"/>
                  <a:ext cx="4979988" cy="349250"/>
                </a:xfrm>
                <a:custGeom>
                  <a:avLst/>
                  <a:gdLst>
                    <a:gd name="T0" fmla="*/ 1086 w 1174"/>
                    <a:gd name="T1" fmla="*/ 28 h 82"/>
                    <a:gd name="T2" fmla="*/ 1032 w 1174"/>
                    <a:gd name="T3" fmla="*/ 28 h 82"/>
                    <a:gd name="T4" fmla="*/ 1039 w 1174"/>
                    <a:gd name="T5" fmla="*/ 41 h 82"/>
                    <a:gd name="T6" fmla="*/ 1065 w 1174"/>
                    <a:gd name="T7" fmla="*/ 34 h 82"/>
                    <a:gd name="T8" fmla="*/ 1059 w 1174"/>
                    <a:gd name="T9" fmla="*/ 55 h 82"/>
                    <a:gd name="T10" fmla="*/ 956 w 1174"/>
                    <a:gd name="T11" fmla="*/ 58 h 82"/>
                    <a:gd name="T12" fmla="*/ 928 w 1174"/>
                    <a:gd name="T13" fmla="*/ 3 h 82"/>
                    <a:gd name="T14" fmla="*/ 917 w 1174"/>
                    <a:gd name="T15" fmla="*/ 58 h 82"/>
                    <a:gd name="T16" fmla="*/ 926 w 1174"/>
                    <a:gd name="T17" fmla="*/ 34 h 82"/>
                    <a:gd name="T18" fmla="*/ 952 w 1174"/>
                    <a:gd name="T19" fmla="*/ 41 h 82"/>
                    <a:gd name="T20" fmla="*/ 927 w 1174"/>
                    <a:gd name="T21" fmla="*/ 59 h 82"/>
                    <a:gd name="T22" fmla="*/ 927 w 1174"/>
                    <a:gd name="T23" fmla="*/ 70 h 82"/>
                    <a:gd name="T24" fmla="*/ 824 w 1174"/>
                    <a:gd name="T25" fmla="*/ 29 h 82"/>
                    <a:gd name="T26" fmla="*/ 783 w 1174"/>
                    <a:gd name="T27" fmla="*/ 58 h 82"/>
                    <a:gd name="T28" fmla="*/ 801 w 1174"/>
                    <a:gd name="T29" fmla="*/ 37 h 82"/>
                    <a:gd name="T30" fmla="*/ 821 w 1174"/>
                    <a:gd name="T31" fmla="*/ 43 h 82"/>
                    <a:gd name="T32" fmla="*/ 801 w 1174"/>
                    <a:gd name="T33" fmla="*/ 59 h 82"/>
                    <a:gd name="T34" fmla="*/ 800 w 1174"/>
                    <a:gd name="T35" fmla="*/ 61 h 82"/>
                    <a:gd name="T36" fmla="*/ 707 w 1174"/>
                    <a:gd name="T37" fmla="*/ 28 h 82"/>
                    <a:gd name="T38" fmla="*/ 647 w 1174"/>
                    <a:gd name="T39" fmla="*/ 34 h 82"/>
                    <a:gd name="T40" fmla="*/ 672 w 1174"/>
                    <a:gd name="T41" fmla="*/ 43 h 82"/>
                    <a:gd name="T42" fmla="*/ 689 w 1174"/>
                    <a:gd name="T43" fmla="*/ 43 h 82"/>
                    <a:gd name="T44" fmla="*/ 679 w 1174"/>
                    <a:gd name="T45" fmla="*/ 55 h 82"/>
                    <a:gd name="T46" fmla="*/ 674 w 1174"/>
                    <a:gd name="T47" fmla="*/ 61 h 82"/>
                    <a:gd name="T48" fmla="*/ 587 w 1174"/>
                    <a:gd name="T49" fmla="*/ 34 h 82"/>
                    <a:gd name="T50" fmla="*/ 536 w 1174"/>
                    <a:gd name="T51" fmla="*/ 29 h 82"/>
                    <a:gd name="T52" fmla="*/ 539 w 1174"/>
                    <a:gd name="T53" fmla="*/ 50 h 82"/>
                    <a:gd name="T54" fmla="*/ 554 w 1174"/>
                    <a:gd name="T55" fmla="*/ 16 h 82"/>
                    <a:gd name="T56" fmla="*/ 570 w 1174"/>
                    <a:gd name="T57" fmla="*/ 50 h 82"/>
                    <a:gd name="T58" fmla="*/ 548 w 1174"/>
                    <a:gd name="T59" fmla="*/ 60 h 82"/>
                    <a:gd name="T60" fmla="*/ 434 w 1174"/>
                    <a:gd name="T61" fmla="*/ 70 h 82"/>
                    <a:gd name="T62" fmla="*/ 446 w 1174"/>
                    <a:gd name="T63" fmla="*/ 29 h 82"/>
                    <a:gd name="T64" fmla="*/ 404 w 1174"/>
                    <a:gd name="T65" fmla="*/ 58 h 82"/>
                    <a:gd name="T66" fmla="*/ 422 w 1174"/>
                    <a:gd name="T67" fmla="*/ 37 h 82"/>
                    <a:gd name="T68" fmla="*/ 443 w 1174"/>
                    <a:gd name="T69" fmla="*/ 43 h 82"/>
                    <a:gd name="T70" fmla="*/ 423 w 1174"/>
                    <a:gd name="T71" fmla="*/ 59 h 82"/>
                    <a:gd name="T72" fmla="*/ 422 w 1174"/>
                    <a:gd name="T73" fmla="*/ 61 h 82"/>
                    <a:gd name="T74" fmla="*/ 330 w 1174"/>
                    <a:gd name="T75" fmla="*/ 28 h 82"/>
                    <a:gd name="T76" fmla="*/ 276 w 1174"/>
                    <a:gd name="T77" fmla="*/ 28 h 82"/>
                    <a:gd name="T78" fmla="*/ 283 w 1174"/>
                    <a:gd name="T79" fmla="*/ 41 h 82"/>
                    <a:gd name="T80" fmla="*/ 309 w 1174"/>
                    <a:gd name="T81" fmla="*/ 34 h 82"/>
                    <a:gd name="T82" fmla="*/ 303 w 1174"/>
                    <a:gd name="T83" fmla="*/ 55 h 82"/>
                    <a:gd name="T84" fmla="*/ 297 w 1174"/>
                    <a:gd name="T85" fmla="*/ 60 h 82"/>
                    <a:gd name="T86" fmla="*/ 183 w 1174"/>
                    <a:gd name="T87" fmla="*/ 67 h 82"/>
                    <a:gd name="T88" fmla="*/ 181 w 1174"/>
                    <a:gd name="T89" fmla="*/ 3 h 82"/>
                    <a:gd name="T90" fmla="*/ 162 w 1174"/>
                    <a:gd name="T91" fmla="*/ 58 h 82"/>
                    <a:gd name="T92" fmla="*/ 171 w 1174"/>
                    <a:gd name="T93" fmla="*/ 34 h 82"/>
                    <a:gd name="T94" fmla="*/ 197 w 1174"/>
                    <a:gd name="T95" fmla="*/ 41 h 82"/>
                    <a:gd name="T96" fmla="*/ 171 w 1174"/>
                    <a:gd name="T97" fmla="*/ 59 h 82"/>
                    <a:gd name="T98" fmla="*/ 171 w 1174"/>
                    <a:gd name="T99" fmla="*/ 70 h 82"/>
                    <a:gd name="T100" fmla="*/ 79 w 1174"/>
                    <a:gd name="T101" fmla="*/ 28 h 82"/>
                    <a:gd name="T102" fmla="*/ 25 w 1174"/>
                    <a:gd name="T103" fmla="*/ 28 h 82"/>
                    <a:gd name="T104" fmla="*/ 37 w 1174"/>
                    <a:gd name="T105" fmla="*/ 43 h 82"/>
                    <a:gd name="T106" fmla="*/ 58 w 1174"/>
                    <a:gd name="T107" fmla="*/ 37 h 82"/>
                    <a:gd name="T108" fmla="*/ 51 w 1174"/>
                    <a:gd name="T109" fmla="*/ 55 h 82"/>
                    <a:gd name="T110" fmla="*/ 46 w 1174"/>
                    <a:gd name="T111" fmla="*/ 61 h 82"/>
                    <a:gd name="T112" fmla="*/ 6 w 1174"/>
                    <a:gd name="T11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4" h="82">
                      <a:moveTo>
                        <a:pt x="1168" y="70"/>
                      </a:moveTo>
                      <a:cubicBezTo>
                        <a:pt x="1065" y="70"/>
                        <a:pt x="1065" y="70"/>
                        <a:pt x="1065" y="70"/>
                      </a:cubicBezTo>
                      <a:cubicBezTo>
                        <a:pt x="1065" y="67"/>
                        <a:pt x="1065" y="67"/>
                        <a:pt x="1065" y="67"/>
                      </a:cubicBezTo>
                      <a:cubicBezTo>
                        <a:pt x="1070" y="66"/>
                        <a:pt x="1077" y="63"/>
                        <a:pt x="1082" y="58"/>
                      </a:cubicBezTo>
                      <a:cubicBezTo>
                        <a:pt x="1091" y="49"/>
                        <a:pt x="1092" y="35"/>
                        <a:pt x="1092" y="34"/>
                      </a:cubicBezTo>
                      <a:cubicBezTo>
                        <a:pt x="1092" y="31"/>
                        <a:pt x="1089" y="28"/>
                        <a:pt x="1086" y="28"/>
                      </a:cubicBezTo>
                      <a:cubicBezTo>
                        <a:pt x="1086" y="28"/>
                        <a:pt x="1086" y="28"/>
                        <a:pt x="1086" y="28"/>
                      </a:cubicBezTo>
                      <a:cubicBezTo>
                        <a:pt x="1085" y="28"/>
                        <a:pt x="1081" y="28"/>
                        <a:pt x="1076" y="29"/>
                      </a:cubicBezTo>
                      <a:cubicBezTo>
                        <a:pt x="1075" y="14"/>
                        <a:pt x="1063" y="3"/>
                        <a:pt x="1063" y="3"/>
                      </a:cubicBezTo>
                      <a:cubicBezTo>
                        <a:pt x="1060" y="0"/>
                        <a:pt x="1057" y="0"/>
                        <a:pt x="1054" y="3"/>
                      </a:cubicBezTo>
                      <a:cubicBezTo>
                        <a:pt x="1054" y="3"/>
                        <a:pt x="1043" y="14"/>
                        <a:pt x="1041" y="29"/>
                      </a:cubicBezTo>
                      <a:cubicBezTo>
                        <a:pt x="1036" y="28"/>
                        <a:pt x="1032" y="28"/>
                        <a:pt x="1032" y="28"/>
                      </a:cubicBezTo>
                      <a:cubicBezTo>
                        <a:pt x="1032" y="28"/>
                        <a:pt x="1032" y="28"/>
                        <a:pt x="1032" y="28"/>
                      </a:cubicBezTo>
                      <a:cubicBezTo>
                        <a:pt x="1028" y="28"/>
                        <a:pt x="1026" y="31"/>
                        <a:pt x="1026" y="34"/>
                      </a:cubicBezTo>
                      <a:cubicBezTo>
                        <a:pt x="1026" y="35"/>
                        <a:pt x="1026" y="49"/>
                        <a:pt x="1035" y="58"/>
                      </a:cubicBezTo>
                      <a:cubicBezTo>
                        <a:pt x="1037" y="60"/>
                        <a:pt x="1041" y="60"/>
                        <a:pt x="1043" y="58"/>
                      </a:cubicBezTo>
                      <a:cubicBezTo>
                        <a:pt x="1046" y="56"/>
                        <a:pt x="1046" y="52"/>
                        <a:pt x="1043" y="50"/>
                      </a:cubicBezTo>
                      <a:cubicBezTo>
                        <a:pt x="1041" y="47"/>
                        <a:pt x="1040" y="44"/>
                        <a:pt x="1039" y="41"/>
                      </a:cubicBezTo>
                      <a:cubicBezTo>
                        <a:pt x="1040" y="42"/>
                        <a:pt x="1042" y="43"/>
                        <a:pt x="1044" y="43"/>
                      </a:cubicBezTo>
                      <a:cubicBezTo>
                        <a:pt x="1046" y="45"/>
                        <a:pt x="1048" y="45"/>
                        <a:pt x="1050" y="43"/>
                      </a:cubicBezTo>
                      <a:cubicBezTo>
                        <a:pt x="1052" y="42"/>
                        <a:pt x="1053" y="40"/>
                        <a:pt x="1053" y="37"/>
                      </a:cubicBezTo>
                      <a:cubicBezTo>
                        <a:pt x="1052" y="36"/>
                        <a:pt x="1052" y="35"/>
                        <a:pt x="1052" y="34"/>
                      </a:cubicBezTo>
                      <a:cubicBezTo>
                        <a:pt x="1052" y="27"/>
                        <a:pt x="1056" y="21"/>
                        <a:pt x="1059" y="16"/>
                      </a:cubicBezTo>
                      <a:cubicBezTo>
                        <a:pt x="1061" y="21"/>
                        <a:pt x="1065" y="27"/>
                        <a:pt x="1065" y="34"/>
                      </a:cubicBezTo>
                      <a:cubicBezTo>
                        <a:pt x="1065" y="35"/>
                        <a:pt x="1065" y="36"/>
                        <a:pt x="1065" y="37"/>
                      </a:cubicBezTo>
                      <a:cubicBezTo>
                        <a:pt x="1064" y="40"/>
                        <a:pt x="1065" y="42"/>
                        <a:pt x="1067" y="43"/>
                      </a:cubicBezTo>
                      <a:cubicBezTo>
                        <a:pt x="1069" y="45"/>
                        <a:pt x="1071" y="45"/>
                        <a:pt x="1073" y="43"/>
                      </a:cubicBezTo>
                      <a:cubicBezTo>
                        <a:pt x="1075" y="43"/>
                        <a:pt x="1077" y="42"/>
                        <a:pt x="1078" y="41"/>
                      </a:cubicBezTo>
                      <a:cubicBezTo>
                        <a:pt x="1078" y="44"/>
                        <a:pt x="1076" y="47"/>
                        <a:pt x="1074" y="50"/>
                      </a:cubicBezTo>
                      <a:cubicBezTo>
                        <a:pt x="1068" y="55"/>
                        <a:pt x="1059" y="55"/>
                        <a:pt x="1059" y="55"/>
                      </a:cubicBezTo>
                      <a:cubicBezTo>
                        <a:pt x="1058" y="55"/>
                        <a:pt x="1058" y="55"/>
                        <a:pt x="1058" y="55"/>
                      </a:cubicBezTo>
                      <a:cubicBezTo>
                        <a:pt x="1055" y="56"/>
                        <a:pt x="1053" y="58"/>
                        <a:pt x="1053" y="61"/>
                      </a:cubicBezTo>
                      <a:cubicBezTo>
                        <a:pt x="1053" y="70"/>
                        <a:pt x="1053" y="70"/>
                        <a:pt x="1053" y="70"/>
                      </a:cubicBezTo>
                      <a:cubicBezTo>
                        <a:pt x="939" y="70"/>
                        <a:pt x="939" y="70"/>
                        <a:pt x="939" y="70"/>
                      </a:cubicBezTo>
                      <a:cubicBezTo>
                        <a:pt x="939" y="67"/>
                        <a:pt x="939" y="67"/>
                        <a:pt x="939" y="67"/>
                      </a:cubicBezTo>
                      <a:cubicBezTo>
                        <a:pt x="944" y="66"/>
                        <a:pt x="951" y="63"/>
                        <a:pt x="956" y="58"/>
                      </a:cubicBezTo>
                      <a:cubicBezTo>
                        <a:pt x="965" y="49"/>
                        <a:pt x="966" y="35"/>
                        <a:pt x="966" y="34"/>
                      </a:cubicBezTo>
                      <a:cubicBezTo>
                        <a:pt x="966" y="31"/>
                        <a:pt x="963" y="28"/>
                        <a:pt x="960" y="28"/>
                      </a:cubicBezTo>
                      <a:cubicBezTo>
                        <a:pt x="960" y="28"/>
                        <a:pt x="960" y="28"/>
                        <a:pt x="960" y="28"/>
                      </a:cubicBezTo>
                      <a:cubicBezTo>
                        <a:pt x="959" y="28"/>
                        <a:pt x="955" y="28"/>
                        <a:pt x="950" y="29"/>
                      </a:cubicBezTo>
                      <a:cubicBezTo>
                        <a:pt x="948" y="14"/>
                        <a:pt x="937" y="3"/>
                        <a:pt x="937" y="3"/>
                      </a:cubicBezTo>
                      <a:cubicBezTo>
                        <a:pt x="934" y="0"/>
                        <a:pt x="931" y="0"/>
                        <a:pt x="928" y="3"/>
                      </a:cubicBezTo>
                      <a:cubicBezTo>
                        <a:pt x="928" y="3"/>
                        <a:pt x="917" y="14"/>
                        <a:pt x="915" y="29"/>
                      </a:cubicBezTo>
                      <a:cubicBezTo>
                        <a:pt x="910" y="28"/>
                        <a:pt x="906" y="28"/>
                        <a:pt x="906" y="28"/>
                      </a:cubicBezTo>
                      <a:cubicBezTo>
                        <a:pt x="906" y="28"/>
                        <a:pt x="906" y="28"/>
                        <a:pt x="906" y="28"/>
                      </a:cubicBezTo>
                      <a:cubicBezTo>
                        <a:pt x="902" y="28"/>
                        <a:pt x="900" y="31"/>
                        <a:pt x="900" y="34"/>
                      </a:cubicBezTo>
                      <a:cubicBezTo>
                        <a:pt x="900" y="35"/>
                        <a:pt x="900" y="49"/>
                        <a:pt x="909" y="58"/>
                      </a:cubicBezTo>
                      <a:cubicBezTo>
                        <a:pt x="911" y="60"/>
                        <a:pt x="915" y="60"/>
                        <a:pt x="917" y="58"/>
                      </a:cubicBezTo>
                      <a:cubicBezTo>
                        <a:pt x="920" y="56"/>
                        <a:pt x="920" y="52"/>
                        <a:pt x="917" y="50"/>
                      </a:cubicBezTo>
                      <a:cubicBezTo>
                        <a:pt x="915" y="47"/>
                        <a:pt x="914" y="44"/>
                        <a:pt x="913" y="41"/>
                      </a:cubicBezTo>
                      <a:cubicBezTo>
                        <a:pt x="914" y="42"/>
                        <a:pt x="916" y="43"/>
                        <a:pt x="918" y="43"/>
                      </a:cubicBezTo>
                      <a:cubicBezTo>
                        <a:pt x="920" y="45"/>
                        <a:pt x="922" y="45"/>
                        <a:pt x="924" y="43"/>
                      </a:cubicBezTo>
                      <a:cubicBezTo>
                        <a:pt x="926" y="42"/>
                        <a:pt x="927" y="40"/>
                        <a:pt x="927" y="37"/>
                      </a:cubicBezTo>
                      <a:cubicBezTo>
                        <a:pt x="926" y="36"/>
                        <a:pt x="926" y="35"/>
                        <a:pt x="926" y="34"/>
                      </a:cubicBezTo>
                      <a:cubicBezTo>
                        <a:pt x="926" y="27"/>
                        <a:pt x="930" y="21"/>
                        <a:pt x="933" y="16"/>
                      </a:cubicBezTo>
                      <a:cubicBezTo>
                        <a:pt x="935" y="21"/>
                        <a:pt x="939" y="27"/>
                        <a:pt x="939" y="34"/>
                      </a:cubicBezTo>
                      <a:cubicBezTo>
                        <a:pt x="939" y="35"/>
                        <a:pt x="939" y="36"/>
                        <a:pt x="938" y="37"/>
                      </a:cubicBezTo>
                      <a:cubicBezTo>
                        <a:pt x="938" y="40"/>
                        <a:pt x="939" y="42"/>
                        <a:pt x="941" y="43"/>
                      </a:cubicBezTo>
                      <a:cubicBezTo>
                        <a:pt x="943" y="45"/>
                        <a:pt x="945" y="45"/>
                        <a:pt x="947" y="43"/>
                      </a:cubicBezTo>
                      <a:cubicBezTo>
                        <a:pt x="949" y="43"/>
                        <a:pt x="951" y="42"/>
                        <a:pt x="952" y="41"/>
                      </a:cubicBezTo>
                      <a:cubicBezTo>
                        <a:pt x="952" y="44"/>
                        <a:pt x="950" y="47"/>
                        <a:pt x="948" y="50"/>
                      </a:cubicBezTo>
                      <a:cubicBezTo>
                        <a:pt x="942" y="55"/>
                        <a:pt x="933" y="55"/>
                        <a:pt x="933" y="55"/>
                      </a:cubicBezTo>
                      <a:cubicBezTo>
                        <a:pt x="932" y="55"/>
                        <a:pt x="932" y="55"/>
                        <a:pt x="932" y="55"/>
                      </a:cubicBezTo>
                      <a:cubicBezTo>
                        <a:pt x="932" y="55"/>
                        <a:pt x="931" y="55"/>
                        <a:pt x="931" y="55"/>
                      </a:cubicBezTo>
                      <a:cubicBezTo>
                        <a:pt x="929" y="56"/>
                        <a:pt x="928" y="57"/>
                        <a:pt x="927" y="59"/>
                      </a:cubicBezTo>
                      <a:cubicBezTo>
                        <a:pt x="927" y="59"/>
                        <a:pt x="927" y="59"/>
                        <a:pt x="927" y="59"/>
                      </a:cubicBezTo>
                      <a:cubicBezTo>
                        <a:pt x="927" y="59"/>
                        <a:pt x="927" y="60"/>
                        <a:pt x="927" y="60"/>
                      </a:cubicBezTo>
                      <a:cubicBezTo>
                        <a:pt x="927" y="60"/>
                        <a:pt x="927" y="60"/>
                        <a:pt x="927" y="60"/>
                      </a:cubicBezTo>
                      <a:cubicBezTo>
                        <a:pt x="927" y="61"/>
                        <a:pt x="927" y="61"/>
                        <a:pt x="927" y="61"/>
                      </a:cubicBezTo>
                      <a:cubicBezTo>
                        <a:pt x="927" y="61"/>
                        <a:pt x="927" y="61"/>
                        <a:pt x="927" y="61"/>
                      </a:cubicBezTo>
                      <a:cubicBezTo>
                        <a:pt x="927" y="61"/>
                        <a:pt x="927" y="61"/>
                        <a:pt x="927" y="61"/>
                      </a:cubicBezTo>
                      <a:cubicBezTo>
                        <a:pt x="927" y="70"/>
                        <a:pt x="927" y="70"/>
                        <a:pt x="927" y="70"/>
                      </a:cubicBezTo>
                      <a:cubicBezTo>
                        <a:pt x="812" y="70"/>
                        <a:pt x="812" y="70"/>
                        <a:pt x="812" y="70"/>
                      </a:cubicBezTo>
                      <a:cubicBezTo>
                        <a:pt x="812" y="67"/>
                        <a:pt x="812" y="67"/>
                        <a:pt x="812" y="67"/>
                      </a:cubicBezTo>
                      <a:cubicBezTo>
                        <a:pt x="818" y="66"/>
                        <a:pt x="825" y="63"/>
                        <a:pt x="830" y="58"/>
                      </a:cubicBezTo>
                      <a:cubicBezTo>
                        <a:pt x="839" y="49"/>
                        <a:pt x="839" y="35"/>
                        <a:pt x="839" y="34"/>
                      </a:cubicBezTo>
                      <a:cubicBezTo>
                        <a:pt x="839" y="31"/>
                        <a:pt x="837" y="28"/>
                        <a:pt x="833" y="28"/>
                      </a:cubicBezTo>
                      <a:cubicBezTo>
                        <a:pt x="833" y="28"/>
                        <a:pt x="829" y="28"/>
                        <a:pt x="824" y="29"/>
                      </a:cubicBezTo>
                      <a:cubicBezTo>
                        <a:pt x="822" y="14"/>
                        <a:pt x="811" y="3"/>
                        <a:pt x="811" y="3"/>
                      </a:cubicBezTo>
                      <a:cubicBezTo>
                        <a:pt x="808" y="0"/>
                        <a:pt x="805" y="0"/>
                        <a:pt x="802" y="3"/>
                      </a:cubicBezTo>
                      <a:cubicBezTo>
                        <a:pt x="802" y="3"/>
                        <a:pt x="791" y="14"/>
                        <a:pt x="789" y="29"/>
                      </a:cubicBezTo>
                      <a:cubicBezTo>
                        <a:pt x="784" y="28"/>
                        <a:pt x="780" y="28"/>
                        <a:pt x="779" y="28"/>
                      </a:cubicBezTo>
                      <a:cubicBezTo>
                        <a:pt x="776" y="28"/>
                        <a:pt x="773" y="31"/>
                        <a:pt x="773" y="34"/>
                      </a:cubicBezTo>
                      <a:cubicBezTo>
                        <a:pt x="773" y="35"/>
                        <a:pt x="774" y="49"/>
                        <a:pt x="783" y="58"/>
                      </a:cubicBezTo>
                      <a:cubicBezTo>
                        <a:pt x="785" y="60"/>
                        <a:pt x="789" y="60"/>
                        <a:pt x="791" y="58"/>
                      </a:cubicBezTo>
                      <a:cubicBezTo>
                        <a:pt x="793" y="56"/>
                        <a:pt x="793" y="52"/>
                        <a:pt x="791" y="50"/>
                      </a:cubicBezTo>
                      <a:cubicBezTo>
                        <a:pt x="789" y="47"/>
                        <a:pt x="787" y="44"/>
                        <a:pt x="787" y="41"/>
                      </a:cubicBezTo>
                      <a:cubicBezTo>
                        <a:pt x="788" y="42"/>
                        <a:pt x="790" y="43"/>
                        <a:pt x="792" y="43"/>
                      </a:cubicBezTo>
                      <a:cubicBezTo>
                        <a:pt x="794" y="45"/>
                        <a:pt x="796" y="45"/>
                        <a:pt x="798" y="43"/>
                      </a:cubicBezTo>
                      <a:cubicBezTo>
                        <a:pt x="800" y="42"/>
                        <a:pt x="801" y="40"/>
                        <a:pt x="801" y="37"/>
                      </a:cubicBezTo>
                      <a:cubicBezTo>
                        <a:pt x="800" y="36"/>
                        <a:pt x="800" y="35"/>
                        <a:pt x="800" y="34"/>
                      </a:cubicBezTo>
                      <a:cubicBezTo>
                        <a:pt x="800" y="27"/>
                        <a:pt x="804" y="21"/>
                        <a:pt x="806" y="16"/>
                      </a:cubicBezTo>
                      <a:cubicBezTo>
                        <a:pt x="809" y="21"/>
                        <a:pt x="813" y="27"/>
                        <a:pt x="813" y="34"/>
                      </a:cubicBezTo>
                      <a:cubicBezTo>
                        <a:pt x="813" y="35"/>
                        <a:pt x="813" y="36"/>
                        <a:pt x="812" y="37"/>
                      </a:cubicBezTo>
                      <a:cubicBezTo>
                        <a:pt x="812" y="40"/>
                        <a:pt x="813" y="42"/>
                        <a:pt x="815" y="43"/>
                      </a:cubicBezTo>
                      <a:cubicBezTo>
                        <a:pt x="817" y="45"/>
                        <a:pt x="819" y="45"/>
                        <a:pt x="821" y="43"/>
                      </a:cubicBezTo>
                      <a:cubicBezTo>
                        <a:pt x="823" y="43"/>
                        <a:pt x="825" y="42"/>
                        <a:pt x="826" y="41"/>
                      </a:cubicBezTo>
                      <a:cubicBezTo>
                        <a:pt x="825" y="44"/>
                        <a:pt x="824" y="47"/>
                        <a:pt x="822" y="50"/>
                      </a:cubicBezTo>
                      <a:cubicBezTo>
                        <a:pt x="816" y="55"/>
                        <a:pt x="807" y="55"/>
                        <a:pt x="806" y="55"/>
                      </a:cubicBezTo>
                      <a:cubicBezTo>
                        <a:pt x="806" y="55"/>
                        <a:pt x="806" y="55"/>
                        <a:pt x="806" y="55"/>
                      </a:cubicBezTo>
                      <a:cubicBezTo>
                        <a:pt x="806" y="55"/>
                        <a:pt x="805" y="55"/>
                        <a:pt x="805" y="55"/>
                      </a:cubicBezTo>
                      <a:cubicBezTo>
                        <a:pt x="803" y="56"/>
                        <a:pt x="802" y="57"/>
                        <a:pt x="801" y="59"/>
                      </a:cubicBezTo>
                      <a:cubicBezTo>
                        <a:pt x="801" y="59"/>
                        <a:pt x="801" y="59"/>
                        <a:pt x="801" y="59"/>
                      </a:cubicBezTo>
                      <a:cubicBezTo>
                        <a:pt x="801" y="59"/>
                        <a:pt x="801" y="60"/>
                        <a:pt x="801" y="60"/>
                      </a:cubicBezTo>
                      <a:cubicBezTo>
                        <a:pt x="801" y="60"/>
                        <a:pt x="801" y="60"/>
                        <a:pt x="801" y="60"/>
                      </a:cubicBezTo>
                      <a:cubicBezTo>
                        <a:pt x="801" y="61"/>
                        <a:pt x="800" y="61"/>
                        <a:pt x="800" y="61"/>
                      </a:cubicBezTo>
                      <a:cubicBezTo>
                        <a:pt x="800" y="61"/>
                        <a:pt x="800" y="61"/>
                        <a:pt x="800" y="61"/>
                      </a:cubicBezTo>
                      <a:cubicBezTo>
                        <a:pt x="800" y="61"/>
                        <a:pt x="800" y="61"/>
                        <a:pt x="800" y="61"/>
                      </a:cubicBezTo>
                      <a:cubicBezTo>
                        <a:pt x="800" y="70"/>
                        <a:pt x="800" y="70"/>
                        <a:pt x="800" y="70"/>
                      </a:cubicBezTo>
                      <a:cubicBezTo>
                        <a:pt x="686" y="70"/>
                        <a:pt x="686" y="70"/>
                        <a:pt x="686" y="70"/>
                      </a:cubicBezTo>
                      <a:cubicBezTo>
                        <a:pt x="686" y="67"/>
                        <a:pt x="686" y="67"/>
                        <a:pt x="686" y="67"/>
                      </a:cubicBezTo>
                      <a:cubicBezTo>
                        <a:pt x="691" y="66"/>
                        <a:pt x="699" y="63"/>
                        <a:pt x="704" y="58"/>
                      </a:cubicBezTo>
                      <a:cubicBezTo>
                        <a:pt x="713" y="49"/>
                        <a:pt x="713" y="35"/>
                        <a:pt x="713" y="34"/>
                      </a:cubicBezTo>
                      <a:cubicBezTo>
                        <a:pt x="713" y="31"/>
                        <a:pt x="711" y="28"/>
                        <a:pt x="707" y="28"/>
                      </a:cubicBezTo>
                      <a:cubicBezTo>
                        <a:pt x="707" y="28"/>
                        <a:pt x="703" y="28"/>
                        <a:pt x="698" y="29"/>
                      </a:cubicBezTo>
                      <a:cubicBezTo>
                        <a:pt x="696" y="14"/>
                        <a:pt x="685" y="3"/>
                        <a:pt x="685" y="3"/>
                      </a:cubicBezTo>
                      <a:cubicBezTo>
                        <a:pt x="682" y="0"/>
                        <a:pt x="679" y="0"/>
                        <a:pt x="676" y="3"/>
                      </a:cubicBezTo>
                      <a:cubicBezTo>
                        <a:pt x="676" y="3"/>
                        <a:pt x="664" y="14"/>
                        <a:pt x="662" y="29"/>
                      </a:cubicBezTo>
                      <a:cubicBezTo>
                        <a:pt x="658" y="28"/>
                        <a:pt x="654" y="28"/>
                        <a:pt x="653" y="28"/>
                      </a:cubicBezTo>
                      <a:cubicBezTo>
                        <a:pt x="650" y="28"/>
                        <a:pt x="647" y="31"/>
                        <a:pt x="647" y="34"/>
                      </a:cubicBezTo>
                      <a:cubicBezTo>
                        <a:pt x="647" y="35"/>
                        <a:pt x="648" y="49"/>
                        <a:pt x="657" y="58"/>
                      </a:cubicBezTo>
                      <a:cubicBezTo>
                        <a:pt x="659" y="60"/>
                        <a:pt x="663" y="60"/>
                        <a:pt x="665" y="58"/>
                      </a:cubicBezTo>
                      <a:cubicBezTo>
                        <a:pt x="667" y="56"/>
                        <a:pt x="667" y="52"/>
                        <a:pt x="665" y="50"/>
                      </a:cubicBezTo>
                      <a:cubicBezTo>
                        <a:pt x="663" y="47"/>
                        <a:pt x="661" y="44"/>
                        <a:pt x="661" y="41"/>
                      </a:cubicBezTo>
                      <a:cubicBezTo>
                        <a:pt x="662" y="42"/>
                        <a:pt x="664" y="43"/>
                        <a:pt x="666" y="43"/>
                      </a:cubicBezTo>
                      <a:cubicBezTo>
                        <a:pt x="668" y="45"/>
                        <a:pt x="670" y="45"/>
                        <a:pt x="672" y="43"/>
                      </a:cubicBezTo>
                      <a:cubicBezTo>
                        <a:pt x="674" y="42"/>
                        <a:pt x="675" y="40"/>
                        <a:pt x="674" y="37"/>
                      </a:cubicBezTo>
                      <a:cubicBezTo>
                        <a:pt x="674" y="36"/>
                        <a:pt x="674" y="35"/>
                        <a:pt x="674" y="34"/>
                      </a:cubicBezTo>
                      <a:cubicBezTo>
                        <a:pt x="674" y="27"/>
                        <a:pt x="678" y="21"/>
                        <a:pt x="680" y="16"/>
                      </a:cubicBezTo>
                      <a:cubicBezTo>
                        <a:pt x="683" y="21"/>
                        <a:pt x="687" y="27"/>
                        <a:pt x="687" y="34"/>
                      </a:cubicBezTo>
                      <a:cubicBezTo>
                        <a:pt x="687" y="35"/>
                        <a:pt x="687" y="36"/>
                        <a:pt x="686" y="37"/>
                      </a:cubicBezTo>
                      <a:cubicBezTo>
                        <a:pt x="686" y="40"/>
                        <a:pt x="687" y="42"/>
                        <a:pt x="689" y="43"/>
                      </a:cubicBezTo>
                      <a:cubicBezTo>
                        <a:pt x="691" y="45"/>
                        <a:pt x="693" y="45"/>
                        <a:pt x="695" y="43"/>
                      </a:cubicBezTo>
                      <a:cubicBezTo>
                        <a:pt x="697" y="43"/>
                        <a:pt x="699" y="42"/>
                        <a:pt x="700" y="41"/>
                      </a:cubicBezTo>
                      <a:cubicBezTo>
                        <a:pt x="699" y="44"/>
                        <a:pt x="698" y="47"/>
                        <a:pt x="696" y="50"/>
                      </a:cubicBezTo>
                      <a:cubicBezTo>
                        <a:pt x="690" y="55"/>
                        <a:pt x="681" y="55"/>
                        <a:pt x="680" y="55"/>
                      </a:cubicBezTo>
                      <a:cubicBezTo>
                        <a:pt x="680" y="55"/>
                        <a:pt x="680" y="55"/>
                        <a:pt x="680" y="55"/>
                      </a:cubicBezTo>
                      <a:cubicBezTo>
                        <a:pt x="680" y="55"/>
                        <a:pt x="679" y="55"/>
                        <a:pt x="679" y="55"/>
                      </a:cubicBezTo>
                      <a:cubicBezTo>
                        <a:pt x="677" y="56"/>
                        <a:pt x="676" y="57"/>
                        <a:pt x="675" y="59"/>
                      </a:cubicBezTo>
                      <a:cubicBezTo>
                        <a:pt x="675" y="59"/>
                        <a:pt x="675" y="59"/>
                        <a:pt x="675" y="59"/>
                      </a:cubicBezTo>
                      <a:cubicBezTo>
                        <a:pt x="675" y="59"/>
                        <a:pt x="675" y="60"/>
                        <a:pt x="675" y="60"/>
                      </a:cubicBezTo>
                      <a:cubicBezTo>
                        <a:pt x="675" y="60"/>
                        <a:pt x="675" y="60"/>
                        <a:pt x="675" y="60"/>
                      </a:cubicBezTo>
                      <a:cubicBezTo>
                        <a:pt x="674" y="61"/>
                        <a:pt x="674" y="61"/>
                        <a:pt x="674" y="61"/>
                      </a:cubicBezTo>
                      <a:cubicBezTo>
                        <a:pt x="674" y="61"/>
                        <a:pt x="674" y="61"/>
                        <a:pt x="674" y="61"/>
                      </a:cubicBezTo>
                      <a:cubicBezTo>
                        <a:pt x="674" y="61"/>
                        <a:pt x="674" y="61"/>
                        <a:pt x="674" y="61"/>
                      </a:cubicBezTo>
                      <a:cubicBezTo>
                        <a:pt x="674" y="70"/>
                        <a:pt x="674" y="70"/>
                        <a:pt x="674" y="70"/>
                      </a:cubicBezTo>
                      <a:cubicBezTo>
                        <a:pt x="560" y="70"/>
                        <a:pt x="560" y="70"/>
                        <a:pt x="560" y="70"/>
                      </a:cubicBezTo>
                      <a:cubicBezTo>
                        <a:pt x="560" y="67"/>
                        <a:pt x="560" y="67"/>
                        <a:pt x="560" y="67"/>
                      </a:cubicBezTo>
                      <a:cubicBezTo>
                        <a:pt x="565" y="66"/>
                        <a:pt x="573" y="63"/>
                        <a:pt x="578" y="58"/>
                      </a:cubicBezTo>
                      <a:cubicBezTo>
                        <a:pt x="587" y="49"/>
                        <a:pt x="587" y="35"/>
                        <a:pt x="587" y="34"/>
                      </a:cubicBezTo>
                      <a:cubicBezTo>
                        <a:pt x="587" y="31"/>
                        <a:pt x="585" y="28"/>
                        <a:pt x="581" y="28"/>
                      </a:cubicBezTo>
                      <a:cubicBezTo>
                        <a:pt x="581" y="28"/>
                        <a:pt x="581" y="28"/>
                        <a:pt x="581" y="28"/>
                      </a:cubicBezTo>
                      <a:cubicBezTo>
                        <a:pt x="581" y="28"/>
                        <a:pt x="577" y="28"/>
                        <a:pt x="572" y="29"/>
                      </a:cubicBezTo>
                      <a:cubicBezTo>
                        <a:pt x="570" y="14"/>
                        <a:pt x="559" y="3"/>
                        <a:pt x="559" y="3"/>
                      </a:cubicBezTo>
                      <a:cubicBezTo>
                        <a:pt x="556" y="0"/>
                        <a:pt x="552" y="0"/>
                        <a:pt x="550" y="3"/>
                      </a:cubicBezTo>
                      <a:cubicBezTo>
                        <a:pt x="550" y="3"/>
                        <a:pt x="538" y="14"/>
                        <a:pt x="536" y="29"/>
                      </a:cubicBezTo>
                      <a:cubicBezTo>
                        <a:pt x="532" y="28"/>
                        <a:pt x="528" y="28"/>
                        <a:pt x="527" y="28"/>
                      </a:cubicBezTo>
                      <a:cubicBezTo>
                        <a:pt x="527" y="28"/>
                        <a:pt x="527" y="28"/>
                        <a:pt x="527" y="28"/>
                      </a:cubicBezTo>
                      <a:cubicBezTo>
                        <a:pt x="524" y="28"/>
                        <a:pt x="521" y="31"/>
                        <a:pt x="521" y="34"/>
                      </a:cubicBezTo>
                      <a:cubicBezTo>
                        <a:pt x="521" y="35"/>
                        <a:pt x="521" y="49"/>
                        <a:pt x="530" y="58"/>
                      </a:cubicBezTo>
                      <a:cubicBezTo>
                        <a:pt x="533" y="60"/>
                        <a:pt x="537" y="60"/>
                        <a:pt x="539" y="58"/>
                      </a:cubicBezTo>
                      <a:cubicBezTo>
                        <a:pt x="541" y="56"/>
                        <a:pt x="541" y="52"/>
                        <a:pt x="539" y="50"/>
                      </a:cubicBezTo>
                      <a:cubicBezTo>
                        <a:pt x="537" y="47"/>
                        <a:pt x="535" y="44"/>
                        <a:pt x="534" y="41"/>
                      </a:cubicBezTo>
                      <a:cubicBezTo>
                        <a:pt x="536" y="42"/>
                        <a:pt x="538" y="43"/>
                        <a:pt x="539" y="43"/>
                      </a:cubicBezTo>
                      <a:cubicBezTo>
                        <a:pt x="541" y="45"/>
                        <a:pt x="544" y="45"/>
                        <a:pt x="546" y="43"/>
                      </a:cubicBezTo>
                      <a:cubicBezTo>
                        <a:pt x="548" y="42"/>
                        <a:pt x="549" y="40"/>
                        <a:pt x="548" y="37"/>
                      </a:cubicBezTo>
                      <a:cubicBezTo>
                        <a:pt x="548" y="36"/>
                        <a:pt x="548" y="35"/>
                        <a:pt x="548" y="34"/>
                      </a:cubicBezTo>
                      <a:cubicBezTo>
                        <a:pt x="548" y="27"/>
                        <a:pt x="551" y="21"/>
                        <a:pt x="554" y="16"/>
                      </a:cubicBezTo>
                      <a:cubicBezTo>
                        <a:pt x="557" y="21"/>
                        <a:pt x="561" y="27"/>
                        <a:pt x="561" y="34"/>
                      </a:cubicBezTo>
                      <a:cubicBezTo>
                        <a:pt x="561" y="35"/>
                        <a:pt x="560" y="36"/>
                        <a:pt x="560" y="37"/>
                      </a:cubicBezTo>
                      <a:cubicBezTo>
                        <a:pt x="560" y="40"/>
                        <a:pt x="561" y="42"/>
                        <a:pt x="563" y="43"/>
                      </a:cubicBezTo>
                      <a:cubicBezTo>
                        <a:pt x="565" y="45"/>
                        <a:pt x="567" y="45"/>
                        <a:pt x="569" y="43"/>
                      </a:cubicBezTo>
                      <a:cubicBezTo>
                        <a:pt x="571" y="43"/>
                        <a:pt x="573" y="42"/>
                        <a:pt x="574" y="41"/>
                      </a:cubicBezTo>
                      <a:cubicBezTo>
                        <a:pt x="573" y="44"/>
                        <a:pt x="572" y="47"/>
                        <a:pt x="570" y="50"/>
                      </a:cubicBezTo>
                      <a:cubicBezTo>
                        <a:pt x="564" y="55"/>
                        <a:pt x="555" y="55"/>
                        <a:pt x="554" y="55"/>
                      </a:cubicBezTo>
                      <a:cubicBezTo>
                        <a:pt x="554" y="55"/>
                        <a:pt x="554" y="55"/>
                        <a:pt x="554" y="55"/>
                      </a:cubicBezTo>
                      <a:cubicBezTo>
                        <a:pt x="553" y="55"/>
                        <a:pt x="553" y="55"/>
                        <a:pt x="553" y="55"/>
                      </a:cubicBezTo>
                      <a:cubicBezTo>
                        <a:pt x="551" y="56"/>
                        <a:pt x="550" y="57"/>
                        <a:pt x="549" y="59"/>
                      </a:cubicBezTo>
                      <a:cubicBezTo>
                        <a:pt x="549" y="59"/>
                        <a:pt x="549" y="59"/>
                        <a:pt x="549" y="59"/>
                      </a:cubicBezTo>
                      <a:cubicBezTo>
                        <a:pt x="549" y="59"/>
                        <a:pt x="548" y="60"/>
                        <a:pt x="548" y="60"/>
                      </a:cubicBezTo>
                      <a:cubicBezTo>
                        <a:pt x="548" y="60"/>
                        <a:pt x="548" y="60"/>
                        <a:pt x="548" y="60"/>
                      </a:cubicBezTo>
                      <a:cubicBezTo>
                        <a:pt x="548" y="61"/>
                        <a:pt x="548" y="61"/>
                        <a:pt x="548" y="61"/>
                      </a:cubicBezTo>
                      <a:cubicBezTo>
                        <a:pt x="548" y="61"/>
                        <a:pt x="548" y="61"/>
                        <a:pt x="548" y="61"/>
                      </a:cubicBezTo>
                      <a:cubicBezTo>
                        <a:pt x="548" y="61"/>
                        <a:pt x="548" y="61"/>
                        <a:pt x="548" y="61"/>
                      </a:cubicBezTo>
                      <a:cubicBezTo>
                        <a:pt x="548" y="70"/>
                        <a:pt x="548" y="70"/>
                        <a:pt x="548" y="70"/>
                      </a:cubicBezTo>
                      <a:cubicBezTo>
                        <a:pt x="434" y="70"/>
                        <a:pt x="434" y="70"/>
                        <a:pt x="434" y="70"/>
                      </a:cubicBezTo>
                      <a:cubicBezTo>
                        <a:pt x="434" y="67"/>
                        <a:pt x="434" y="67"/>
                        <a:pt x="434" y="67"/>
                      </a:cubicBezTo>
                      <a:cubicBezTo>
                        <a:pt x="439" y="66"/>
                        <a:pt x="447" y="63"/>
                        <a:pt x="452" y="58"/>
                      </a:cubicBezTo>
                      <a:cubicBezTo>
                        <a:pt x="461" y="49"/>
                        <a:pt x="461" y="35"/>
                        <a:pt x="461" y="34"/>
                      </a:cubicBezTo>
                      <a:cubicBezTo>
                        <a:pt x="461" y="31"/>
                        <a:pt x="459" y="28"/>
                        <a:pt x="455" y="28"/>
                      </a:cubicBezTo>
                      <a:cubicBezTo>
                        <a:pt x="455" y="28"/>
                        <a:pt x="455" y="28"/>
                        <a:pt x="455" y="28"/>
                      </a:cubicBezTo>
                      <a:cubicBezTo>
                        <a:pt x="455" y="28"/>
                        <a:pt x="451" y="28"/>
                        <a:pt x="446" y="29"/>
                      </a:cubicBezTo>
                      <a:cubicBezTo>
                        <a:pt x="444" y="14"/>
                        <a:pt x="433" y="3"/>
                        <a:pt x="432" y="3"/>
                      </a:cubicBezTo>
                      <a:cubicBezTo>
                        <a:pt x="430" y="0"/>
                        <a:pt x="426" y="0"/>
                        <a:pt x="424" y="3"/>
                      </a:cubicBezTo>
                      <a:cubicBezTo>
                        <a:pt x="424" y="3"/>
                        <a:pt x="412" y="14"/>
                        <a:pt x="410" y="29"/>
                      </a:cubicBezTo>
                      <a:cubicBezTo>
                        <a:pt x="406" y="28"/>
                        <a:pt x="402" y="28"/>
                        <a:pt x="401" y="28"/>
                      </a:cubicBezTo>
                      <a:cubicBezTo>
                        <a:pt x="398" y="28"/>
                        <a:pt x="395" y="31"/>
                        <a:pt x="395" y="34"/>
                      </a:cubicBezTo>
                      <a:cubicBezTo>
                        <a:pt x="395" y="35"/>
                        <a:pt x="395" y="49"/>
                        <a:pt x="404" y="58"/>
                      </a:cubicBezTo>
                      <a:cubicBezTo>
                        <a:pt x="407" y="60"/>
                        <a:pt x="411" y="60"/>
                        <a:pt x="413" y="58"/>
                      </a:cubicBezTo>
                      <a:cubicBezTo>
                        <a:pt x="415" y="56"/>
                        <a:pt x="415" y="52"/>
                        <a:pt x="413" y="50"/>
                      </a:cubicBezTo>
                      <a:cubicBezTo>
                        <a:pt x="411" y="47"/>
                        <a:pt x="409" y="44"/>
                        <a:pt x="408" y="41"/>
                      </a:cubicBezTo>
                      <a:cubicBezTo>
                        <a:pt x="410" y="42"/>
                        <a:pt x="412" y="43"/>
                        <a:pt x="413" y="43"/>
                      </a:cubicBezTo>
                      <a:cubicBezTo>
                        <a:pt x="415" y="45"/>
                        <a:pt x="418" y="45"/>
                        <a:pt x="420" y="43"/>
                      </a:cubicBezTo>
                      <a:cubicBezTo>
                        <a:pt x="422" y="42"/>
                        <a:pt x="423" y="40"/>
                        <a:pt x="422" y="37"/>
                      </a:cubicBezTo>
                      <a:cubicBezTo>
                        <a:pt x="422" y="36"/>
                        <a:pt x="422" y="35"/>
                        <a:pt x="422" y="34"/>
                      </a:cubicBezTo>
                      <a:cubicBezTo>
                        <a:pt x="422" y="27"/>
                        <a:pt x="425" y="21"/>
                        <a:pt x="428" y="16"/>
                      </a:cubicBezTo>
                      <a:cubicBezTo>
                        <a:pt x="431" y="21"/>
                        <a:pt x="434" y="27"/>
                        <a:pt x="434" y="34"/>
                      </a:cubicBezTo>
                      <a:cubicBezTo>
                        <a:pt x="434" y="35"/>
                        <a:pt x="434" y="36"/>
                        <a:pt x="434" y="37"/>
                      </a:cubicBezTo>
                      <a:cubicBezTo>
                        <a:pt x="434" y="40"/>
                        <a:pt x="435" y="42"/>
                        <a:pt x="437" y="43"/>
                      </a:cubicBezTo>
                      <a:cubicBezTo>
                        <a:pt x="439" y="45"/>
                        <a:pt x="441" y="45"/>
                        <a:pt x="443" y="43"/>
                      </a:cubicBezTo>
                      <a:cubicBezTo>
                        <a:pt x="445" y="43"/>
                        <a:pt x="446" y="42"/>
                        <a:pt x="448" y="41"/>
                      </a:cubicBezTo>
                      <a:cubicBezTo>
                        <a:pt x="447" y="44"/>
                        <a:pt x="446" y="47"/>
                        <a:pt x="444" y="50"/>
                      </a:cubicBezTo>
                      <a:cubicBezTo>
                        <a:pt x="438" y="55"/>
                        <a:pt x="429" y="55"/>
                        <a:pt x="428" y="55"/>
                      </a:cubicBezTo>
                      <a:cubicBezTo>
                        <a:pt x="428" y="55"/>
                        <a:pt x="428" y="55"/>
                        <a:pt x="428" y="55"/>
                      </a:cubicBezTo>
                      <a:cubicBezTo>
                        <a:pt x="427" y="55"/>
                        <a:pt x="427" y="55"/>
                        <a:pt x="427" y="55"/>
                      </a:cubicBezTo>
                      <a:cubicBezTo>
                        <a:pt x="425" y="56"/>
                        <a:pt x="423" y="57"/>
                        <a:pt x="423" y="59"/>
                      </a:cubicBezTo>
                      <a:cubicBezTo>
                        <a:pt x="423" y="59"/>
                        <a:pt x="423" y="59"/>
                        <a:pt x="423" y="59"/>
                      </a:cubicBezTo>
                      <a:cubicBezTo>
                        <a:pt x="423" y="59"/>
                        <a:pt x="422" y="60"/>
                        <a:pt x="422" y="60"/>
                      </a:cubicBezTo>
                      <a:cubicBezTo>
                        <a:pt x="422" y="60"/>
                        <a:pt x="422" y="60"/>
                        <a:pt x="422" y="60"/>
                      </a:cubicBezTo>
                      <a:cubicBezTo>
                        <a:pt x="422" y="61"/>
                        <a:pt x="422" y="61"/>
                        <a:pt x="422" y="61"/>
                      </a:cubicBezTo>
                      <a:cubicBezTo>
                        <a:pt x="422" y="61"/>
                        <a:pt x="422" y="61"/>
                        <a:pt x="422" y="61"/>
                      </a:cubicBezTo>
                      <a:cubicBezTo>
                        <a:pt x="422" y="61"/>
                        <a:pt x="422" y="61"/>
                        <a:pt x="422" y="61"/>
                      </a:cubicBezTo>
                      <a:cubicBezTo>
                        <a:pt x="422" y="70"/>
                        <a:pt x="422" y="70"/>
                        <a:pt x="422" y="70"/>
                      </a:cubicBezTo>
                      <a:cubicBezTo>
                        <a:pt x="309" y="70"/>
                        <a:pt x="309" y="70"/>
                        <a:pt x="309" y="70"/>
                      </a:cubicBezTo>
                      <a:cubicBezTo>
                        <a:pt x="309" y="67"/>
                        <a:pt x="309" y="67"/>
                        <a:pt x="309" y="67"/>
                      </a:cubicBezTo>
                      <a:cubicBezTo>
                        <a:pt x="314" y="66"/>
                        <a:pt x="321" y="63"/>
                        <a:pt x="327" y="58"/>
                      </a:cubicBezTo>
                      <a:cubicBezTo>
                        <a:pt x="336" y="49"/>
                        <a:pt x="336" y="35"/>
                        <a:pt x="336" y="34"/>
                      </a:cubicBezTo>
                      <a:cubicBezTo>
                        <a:pt x="336" y="31"/>
                        <a:pt x="333" y="28"/>
                        <a:pt x="330" y="28"/>
                      </a:cubicBezTo>
                      <a:cubicBezTo>
                        <a:pt x="330" y="28"/>
                        <a:pt x="330" y="28"/>
                        <a:pt x="330" y="28"/>
                      </a:cubicBezTo>
                      <a:cubicBezTo>
                        <a:pt x="329" y="28"/>
                        <a:pt x="326" y="28"/>
                        <a:pt x="321" y="29"/>
                      </a:cubicBezTo>
                      <a:cubicBezTo>
                        <a:pt x="319" y="14"/>
                        <a:pt x="308" y="3"/>
                        <a:pt x="307" y="3"/>
                      </a:cubicBezTo>
                      <a:cubicBezTo>
                        <a:pt x="305" y="0"/>
                        <a:pt x="301" y="0"/>
                        <a:pt x="299" y="3"/>
                      </a:cubicBezTo>
                      <a:cubicBezTo>
                        <a:pt x="298" y="3"/>
                        <a:pt x="287" y="14"/>
                        <a:pt x="285" y="29"/>
                      </a:cubicBezTo>
                      <a:cubicBezTo>
                        <a:pt x="280" y="28"/>
                        <a:pt x="277" y="28"/>
                        <a:pt x="276" y="28"/>
                      </a:cubicBezTo>
                      <a:cubicBezTo>
                        <a:pt x="276" y="28"/>
                        <a:pt x="276" y="28"/>
                        <a:pt x="276" y="28"/>
                      </a:cubicBezTo>
                      <a:cubicBezTo>
                        <a:pt x="273" y="28"/>
                        <a:pt x="270" y="31"/>
                        <a:pt x="270" y="34"/>
                      </a:cubicBezTo>
                      <a:cubicBezTo>
                        <a:pt x="270" y="35"/>
                        <a:pt x="270" y="49"/>
                        <a:pt x="279" y="58"/>
                      </a:cubicBezTo>
                      <a:cubicBezTo>
                        <a:pt x="281" y="60"/>
                        <a:pt x="285" y="60"/>
                        <a:pt x="288" y="58"/>
                      </a:cubicBezTo>
                      <a:cubicBezTo>
                        <a:pt x="290" y="56"/>
                        <a:pt x="290" y="52"/>
                        <a:pt x="288" y="50"/>
                      </a:cubicBezTo>
                      <a:cubicBezTo>
                        <a:pt x="285" y="47"/>
                        <a:pt x="284" y="44"/>
                        <a:pt x="283" y="41"/>
                      </a:cubicBezTo>
                      <a:cubicBezTo>
                        <a:pt x="285" y="42"/>
                        <a:pt x="286" y="43"/>
                        <a:pt x="288" y="43"/>
                      </a:cubicBezTo>
                      <a:cubicBezTo>
                        <a:pt x="290" y="45"/>
                        <a:pt x="293" y="45"/>
                        <a:pt x="294" y="43"/>
                      </a:cubicBezTo>
                      <a:cubicBezTo>
                        <a:pt x="296" y="42"/>
                        <a:pt x="297" y="40"/>
                        <a:pt x="297" y="37"/>
                      </a:cubicBezTo>
                      <a:cubicBezTo>
                        <a:pt x="297" y="36"/>
                        <a:pt x="297" y="35"/>
                        <a:pt x="297" y="34"/>
                      </a:cubicBezTo>
                      <a:cubicBezTo>
                        <a:pt x="297" y="27"/>
                        <a:pt x="300" y="21"/>
                        <a:pt x="303" y="16"/>
                      </a:cubicBezTo>
                      <a:cubicBezTo>
                        <a:pt x="306" y="21"/>
                        <a:pt x="309" y="27"/>
                        <a:pt x="309" y="34"/>
                      </a:cubicBezTo>
                      <a:cubicBezTo>
                        <a:pt x="309" y="35"/>
                        <a:pt x="309" y="36"/>
                        <a:pt x="309" y="37"/>
                      </a:cubicBezTo>
                      <a:cubicBezTo>
                        <a:pt x="309" y="40"/>
                        <a:pt x="310" y="42"/>
                        <a:pt x="311" y="43"/>
                      </a:cubicBezTo>
                      <a:cubicBezTo>
                        <a:pt x="313" y="45"/>
                        <a:pt x="316" y="45"/>
                        <a:pt x="318" y="43"/>
                      </a:cubicBezTo>
                      <a:cubicBezTo>
                        <a:pt x="319" y="43"/>
                        <a:pt x="321" y="42"/>
                        <a:pt x="323" y="41"/>
                      </a:cubicBezTo>
                      <a:cubicBezTo>
                        <a:pt x="322" y="44"/>
                        <a:pt x="321" y="47"/>
                        <a:pt x="318" y="50"/>
                      </a:cubicBezTo>
                      <a:cubicBezTo>
                        <a:pt x="313" y="55"/>
                        <a:pt x="303" y="55"/>
                        <a:pt x="303" y="55"/>
                      </a:cubicBezTo>
                      <a:cubicBezTo>
                        <a:pt x="303" y="55"/>
                        <a:pt x="302" y="55"/>
                        <a:pt x="302" y="55"/>
                      </a:cubicBezTo>
                      <a:cubicBezTo>
                        <a:pt x="302" y="55"/>
                        <a:pt x="302" y="55"/>
                        <a:pt x="302" y="55"/>
                      </a:cubicBezTo>
                      <a:cubicBezTo>
                        <a:pt x="300" y="56"/>
                        <a:pt x="298" y="57"/>
                        <a:pt x="297" y="59"/>
                      </a:cubicBezTo>
                      <a:cubicBezTo>
                        <a:pt x="297" y="59"/>
                        <a:pt x="297" y="59"/>
                        <a:pt x="297" y="59"/>
                      </a:cubicBezTo>
                      <a:cubicBezTo>
                        <a:pt x="297" y="59"/>
                        <a:pt x="297" y="60"/>
                        <a:pt x="297" y="60"/>
                      </a:cubicBezTo>
                      <a:cubicBezTo>
                        <a:pt x="297" y="60"/>
                        <a:pt x="297" y="60"/>
                        <a:pt x="297" y="60"/>
                      </a:cubicBezTo>
                      <a:cubicBezTo>
                        <a:pt x="297" y="61"/>
                        <a:pt x="297" y="61"/>
                        <a:pt x="297" y="61"/>
                      </a:cubicBezTo>
                      <a:cubicBezTo>
                        <a:pt x="297" y="61"/>
                        <a:pt x="297" y="61"/>
                        <a:pt x="297" y="61"/>
                      </a:cubicBezTo>
                      <a:cubicBezTo>
                        <a:pt x="297" y="61"/>
                        <a:pt x="297" y="61"/>
                        <a:pt x="297" y="61"/>
                      </a:cubicBezTo>
                      <a:cubicBezTo>
                        <a:pt x="297" y="70"/>
                        <a:pt x="297" y="70"/>
                        <a:pt x="297" y="70"/>
                      </a:cubicBezTo>
                      <a:cubicBezTo>
                        <a:pt x="183" y="70"/>
                        <a:pt x="183" y="70"/>
                        <a:pt x="183" y="70"/>
                      </a:cubicBezTo>
                      <a:cubicBezTo>
                        <a:pt x="183" y="67"/>
                        <a:pt x="183" y="67"/>
                        <a:pt x="183" y="67"/>
                      </a:cubicBezTo>
                      <a:cubicBezTo>
                        <a:pt x="188" y="66"/>
                        <a:pt x="195" y="63"/>
                        <a:pt x="201" y="58"/>
                      </a:cubicBezTo>
                      <a:cubicBezTo>
                        <a:pt x="210" y="49"/>
                        <a:pt x="210" y="35"/>
                        <a:pt x="210" y="34"/>
                      </a:cubicBezTo>
                      <a:cubicBezTo>
                        <a:pt x="210" y="31"/>
                        <a:pt x="207" y="28"/>
                        <a:pt x="204" y="28"/>
                      </a:cubicBezTo>
                      <a:cubicBezTo>
                        <a:pt x="204" y="28"/>
                        <a:pt x="204" y="28"/>
                        <a:pt x="204" y="28"/>
                      </a:cubicBezTo>
                      <a:cubicBezTo>
                        <a:pt x="203" y="28"/>
                        <a:pt x="200" y="28"/>
                        <a:pt x="195" y="29"/>
                      </a:cubicBezTo>
                      <a:cubicBezTo>
                        <a:pt x="193" y="14"/>
                        <a:pt x="182" y="3"/>
                        <a:pt x="181" y="3"/>
                      </a:cubicBezTo>
                      <a:cubicBezTo>
                        <a:pt x="179" y="0"/>
                        <a:pt x="175" y="0"/>
                        <a:pt x="173" y="3"/>
                      </a:cubicBezTo>
                      <a:cubicBezTo>
                        <a:pt x="172" y="3"/>
                        <a:pt x="161" y="14"/>
                        <a:pt x="159" y="29"/>
                      </a:cubicBezTo>
                      <a:cubicBezTo>
                        <a:pt x="154" y="28"/>
                        <a:pt x="150" y="28"/>
                        <a:pt x="150" y="28"/>
                      </a:cubicBezTo>
                      <a:cubicBezTo>
                        <a:pt x="147" y="28"/>
                        <a:pt x="144" y="31"/>
                        <a:pt x="144" y="34"/>
                      </a:cubicBezTo>
                      <a:cubicBezTo>
                        <a:pt x="144" y="35"/>
                        <a:pt x="144" y="49"/>
                        <a:pt x="153" y="58"/>
                      </a:cubicBezTo>
                      <a:cubicBezTo>
                        <a:pt x="155" y="60"/>
                        <a:pt x="159" y="60"/>
                        <a:pt x="162" y="58"/>
                      </a:cubicBezTo>
                      <a:cubicBezTo>
                        <a:pt x="164" y="56"/>
                        <a:pt x="164" y="52"/>
                        <a:pt x="162" y="50"/>
                      </a:cubicBezTo>
                      <a:cubicBezTo>
                        <a:pt x="159" y="47"/>
                        <a:pt x="158" y="44"/>
                        <a:pt x="157" y="41"/>
                      </a:cubicBezTo>
                      <a:cubicBezTo>
                        <a:pt x="159" y="42"/>
                        <a:pt x="160" y="43"/>
                        <a:pt x="162" y="43"/>
                      </a:cubicBezTo>
                      <a:cubicBezTo>
                        <a:pt x="164" y="45"/>
                        <a:pt x="167" y="45"/>
                        <a:pt x="168" y="43"/>
                      </a:cubicBezTo>
                      <a:cubicBezTo>
                        <a:pt x="170" y="42"/>
                        <a:pt x="171" y="40"/>
                        <a:pt x="171" y="37"/>
                      </a:cubicBezTo>
                      <a:cubicBezTo>
                        <a:pt x="171" y="36"/>
                        <a:pt x="171" y="35"/>
                        <a:pt x="171" y="34"/>
                      </a:cubicBezTo>
                      <a:cubicBezTo>
                        <a:pt x="171" y="27"/>
                        <a:pt x="174" y="21"/>
                        <a:pt x="177" y="16"/>
                      </a:cubicBezTo>
                      <a:cubicBezTo>
                        <a:pt x="180" y="21"/>
                        <a:pt x="183" y="27"/>
                        <a:pt x="183" y="34"/>
                      </a:cubicBezTo>
                      <a:cubicBezTo>
                        <a:pt x="183" y="35"/>
                        <a:pt x="183" y="36"/>
                        <a:pt x="183" y="37"/>
                      </a:cubicBezTo>
                      <a:cubicBezTo>
                        <a:pt x="183" y="40"/>
                        <a:pt x="184" y="42"/>
                        <a:pt x="185" y="43"/>
                      </a:cubicBezTo>
                      <a:cubicBezTo>
                        <a:pt x="187" y="45"/>
                        <a:pt x="190" y="45"/>
                        <a:pt x="192" y="43"/>
                      </a:cubicBezTo>
                      <a:cubicBezTo>
                        <a:pt x="193" y="43"/>
                        <a:pt x="195" y="42"/>
                        <a:pt x="197" y="41"/>
                      </a:cubicBezTo>
                      <a:cubicBezTo>
                        <a:pt x="196" y="44"/>
                        <a:pt x="195" y="47"/>
                        <a:pt x="192" y="50"/>
                      </a:cubicBezTo>
                      <a:cubicBezTo>
                        <a:pt x="187" y="55"/>
                        <a:pt x="177" y="55"/>
                        <a:pt x="177" y="55"/>
                      </a:cubicBezTo>
                      <a:cubicBezTo>
                        <a:pt x="177" y="55"/>
                        <a:pt x="176" y="55"/>
                        <a:pt x="176" y="55"/>
                      </a:cubicBezTo>
                      <a:cubicBezTo>
                        <a:pt x="176" y="55"/>
                        <a:pt x="176" y="55"/>
                        <a:pt x="176" y="55"/>
                      </a:cubicBezTo>
                      <a:cubicBezTo>
                        <a:pt x="174" y="56"/>
                        <a:pt x="172" y="57"/>
                        <a:pt x="171" y="59"/>
                      </a:cubicBezTo>
                      <a:cubicBezTo>
                        <a:pt x="171" y="59"/>
                        <a:pt x="171" y="59"/>
                        <a:pt x="171" y="59"/>
                      </a:cubicBezTo>
                      <a:cubicBezTo>
                        <a:pt x="171" y="59"/>
                        <a:pt x="171" y="60"/>
                        <a:pt x="171" y="60"/>
                      </a:cubicBezTo>
                      <a:cubicBezTo>
                        <a:pt x="171" y="60"/>
                        <a:pt x="171" y="60"/>
                        <a:pt x="171" y="60"/>
                      </a:cubicBezTo>
                      <a:cubicBezTo>
                        <a:pt x="171" y="61"/>
                        <a:pt x="171" y="61"/>
                        <a:pt x="171" y="61"/>
                      </a:cubicBezTo>
                      <a:cubicBezTo>
                        <a:pt x="171" y="61"/>
                        <a:pt x="171" y="61"/>
                        <a:pt x="171" y="61"/>
                      </a:cubicBezTo>
                      <a:cubicBezTo>
                        <a:pt x="171" y="61"/>
                        <a:pt x="171" y="61"/>
                        <a:pt x="171" y="61"/>
                      </a:cubicBezTo>
                      <a:cubicBezTo>
                        <a:pt x="171" y="70"/>
                        <a:pt x="171" y="70"/>
                        <a:pt x="171" y="70"/>
                      </a:cubicBezTo>
                      <a:cubicBezTo>
                        <a:pt x="58" y="70"/>
                        <a:pt x="58" y="70"/>
                        <a:pt x="58" y="70"/>
                      </a:cubicBezTo>
                      <a:cubicBezTo>
                        <a:pt x="58" y="67"/>
                        <a:pt x="58" y="67"/>
                        <a:pt x="58" y="67"/>
                      </a:cubicBezTo>
                      <a:cubicBezTo>
                        <a:pt x="63" y="66"/>
                        <a:pt x="70" y="63"/>
                        <a:pt x="75" y="58"/>
                      </a:cubicBezTo>
                      <a:cubicBezTo>
                        <a:pt x="85" y="49"/>
                        <a:pt x="85" y="35"/>
                        <a:pt x="85" y="34"/>
                      </a:cubicBezTo>
                      <a:cubicBezTo>
                        <a:pt x="85" y="31"/>
                        <a:pt x="82" y="28"/>
                        <a:pt x="79" y="28"/>
                      </a:cubicBezTo>
                      <a:cubicBezTo>
                        <a:pt x="79" y="28"/>
                        <a:pt x="79" y="28"/>
                        <a:pt x="79" y="28"/>
                      </a:cubicBezTo>
                      <a:cubicBezTo>
                        <a:pt x="78" y="28"/>
                        <a:pt x="74" y="28"/>
                        <a:pt x="70" y="29"/>
                      </a:cubicBezTo>
                      <a:cubicBezTo>
                        <a:pt x="68" y="14"/>
                        <a:pt x="56" y="3"/>
                        <a:pt x="56" y="3"/>
                      </a:cubicBezTo>
                      <a:cubicBezTo>
                        <a:pt x="54" y="0"/>
                        <a:pt x="50" y="0"/>
                        <a:pt x="47" y="3"/>
                      </a:cubicBezTo>
                      <a:cubicBezTo>
                        <a:pt x="47" y="3"/>
                        <a:pt x="36" y="14"/>
                        <a:pt x="34" y="29"/>
                      </a:cubicBezTo>
                      <a:cubicBezTo>
                        <a:pt x="29" y="28"/>
                        <a:pt x="25" y="28"/>
                        <a:pt x="25" y="28"/>
                      </a:cubicBezTo>
                      <a:cubicBezTo>
                        <a:pt x="25" y="28"/>
                        <a:pt x="25" y="28"/>
                        <a:pt x="25" y="28"/>
                      </a:cubicBezTo>
                      <a:cubicBezTo>
                        <a:pt x="21" y="28"/>
                        <a:pt x="19" y="31"/>
                        <a:pt x="19" y="34"/>
                      </a:cubicBezTo>
                      <a:cubicBezTo>
                        <a:pt x="19" y="35"/>
                        <a:pt x="19" y="49"/>
                        <a:pt x="28" y="58"/>
                      </a:cubicBezTo>
                      <a:cubicBezTo>
                        <a:pt x="30" y="60"/>
                        <a:pt x="34" y="60"/>
                        <a:pt x="36" y="58"/>
                      </a:cubicBezTo>
                      <a:cubicBezTo>
                        <a:pt x="39" y="56"/>
                        <a:pt x="39" y="52"/>
                        <a:pt x="36" y="50"/>
                      </a:cubicBezTo>
                      <a:cubicBezTo>
                        <a:pt x="34" y="47"/>
                        <a:pt x="33" y="44"/>
                        <a:pt x="32" y="41"/>
                      </a:cubicBezTo>
                      <a:cubicBezTo>
                        <a:pt x="33" y="42"/>
                        <a:pt x="35" y="43"/>
                        <a:pt x="37" y="43"/>
                      </a:cubicBezTo>
                      <a:cubicBezTo>
                        <a:pt x="39" y="45"/>
                        <a:pt x="41" y="45"/>
                        <a:pt x="43" y="43"/>
                      </a:cubicBezTo>
                      <a:cubicBezTo>
                        <a:pt x="45" y="42"/>
                        <a:pt x="46" y="40"/>
                        <a:pt x="46" y="37"/>
                      </a:cubicBezTo>
                      <a:cubicBezTo>
                        <a:pt x="45" y="36"/>
                        <a:pt x="45" y="35"/>
                        <a:pt x="45" y="34"/>
                      </a:cubicBezTo>
                      <a:cubicBezTo>
                        <a:pt x="45" y="27"/>
                        <a:pt x="49" y="21"/>
                        <a:pt x="52" y="16"/>
                      </a:cubicBezTo>
                      <a:cubicBezTo>
                        <a:pt x="55" y="21"/>
                        <a:pt x="58" y="27"/>
                        <a:pt x="58" y="34"/>
                      </a:cubicBezTo>
                      <a:cubicBezTo>
                        <a:pt x="58" y="35"/>
                        <a:pt x="58" y="36"/>
                        <a:pt x="58" y="37"/>
                      </a:cubicBezTo>
                      <a:cubicBezTo>
                        <a:pt x="57" y="40"/>
                        <a:pt x="58" y="42"/>
                        <a:pt x="60" y="43"/>
                      </a:cubicBezTo>
                      <a:cubicBezTo>
                        <a:pt x="62" y="45"/>
                        <a:pt x="65" y="45"/>
                        <a:pt x="67" y="43"/>
                      </a:cubicBezTo>
                      <a:cubicBezTo>
                        <a:pt x="68" y="43"/>
                        <a:pt x="70" y="42"/>
                        <a:pt x="71" y="41"/>
                      </a:cubicBezTo>
                      <a:cubicBezTo>
                        <a:pt x="71" y="44"/>
                        <a:pt x="69" y="47"/>
                        <a:pt x="67" y="50"/>
                      </a:cubicBezTo>
                      <a:cubicBezTo>
                        <a:pt x="61" y="55"/>
                        <a:pt x="52" y="55"/>
                        <a:pt x="52" y="55"/>
                      </a:cubicBezTo>
                      <a:cubicBezTo>
                        <a:pt x="51" y="55"/>
                        <a:pt x="51" y="55"/>
                        <a:pt x="51" y="55"/>
                      </a:cubicBezTo>
                      <a:cubicBezTo>
                        <a:pt x="51" y="55"/>
                        <a:pt x="51" y="55"/>
                        <a:pt x="50" y="55"/>
                      </a:cubicBezTo>
                      <a:cubicBezTo>
                        <a:pt x="48" y="56"/>
                        <a:pt x="47" y="57"/>
                        <a:pt x="46" y="59"/>
                      </a:cubicBezTo>
                      <a:cubicBezTo>
                        <a:pt x="46" y="59"/>
                        <a:pt x="46" y="59"/>
                        <a:pt x="46" y="59"/>
                      </a:cubicBezTo>
                      <a:cubicBezTo>
                        <a:pt x="46" y="59"/>
                        <a:pt x="46" y="60"/>
                        <a:pt x="46" y="60"/>
                      </a:cubicBezTo>
                      <a:cubicBezTo>
                        <a:pt x="46" y="60"/>
                        <a:pt x="46" y="60"/>
                        <a:pt x="46" y="60"/>
                      </a:cubicBezTo>
                      <a:cubicBezTo>
                        <a:pt x="46" y="61"/>
                        <a:pt x="46" y="61"/>
                        <a:pt x="46" y="61"/>
                      </a:cubicBezTo>
                      <a:cubicBezTo>
                        <a:pt x="46" y="61"/>
                        <a:pt x="46" y="61"/>
                        <a:pt x="46" y="61"/>
                      </a:cubicBezTo>
                      <a:cubicBezTo>
                        <a:pt x="46" y="61"/>
                        <a:pt x="46" y="61"/>
                        <a:pt x="46" y="61"/>
                      </a:cubicBezTo>
                      <a:cubicBezTo>
                        <a:pt x="46" y="70"/>
                        <a:pt x="46" y="70"/>
                        <a:pt x="46" y="70"/>
                      </a:cubicBezTo>
                      <a:cubicBezTo>
                        <a:pt x="6" y="70"/>
                        <a:pt x="6" y="70"/>
                        <a:pt x="6" y="70"/>
                      </a:cubicBezTo>
                      <a:cubicBezTo>
                        <a:pt x="3" y="70"/>
                        <a:pt x="0" y="73"/>
                        <a:pt x="0" y="76"/>
                      </a:cubicBezTo>
                      <a:cubicBezTo>
                        <a:pt x="0" y="80"/>
                        <a:pt x="3" y="82"/>
                        <a:pt x="6" y="82"/>
                      </a:cubicBezTo>
                      <a:cubicBezTo>
                        <a:pt x="1168" y="82"/>
                        <a:pt x="1168" y="82"/>
                        <a:pt x="1168" y="82"/>
                      </a:cubicBezTo>
                      <a:cubicBezTo>
                        <a:pt x="1172" y="82"/>
                        <a:pt x="1174" y="80"/>
                        <a:pt x="1174" y="76"/>
                      </a:cubicBezTo>
                      <a:cubicBezTo>
                        <a:pt x="1174" y="73"/>
                        <a:pt x="1172" y="70"/>
                        <a:pt x="1168" y="7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77" name="Group 676">
                  <a:extLst>
                    <a:ext uri="{FF2B5EF4-FFF2-40B4-BE49-F238E27FC236}">
                      <a16:creationId xmlns:a16="http://schemas.microsoft.com/office/drawing/2014/main" id="{66B7654F-5000-4AB3-BCFE-90A4D86D5084}"/>
                    </a:ext>
                  </a:extLst>
                </p:cNvPr>
                <p:cNvGrpSpPr/>
                <p:nvPr/>
              </p:nvGrpSpPr>
              <p:grpSpPr>
                <a:xfrm>
                  <a:off x="-5470525" y="3948113"/>
                  <a:ext cx="4384675" cy="1011237"/>
                  <a:chOff x="-5470525" y="3948113"/>
                  <a:chExt cx="4384675" cy="1011237"/>
                </a:xfrm>
                <a:solidFill>
                  <a:schemeClr val="tx1"/>
                </a:solidFill>
              </p:grpSpPr>
              <p:sp>
                <p:nvSpPr>
                  <p:cNvPr id="678" name="Freeform 257">
                    <a:extLst>
                      <a:ext uri="{FF2B5EF4-FFF2-40B4-BE49-F238E27FC236}">
                        <a16:creationId xmlns:a16="http://schemas.microsoft.com/office/drawing/2014/main" id="{28122E56-5607-4BD7-927B-C32709477A4D}"/>
                      </a:ext>
                    </a:extLst>
                  </p:cNvPr>
                  <p:cNvSpPr>
                    <a:spLocks/>
                  </p:cNvSpPr>
                  <p:nvPr/>
                </p:nvSpPr>
                <p:spPr bwMode="auto">
                  <a:xfrm>
                    <a:off x="-5470525" y="4648200"/>
                    <a:ext cx="127000" cy="90488"/>
                  </a:xfrm>
                  <a:custGeom>
                    <a:avLst/>
                    <a:gdLst>
                      <a:gd name="T0" fmla="*/ 26 w 30"/>
                      <a:gd name="T1" fmla="*/ 21 h 21"/>
                      <a:gd name="T2" fmla="*/ 23 w 30"/>
                      <a:gd name="T3" fmla="*/ 20 h 21"/>
                      <a:gd name="T4" fmla="*/ 15 w 30"/>
                      <a:gd name="T5" fmla="*/ 12 h 21"/>
                      <a:gd name="T6" fmla="*/ 7 w 30"/>
                      <a:gd name="T7" fmla="*/ 20 h 21"/>
                      <a:gd name="T8" fmla="*/ 1 w 30"/>
                      <a:gd name="T9" fmla="*/ 20 h 21"/>
                      <a:gd name="T10" fmla="*/ 1 w 30"/>
                      <a:gd name="T11" fmla="*/ 14 h 21"/>
                      <a:gd name="T12" fmla="*/ 15 w 30"/>
                      <a:gd name="T13" fmla="*/ 0 h 21"/>
                      <a:gd name="T14" fmla="*/ 28 w 30"/>
                      <a:gd name="T15" fmla="*/ 14 h 21"/>
                      <a:gd name="T16" fmla="*/ 28 w 30"/>
                      <a:gd name="T17" fmla="*/ 20 h 21"/>
                      <a:gd name="T18" fmla="*/ 26 w 30"/>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1">
                        <a:moveTo>
                          <a:pt x="26" y="21"/>
                        </a:moveTo>
                        <a:cubicBezTo>
                          <a:pt x="25" y="21"/>
                          <a:pt x="24" y="20"/>
                          <a:pt x="23" y="20"/>
                        </a:cubicBezTo>
                        <a:cubicBezTo>
                          <a:pt x="15" y="12"/>
                          <a:pt x="15" y="12"/>
                          <a:pt x="15" y="12"/>
                        </a:cubicBezTo>
                        <a:cubicBezTo>
                          <a:pt x="7" y="20"/>
                          <a:pt x="7" y="20"/>
                          <a:pt x="7" y="20"/>
                        </a:cubicBezTo>
                        <a:cubicBezTo>
                          <a:pt x="6" y="21"/>
                          <a:pt x="3" y="21"/>
                          <a:pt x="1" y="20"/>
                        </a:cubicBezTo>
                        <a:cubicBezTo>
                          <a:pt x="0" y="18"/>
                          <a:pt x="0" y="15"/>
                          <a:pt x="1" y="14"/>
                        </a:cubicBezTo>
                        <a:cubicBezTo>
                          <a:pt x="15" y="0"/>
                          <a:pt x="15" y="0"/>
                          <a:pt x="15" y="0"/>
                        </a:cubicBezTo>
                        <a:cubicBezTo>
                          <a:pt x="28" y="14"/>
                          <a:pt x="28" y="14"/>
                          <a:pt x="28" y="14"/>
                        </a:cubicBezTo>
                        <a:cubicBezTo>
                          <a:pt x="30" y="15"/>
                          <a:pt x="30" y="18"/>
                          <a:pt x="28" y="20"/>
                        </a:cubicBezTo>
                        <a:cubicBezTo>
                          <a:pt x="28" y="20"/>
                          <a:pt x="27" y="21"/>
                          <a:pt x="2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259">
                    <a:extLst>
                      <a:ext uri="{FF2B5EF4-FFF2-40B4-BE49-F238E27FC236}">
                        <a16:creationId xmlns:a16="http://schemas.microsoft.com/office/drawing/2014/main" id="{F5955E06-D3E5-4DC5-8910-ECE1CE7C046B}"/>
                      </a:ext>
                    </a:extLst>
                  </p:cNvPr>
                  <p:cNvSpPr>
                    <a:spLocks/>
                  </p:cNvSpPr>
                  <p:nvPr/>
                </p:nvSpPr>
                <p:spPr bwMode="auto">
                  <a:xfrm>
                    <a:off x="-4937125" y="4584700"/>
                    <a:ext cx="127000" cy="88900"/>
                  </a:xfrm>
                  <a:custGeom>
                    <a:avLst/>
                    <a:gdLst>
                      <a:gd name="T0" fmla="*/ 25 w 30"/>
                      <a:gd name="T1" fmla="*/ 21 h 21"/>
                      <a:gd name="T2" fmla="*/ 23 w 30"/>
                      <a:gd name="T3" fmla="*/ 19 h 21"/>
                      <a:gd name="T4" fmla="*/ 15 w 30"/>
                      <a:gd name="T5" fmla="*/ 12 h 21"/>
                      <a:gd name="T6" fmla="*/ 7 w 30"/>
                      <a:gd name="T7" fmla="*/ 19 h 21"/>
                      <a:gd name="T8" fmla="*/ 1 w 30"/>
                      <a:gd name="T9" fmla="*/ 19 h 21"/>
                      <a:gd name="T10" fmla="*/ 1 w 30"/>
                      <a:gd name="T11" fmla="*/ 14 h 21"/>
                      <a:gd name="T12" fmla="*/ 15 w 30"/>
                      <a:gd name="T13" fmla="*/ 0 h 21"/>
                      <a:gd name="T14" fmla="*/ 28 w 30"/>
                      <a:gd name="T15" fmla="*/ 14 h 21"/>
                      <a:gd name="T16" fmla="*/ 28 w 30"/>
                      <a:gd name="T17" fmla="*/ 19 h 21"/>
                      <a:gd name="T18" fmla="*/ 25 w 30"/>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1">
                        <a:moveTo>
                          <a:pt x="25" y="21"/>
                        </a:moveTo>
                        <a:cubicBezTo>
                          <a:pt x="24" y="21"/>
                          <a:pt x="23" y="20"/>
                          <a:pt x="23" y="19"/>
                        </a:cubicBezTo>
                        <a:cubicBezTo>
                          <a:pt x="15" y="12"/>
                          <a:pt x="15" y="12"/>
                          <a:pt x="15" y="12"/>
                        </a:cubicBezTo>
                        <a:cubicBezTo>
                          <a:pt x="7" y="19"/>
                          <a:pt x="7" y="19"/>
                          <a:pt x="7" y="19"/>
                        </a:cubicBezTo>
                        <a:cubicBezTo>
                          <a:pt x="5" y="21"/>
                          <a:pt x="3" y="21"/>
                          <a:pt x="1" y="19"/>
                        </a:cubicBezTo>
                        <a:cubicBezTo>
                          <a:pt x="0" y="18"/>
                          <a:pt x="0" y="15"/>
                          <a:pt x="1" y="14"/>
                        </a:cubicBezTo>
                        <a:cubicBezTo>
                          <a:pt x="15" y="0"/>
                          <a:pt x="15" y="0"/>
                          <a:pt x="15" y="0"/>
                        </a:cubicBezTo>
                        <a:cubicBezTo>
                          <a:pt x="28" y="14"/>
                          <a:pt x="28" y="14"/>
                          <a:pt x="28" y="14"/>
                        </a:cubicBezTo>
                        <a:cubicBezTo>
                          <a:pt x="30" y="15"/>
                          <a:pt x="30" y="18"/>
                          <a:pt x="28" y="19"/>
                        </a:cubicBezTo>
                        <a:cubicBezTo>
                          <a:pt x="27" y="20"/>
                          <a:pt x="26" y="21"/>
                          <a:pt x="2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261">
                    <a:extLst>
                      <a:ext uri="{FF2B5EF4-FFF2-40B4-BE49-F238E27FC236}">
                        <a16:creationId xmlns:a16="http://schemas.microsoft.com/office/drawing/2014/main" id="{81550916-BC30-4F70-8FC3-C803EA1F5258}"/>
                      </a:ext>
                    </a:extLst>
                  </p:cNvPr>
                  <p:cNvSpPr>
                    <a:spLocks/>
                  </p:cNvSpPr>
                  <p:nvPr/>
                </p:nvSpPr>
                <p:spPr bwMode="auto">
                  <a:xfrm>
                    <a:off x="-5178425" y="4432300"/>
                    <a:ext cx="96838" cy="96838"/>
                  </a:xfrm>
                  <a:custGeom>
                    <a:avLst/>
                    <a:gdLst>
                      <a:gd name="T0" fmla="*/ 19 w 23"/>
                      <a:gd name="T1" fmla="*/ 23 h 23"/>
                      <a:gd name="T2" fmla="*/ 15 w 23"/>
                      <a:gd name="T3" fmla="*/ 19 h 23"/>
                      <a:gd name="T4" fmla="*/ 15 w 23"/>
                      <a:gd name="T5" fmla="*/ 8 h 23"/>
                      <a:gd name="T6" fmla="*/ 4 w 23"/>
                      <a:gd name="T7" fmla="*/ 8 h 23"/>
                      <a:gd name="T8" fmla="*/ 0 w 23"/>
                      <a:gd name="T9" fmla="*/ 4 h 23"/>
                      <a:gd name="T10" fmla="*/ 4 w 23"/>
                      <a:gd name="T11" fmla="*/ 0 h 23"/>
                      <a:gd name="T12" fmla="*/ 23 w 23"/>
                      <a:gd name="T13" fmla="*/ 0 h 23"/>
                      <a:gd name="T14" fmla="*/ 23 w 23"/>
                      <a:gd name="T15" fmla="*/ 19 h 23"/>
                      <a:gd name="T16" fmla="*/ 19 w 2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9" y="23"/>
                        </a:moveTo>
                        <a:cubicBezTo>
                          <a:pt x="17" y="23"/>
                          <a:pt x="15" y="21"/>
                          <a:pt x="15" y="19"/>
                        </a:cubicBezTo>
                        <a:cubicBezTo>
                          <a:pt x="15" y="8"/>
                          <a:pt x="15" y="8"/>
                          <a:pt x="15" y="8"/>
                        </a:cubicBezTo>
                        <a:cubicBezTo>
                          <a:pt x="4" y="8"/>
                          <a:pt x="4" y="8"/>
                          <a:pt x="4" y="8"/>
                        </a:cubicBezTo>
                        <a:cubicBezTo>
                          <a:pt x="2" y="8"/>
                          <a:pt x="0" y="6"/>
                          <a:pt x="0" y="4"/>
                        </a:cubicBezTo>
                        <a:cubicBezTo>
                          <a:pt x="0" y="1"/>
                          <a:pt x="2" y="0"/>
                          <a:pt x="4" y="0"/>
                        </a:cubicBezTo>
                        <a:cubicBezTo>
                          <a:pt x="23" y="0"/>
                          <a:pt x="23" y="0"/>
                          <a:pt x="23" y="0"/>
                        </a:cubicBezTo>
                        <a:cubicBezTo>
                          <a:pt x="23" y="19"/>
                          <a:pt x="23" y="19"/>
                          <a:pt x="23" y="19"/>
                        </a:cubicBezTo>
                        <a:cubicBezTo>
                          <a:pt x="23" y="21"/>
                          <a:pt x="22" y="23"/>
                          <a:pt x="1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299">
                    <a:extLst>
                      <a:ext uri="{FF2B5EF4-FFF2-40B4-BE49-F238E27FC236}">
                        <a16:creationId xmlns:a16="http://schemas.microsoft.com/office/drawing/2014/main" id="{2BE50236-BADF-4E37-A7C8-2E61CE8666C8}"/>
                      </a:ext>
                    </a:extLst>
                  </p:cNvPr>
                  <p:cNvSpPr>
                    <a:spLocks/>
                  </p:cNvSpPr>
                  <p:nvPr/>
                </p:nvSpPr>
                <p:spPr bwMode="auto">
                  <a:xfrm>
                    <a:off x="-5094288" y="4776788"/>
                    <a:ext cx="127000" cy="88900"/>
                  </a:xfrm>
                  <a:custGeom>
                    <a:avLst/>
                    <a:gdLst>
                      <a:gd name="T0" fmla="*/ 4 w 30"/>
                      <a:gd name="T1" fmla="*/ 21 h 21"/>
                      <a:gd name="T2" fmla="*/ 1 w 30"/>
                      <a:gd name="T3" fmla="*/ 19 h 21"/>
                      <a:gd name="T4" fmla="*/ 1 w 30"/>
                      <a:gd name="T5" fmla="*/ 14 h 21"/>
                      <a:gd name="T6" fmla="*/ 15 w 30"/>
                      <a:gd name="T7" fmla="*/ 0 h 21"/>
                      <a:gd name="T8" fmla="*/ 28 w 30"/>
                      <a:gd name="T9" fmla="*/ 14 h 21"/>
                      <a:gd name="T10" fmla="*/ 28 w 30"/>
                      <a:gd name="T11" fmla="*/ 19 h 21"/>
                      <a:gd name="T12" fmla="*/ 23 w 30"/>
                      <a:gd name="T13" fmla="*/ 19 h 21"/>
                      <a:gd name="T14" fmla="*/ 15 w 30"/>
                      <a:gd name="T15" fmla="*/ 12 h 21"/>
                      <a:gd name="T16" fmla="*/ 7 w 30"/>
                      <a:gd name="T17" fmla="*/ 19 h 21"/>
                      <a:gd name="T18" fmla="*/ 4 w 30"/>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1">
                        <a:moveTo>
                          <a:pt x="4" y="21"/>
                        </a:moveTo>
                        <a:cubicBezTo>
                          <a:pt x="3" y="21"/>
                          <a:pt x="2" y="20"/>
                          <a:pt x="1" y="19"/>
                        </a:cubicBezTo>
                        <a:cubicBezTo>
                          <a:pt x="0" y="18"/>
                          <a:pt x="0" y="15"/>
                          <a:pt x="1" y="14"/>
                        </a:cubicBezTo>
                        <a:cubicBezTo>
                          <a:pt x="15" y="0"/>
                          <a:pt x="15" y="0"/>
                          <a:pt x="15" y="0"/>
                        </a:cubicBezTo>
                        <a:cubicBezTo>
                          <a:pt x="28" y="14"/>
                          <a:pt x="28" y="14"/>
                          <a:pt x="28" y="14"/>
                        </a:cubicBezTo>
                        <a:cubicBezTo>
                          <a:pt x="30" y="15"/>
                          <a:pt x="30" y="18"/>
                          <a:pt x="28" y="19"/>
                        </a:cubicBezTo>
                        <a:cubicBezTo>
                          <a:pt x="27" y="21"/>
                          <a:pt x="24" y="21"/>
                          <a:pt x="23" y="19"/>
                        </a:cubicBezTo>
                        <a:cubicBezTo>
                          <a:pt x="15" y="12"/>
                          <a:pt x="15" y="12"/>
                          <a:pt x="15" y="12"/>
                        </a:cubicBezTo>
                        <a:cubicBezTo>
                          <a:pt x="7" y="19"/>
                          <a:pt x="7" y="19"/>
                          <a:pt x="7" y="19"/>
                        </a:cubicBezTo>
                        <a:cubicBezTo>
                          <a:pt x="6" y="20"/>
                          <a:pt x="5" y="21"/>
                          <a:pt x="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2" name="Group 681">
                    <a:extLst>
                      <a:ext uri="{FF2B5EF4-FFF2-40B4-BE49-F238E27FC236}">
                        <a16:creationId xmlns:a16="http://schemas.microsoft.com/office/drawing/2014/main" id="{C515C566-F76E-4C76-A311-B7175FC7F2BE}"/>
                      </a:ext>
                    </a:extLst>
                  </p:cNvPr>
                  <p:cNvGrpSpPr/>
                  <p:nvPr/>
                </p:nvGrpSpPr>
                <p:grpSpPr>
                  <a:xfrm>
                    <a:off x="-4359275" y="3948113"/>
                    <a:ext cx="3273425" cy="1011237"/>
                    <a:chOff x="-4359275" y="3948113"/>
                    <a:chExt cx="3273425" cy="1011237"/>
                  </a:xfrm>
                  <a:grpFill/>
                </p:grpSpPr>
                <p:sp>
                  <p:nvSpPr>
                    <p:cNvPr id="683" name="Freeform 263">
                      <a:extLst>
                        <a:ext uri="{FF2B5EF4-FFF2-40B4-BE49-F238E27FC236}">
                          <a16:creationId xmlns:a16="http://schemas.microsoft.com/office/drawing/2014/main" id="{F525F09B-D3D0-49DA-AAD8-4E71C9226980}"/>
                        </a:ext>
                      </a:extLst>
                    </p:cNvPr>
                    <p:cNvSpPr>
                      <a:spLocks/>
                    </p:cNvSpPr>
                    <p:nvPr/>
                  </p:nvSpPr>
                  <p:spPr bwMode="auto">
                    <a:xfrm>
                      <a:off x="-1471613" y="4873625"/>
                      <a:ext cx="127000" cy="85725"/>
                    </a:xfrm>
                    <a:custGeom>
                      <a:avLst/>
                      <a:gdLst>
                        <a:gd name="T0" fmla="*/ 15 w 30"/>
                        <a:gd name="T1" fmla="*/ 20 h 20"/>
                        <a:gd name="T2" fmla="*/ 2 w 30"/>
                        <a:gd name="T3" fmla="*/ 7 h 20"/>
                        <a:gd name="T4" fmla="*/ 2 w 30"/>
                        <a:gd name="T5" fmla="*/ 1 h 20"/>
                        <a:gd name="T6" fmla="*/ 7 w 30"/>
                        <a:gd name="T7" fmla="*/ 1 h 20"/>
                        <a:gd name="T8" fmla="*/ 15 w 30"/>
                        <a:gd name="T9" fmla="*/ 9 h 20"/>
                        <a:gd name="T10" fmla="*/ 23 w 30"/>
                        <a:gd name="T11" fmla="*/ 1 h 20"/>
                        <a:gd name="T12" fmla="*/ 29 w 30"/>
                        <a:gd name="T13" fmla="*/ 1 h 20"/>
                        <a:gd name="T14" fmla="*/ 29 w 30"/>
                        <a:gd name="T15" fmla="*/ 7 h 20"/>
                        <a:gd name="T16" fmla="*/ 15 w 30"/>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0">
                          <a:moveTo>
                            <a:pt x="15" y="20"/>
                          </a:moveTo>
                          <a:cubicBezTo>
                            <a:pt x="2" y="7"/>
                            <a:pt x="2" y="7"/>
                            <a:pt x="2" y="7"/>
                          </a:cubicBezTo>
                          <a:cubicBezTo>
                            <a:pt x="0" y="5"/>
                            <a:pt x="0" y="3"/>
                            <a:pt x="2" y="1"/>
                          </a:cubicBezTo>
                          <a:cubicBezTo>
                            <a:pt x="3" y="0"/>
                            <a:pt x="6" y="0"/>
                            <a:pt x="7" y="1"/>
                          </a:cubicBezTo>
                          <a:cubicBezTo>
                            <a:pt x="15" y="9"/>
                            <a:pt x="15" y="9"/>
                            <a:pt x="15" y="9"/>
                          </a:cubicBezTo>
                          <a:cubicBezTo>
                            <a:pt x="23" y="1"/>
                            <a:pt x="23" y="1"/>
                            <a:pt x="23" y="1"/>
                          </a:cubicBezTo>
                          <a:cubicBezTo>
                            <a:pt x="25" y="0"/>
                            <a:pt x="27" y="0"/>
                            <a:pt x="29" y="1"/>
                          </a:cubicBezTo>
                          <a:cubicBezTo>
                            <a:pt x="30" y="3"/>
                            <a:pt x="30" y="5"/>
                            <a:pt x="29" y="7"/>
                          </a:cubicBezTo>
                          <a:lnTo>
                            <a:pt x="1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265">
                      <a:extLst>
                        <a:ext uri="{FF2B5EF4-FFF2-40B4-BE49-F238E27FC236}">
                          <a16:creationId xmlns:a16="http://schemas.microsoft.com/office/drawing/2014/main" id="{8F6062C2-D5A3-42E8-8076-D3DDCA905F8B}"/>
                        </a:ext>
                      </a:extLst>
                    </p:cNvPr>
                    <p:cNvSpPr>
                      <a:spLocks/>
                    </p:cNvSpPr>
                    <p:nvPr/>
                  </p:nvSpPr>
                  <p:spPr bwMode="auto">
                    <a:xfrm>
                      <a:off x="-1212850" y="4751388"/>
                      <a:ext cx="127000" cy="88900"/>
                    </a:xfrm>
                    <a:custGeom>
                      <a:avLst/>
                      <a:gdLst>
                        <a:gd name="T0" fmla="*/ 15 w 30"/>
                        <a:gd name="T1" fmla="*/ 21 h 21"/>
                        <a:gd name="T2" fmla="*/ 2 w 30"/>
                        <a:gd name="T3" fmla="*/ 7 h 21"/>
                        <a:gd name="T4" fmla="*/ 2 w 30"/>
                        <a:gd name="T5" fmla="*/ 1 h 21"/>
                        <a:gd name="T6" fmla="*/ 7 w 30"/>
                        <a:gd name="T7" fmla="*/ 1 h 21"/>
                        <a:gd name="T8" fmla="*/ 15 w 30"/>
                        <a:gd name="T9" fmla="*/ 9 h 21"/>
                        <a:gd name="T10" fmla="*/ 23 w 30"/>
                        <a:gd name="T11" fmla="*/ 1 h 21"/>
                        <a:gd name="T12" fmla="*/ 29 w 30"/>
                        <a:gd name="T13" fmla="*/ 1 h 21"/>
                        <a:gd name="T14" fmla="*/ 29 w 30"/>
                        <a:gd name="T15" fmla="*/ 7 h 21"/>
                        <a:gd name="T16" fmla="*/ 15 w 3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1">
                          <a:moveTo>
                            <a:pt x="15" y="21"/>
                          </a:moveTo>
                          <a:cubicBezTo>
                            <a:pt x="2" y="7"/>
                            <a:pt x="2" y="7"/>
                            <a:pt x="2" y="7"/>
                          </a:cubicBezTo>
                          <a:cubicBezTo>
                            <a:pt x="0" y="5"/>
                            <a:pt x="0" y="3"/>
                            <a:pt x="2" y="1"/>
                          </a:cubicBezTo>
                          <a:cubicBezTo>
                            <a:pt x="3" y="0"/>
                            <a:pt x="6" y="0"/>
                            <a:pt x="7" y="1"/>
                          </a:cubicBezTo>
                          <a:cubicBezTo>
                            <a:pt x="15" y="9"/>
                            <a:pt x="15" y="9"/>
                            <a:pt x="15" y="9"/>
                          </a:cubicBezTo>
                          <a:cubicBezTo>
                            <a:pt x="23" y="1"/>
                            <a:pt x="23" y="1"/>
                            <a:pt x="23" y="1"/>
                          </a:cubicBezTo>
                          <a:cubicBezTo>
                            <a:pt x="25" y="0"/>
                            <a:pt x="27" y="0"/>
                            <a:pt x="29" y="1"/>
                          </a:cubicBezTo>
                          <a:cubicBezTo>
                            <a:pt x="30" y="3"/>
                            <a:pt x="30" y="5"/>
                            <a:pt x="29" y="7"/>
                          </a:cubicBezTo>
                          <a:lnTo>
                            <a:pt x="1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267">
                      <a:extLst>
                        <a:ext uri="{FF2B5EF4-FFF2-40B4-BE49-F238E27FC236}">
                          <a16:creationId xmlns:a16="http://schemas.microsoft.com/office/drawing/2014/main" id="{D99BC831-420A-4F5A-B690-9FCDC3FED62A}"/>
                        </a:ext>
                      </a:extLst>
                    </p:cNvPr>
                    <p:cNvSpPr>
                      <a:spLocks/>
                    </p:cNvSpPr>
                    <p:nvPr/>
                  </p:nvSpPr>
                  <p:spPr bwMode="auto">
                    <a:xfrm>
                      <a:off x="-1365250" y="4622800"/>
                      <a:ext cx="127000" cy="90488"/>
                    </a:xfrm>
                    <a:custGeom>
                      <a:avLst/>
                      <a:gdLst>
                        <a:gd name="T0" fmla="*/ 15 w 30"/>
                        <a:gd name="T1" fmla="*/ 21 h 21"/>
                        <a:gd name="T2" fmla="*/ 2 w 30"/>
                        <a:gd name="T3" fmla="*/ 7 h 21"/>
                        <a:gd name="T4" fmla="*/ 2 w 30"/>
                        <a:gd name="T5" fmla="*/ 1 h 21"/>
                        <a:gd name="T6" fmla="*/ 7 w 30"/>
                        <a:gd name="T7" fmla="*/ 1 h 21"/>
                        <a:gd name="T8" fmla="*/ 15 w 30"/>
                        <a:gd name="T9" fmla="*/ 9 h 21"/>
                        <a:gd name="T10" fmla="*/ 23 w 30"/>
                        <a:gd name="T11" fmla="*/ 1 h 21"/>
                        <a:gd name="T12" fmla="*/ 29 w 30"/>
                        <a:gd name="T13" fmla="*/ 1 h 21"/>
                        <a:gd name="T14" fmla="*/ 29 w 30"/>
                        <a:gd name="T15" fmla="*/ 7 h 21"/>
                        <a:gd name="T16" fmla="*/ 15 w 3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1">
                          <a:moveTo>
                            <a:pt x="15" y="21"/>
                          </a:moveTo>
                          <a:cubicBezTo>
                            <a:pt x="2" y="7"/>
                            <a:pt x="2" y="7"/>
                            <a:pt x="2" y="7"/>
                          </a:cubicBezTo>
                          <a:cubicBezTo>
                            <a:pt x="0" y="5"/>
                            <a:pt x="0" y="3"/>
                            <a:pt x="2" y="1"/>
                          </a:cubicBezTo>
                          <a:cubicBezTo>
                            <a:pt x="3" y="0"/>
                            <a:pt x="6" y="0"/>
                            <a:pt x="7" y="1"/>
                          </a:cubicBezTo>
                          <a:cubicBezTo>
                            <a:pt x="15" y="9"/>
                            <a:pt x="15" y="9"/>
                            <a:pt x="15" y="9"/>
                          </a:cubicBezTo>
                          <a:cubicBezTo>
                            <a:pt x="23" y="1"/>
                            <a:pt x="23" y="1"/>
                            <a:pt x="23" y="1"/>
                          </a:cubicBezTo>
                          <a:cubicBezTo>
                            <a:pt x="25" y="0"/>
                            <a:pt x="27" y="0"/>
                            <a:pt x="29" y="1"/>
                          </a:cubicBezTo>
                          <a:cubicBezTo>
                            <a:pt x="30" y="3"/>
                            <a:pt x="30" y="5"/>
                            <a:pt x="29" y="7"/>
                          </a:cubicBezTo>
                          <a:lnTo>
                            <a:pt x="1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269">
                      <a:extLst>
                        <a:ext uri="{FF2B5EF4-FFF2-40B4-BE49-F238E27FC236}">
                          <a16:creationId xmlns:a16="http://schemas.microsoft.com/office/drawing/2014/main" id="{1F338594-327D-47C3-95C0-29E940C723E0}"/>
                        </a:ext>
                      </a:extLst>
                    </p:cNvPr>
                    <p:cNvSpPr>
                      <a:spLocks/>
                    </p:cNvSpPr>
                    <p:nvPr/>
                  </p:nvSpPr>
                  <p:spPr bwMode="auto">
                    <a:xfrm>
                      <a:off x="-1712913" y="4660900"/>
                      <a:ext cx="127000" cy="85725"/>
                    </a:xfrm>
                    <a:custGeom>
                      <a:avLst/>
                      <a:gdLst>
                        <a:gd name="T0" fmla="*/ 15 w 30"/>
                        <a:gd name="T1" fmla="*/ 20 h 20"/>
                        <a:gd name="T2" fmla="*/ 2 w 30"/>
                        <a:gd name="T3" fmla="*/ 7 h 20"/>
                        <a:gd name="T4" fmla="*/ 2 w 30"/>
                        <a:gd name="T5" fmla="*/ 1 h 20"/>
                        <a:gd name="T6" fmla="*/ 8 w 30"/>
                        <a:gd name="T7" fmla="*/ 1 h 20"/>
                        <a:gd name="T8" fmla="*/ 15 w 30"/>
                        <a:gd name="T9" fmla="*/ 9 h 20"/>
                        <a:gd name="T10" fmla="*/ 23 w 30"/>
                        <a:gd name="T11" fmla="*/ 1 h 20"/>
                        <a:gd name="T12" fmla="*/ 29 w 30"/>
                        <a:gd name="T13" fmla="*/ 1 h 20"/>
                        <a:gd name="T14" fmla="*/ 29 w 30"/>
                        <a:gd name="T15" fmla="*/ 7 h 20"/>
                        <a:gd name="T16" fmla="*/ 15 w 30"/>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0">
                          <a:moveTo>
                            <a:pt x="15" y="20"/>
                          </a:moveTo>
                          <a:cubicBezTo>
                            <a:pt x="2" y="7"/>
                            <a:pt x="2" y="7"/>
                            <a:pt x="2" y="7"/>
                          </a:cubicBezTo>
                          <a:cubicBezTo>
                            <a:pt x="0" y="5"/>
                            <a:pt x="0" y="3"/>
                            <a:pt x="2" y="1"/>
                          </a:cubicBezTo>
                          <a:cubicBezTo>
                            <a:pt x="3" y="0"/>
                            <a:pt x="6" y="0"/>
                            <a:pt x="8" y="1"/>
                          </a:cubicBezTo>
                          <a:cubicBezTo>
                            <a:pt x="15" y="9"/>
                            <a:pt x="15" y="9"/>
                            <a:pt x="15" y="9"/>
                          </a:cubicBezTo>
                          <a:cubicBezTo>
                            <a:pt x="23" y="1"/>
                            <a:pt x="23" y="1"/>
                            <a:pt x="23" y="1"/>
                          </a:cubicBezTo>
                          <a:cubicBezTo>
                            <a:pt x="25" y="0"/>
                            <a:pt x="27" y="0"/>
                            <a:pt x="29" y="1"/>
                          </a:cubicBezTo>
                          <a:cubicBezTo>
                            <a:pt x="30" y="3"/>
                            <a:pt x="30" y="5"/>
                            <a:pt x="29" y="7"/>
                          </a:cubicBezTo>
                          <a:lnTo>
                            <a:pt x="1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271">
                      <a:extLst>
                        <a:ext uri="{FF2B5EF4-FFF2-40B4-BE49-F238E27FC236}">
                          <a16:creationId xmlns:a16="http://schemas.microsoft.com/office/drawing/2014/main" id="{5B996C14-78E8-4911-AB00-4893DC8C761A}"/>
                        </a:ext>
                      </a:extLst>
                    </p:cNvPr>
                    <p:cNvSpPr>
                      <a:spLocks/>
                    </p:cNvSpPr>
                    <p:nvPr/>
                  </p:nvSpPr>
                  <p:spPr bwMode="auto">
                    <a:xfrm>
                      <a:off x="-4359275" y="4622800"/>
                      <a:ext cx="96838" cy="103188"/>
                    </a:xfrm>
                    <a:custGeom>
                      <a:avLst/>
                      <a:gdLst>
                        <a:gd name="T0" fmla="*/ 19 w 23"/>
                        <a:gd name="T1" fmla="*/ 24 h 24"/>
                        <a:gd name="T2" fmla="*/ 15 w 23"/>
                        <a:gd name="T3" fmla="*/ 20 h 24"/>
                        <a:gd name="T4" fmla="*/ 15 w 23"/>
                        <a:gd name="T5" fmla="*/ 8 h 24"/>
                        <a:gd name="T6" fmla="*/ 4 w 23"/>
                        <a:gd name="T7" fmla="*/ 8 h 24"/>
                        <a:gd name="T8" fmla="*/ 0 w 23"/>
                        <a:gd name="T9" fmla="*/ 4 h 24"/>
                        <a:gd name="T10" fmla="*/ 4 w 23"/>
                        <a:gd name="T11" fmla="*/ 0 h 24"/>
                        <a:gd name="T12" fmla="*/ 23 w 23"/>
                        <a:gd name="T13" fmla="*/ 0 h 24"/>
                        <a:gd name="T14" fmla="*/ 23 w 23"/>
                        <a:gd name="T15" fmla="*/ 20 h 24"/>
                        <a:gd name="T16" fmla="*/ 19 w 23"/>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4">
                          <a:moveTo>
                            <a:pt x="19" y="24"/>
                          </a:moveTo>
                          <a:cubicBezTo>
                            <a:pt x="17" y="24"/>
                            <a:pt x="15" y="22"/>
                            <a:pt x="15" y="20"/>
                          </a:cubicBezTo>
                          <a:cubicBezTo>
                            <a:pt x="15" y="8"/>
                            <a:pt x="15" y="8"/>
                            <a:pt x="15" y="8"/>
                          </a:cubicBezTo>
                          <a:cubicBezTo>
                            <a:pt x="4" y="8"/>
                            <a:pt x="4" y="8"/>
                            <a:pt x="4" y="8"/>
                          </a:cubicBezTo>
                          <a:cubicBezTo>
                            <a:pt x="2" y="8"/>
                            <a:pt x="0" y="7"/>
                            <a:pt x="0" y="4"/>
                          </a:cubicBezTo>
                          <a:cubicBezTo>
                            <a:pt x="0" y="2"/>
                            <a:pt x="2" y="0"/>
                            <a:pt x="4" y="0"/>
                          </a:cubicBezTo>
                          <a:cubicBezTo>
                            <a:pt x="23" y="0"/>
                            <a:pt x="23" y="0"/>
                            <a:pt x="23" y="0"/>
                          </a:cubicBezTo>
                          <a:cubicBezTo>
                            <a:pt x="23" y="20"/>
                            <a:pt x="23" y="20"/>
                            <a:pt x="23" y="20"/>
                          </a:cubicBezTo>
                          <a:cubicBezTo>
                            <a:pt x="23" y="22"/>
                            <a:pt x="21" y="24"/>
                            <a:pt x="19"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273">
                      <a:extLst>
                        <a:ext uri="{FF2B5EF4-FFF2-40B4-BE49-F238E27FC236}">
                          <a16:creationId xmlns:a16="http://schemas.microsoft.com/office/drawing/2014/main" id="{58CDADDD-CF92-4B31-8489-9B640016E84B}"/>
                        </a:ext>
                      </a:extLst>
                    </p:cNvPr>
                    <p:cNvSpPr>
                      <a:spLocks/>
                    </p:cNvSpPr>
                    <p:nvPr/>
                  </p:nvSpPr>
                  <p:spPr bwMode="auto">
                    <a:xfrm>
                      <a:off x="-3978275" y="4556125"/>
                      <a:ext cx="98425" cy="96838"/>
                    </a:xfrm>
                    <a:custGeom>
                      <a:avLst/>
                      <a:gdLst>
                        <a:gd name="T0" fmla="*/ 19 w 23"/>
                        <a:gd name="T1" fmla="*/ 23 h 23"/>
                        <a:gd name="T2" fmla="*/ 15 w 23"/>
                        <a:gd name="T3" fmla="*/ 19 h 23"/>
                        <a:gd name="T4" fmla="*/ 15 w 23"/>
                        <a:gd name="T5" fmla="*/ 8 h 23"/>
                        <a:gd name="T6" fmla="*/ 4 w 23"/>
                        <a:gd name="T7" fmla="*/ 8 h 23"/>
                        <a:gd name="T8" fmla="*/ 0 w 23"/>
                        <a:gd name="T9" fmla="*/ 4 h 23"/>
                        <a:gd name="T10" fmla="*/ 4 w 23"/>
                        <a:gd name="T11" fmla="*/ 0 h 23"/>
                        <a:gd name="T12" fmla="*/ 23 w 23"/>
                        <a:gd name="T13" fmla="*/ 0 h 23"/>
                        <a:gd name="T14" fmla="*/ 23 w 23"/>
                        <a:gd name="T15" fmla="*/ 19 h 23"/>
                        <a:gd name="T16" fmla="*/ 19 w 2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9" y="23"/>
                          </a:moveTo>
                          <a:cubicBezTo>
                            <a:pt x="17" y="23"/>
                            <a:pt x="15" y="22"/>
                            <a:pt x="15" y="19"/>
                          </a:cubicBezTo>
                          <a:cubicBezTo>
                            <a:pt x="15" y="8"/>
                            <a:pt x="15" y="8"/>
                            <a:pt x="15" y="8"/>
                          </a:cubicBezTo>
                          <a:cubicBezTo>
                            <a:pt x="4" y="8"/>
                            <a:pt x="4" y="8"/>
                            <a:pt x="4" y="8"/>
                          </a:cubicBezTo>
                          <a:cubicBezTo>
                            <a:pt x="2" y="8"/>
                            <a:pt x="0" y="7"/>
                            <a:pt x="0" y="4"/>
                          </a:cubicBezTo>
                          <a:cubicBezTo>
                            <a:pt x="0" y="2"/>
                            <a:pt x="2" y="0"/>
                            <a:pt x="4" y="0"/>
                          </a:cubicBezTo>
                          <a:cubicBezTo>
                            <a:pt x="23" y="0"/>
                            <a:pt x="23" y="0"/>
                            <a:pt x="23" y="0"/>
                          </a:cubicBezTo>
                          <a:cubicBezTo>
                            <a:pt x="23" y="19"/>
                            <a:pt x="23" y="19"/>
                            <a:pt x="23" y="19"/>
                          </a:cubicBezTo>
                          <a:cubicBezTo>
                            <a:pt x="23" y="22"/>
                            <a:pt x="22" y="23"/>
                            <a:pt x="1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275">
                      <a:extLst>
                        <a:ext uri="{FF2B5EF4-FFF2-40B4-BE49-F238E27FC236}">
                          <a16:creationId xmlns:a16="http://schemas.microsoft.com/office/drawing/2014/main" id="{BC5CE5E4-3251-4DF3-81E5-8EFA4FCE7223}"/>
                        </a:ext>
                      </a:extLst>
                    </p:cNvPr>
                    <p:cNvSpPr>
                      <a:spLocks/>
                    </p:cNvSpPr>
                    <p:nvPr/>
                  </p:nvSpPr>
                  <p:spPr bwMode="auto">
                    <a:xfrm>
                      <a:off x="-2174875" y="4513263"/>
                      <a:ext cx="96838" cy="96838"/>
                    </a:xfrm>
                    <a:custGeom>
                      <a:avLst/>
                      <a:gdLst>
                        <a:gd name="T0" fmla="*/ 23 w 23"/>
                        <a:gd name="T1" fmla="*/ 23 h 23"/>
                        <a:gd name="T2" fmla="*/ 4 w 23"/>
                        <a:gd name="T3" fmla="*/ 23 h 23"/>
                        <a:gd name="T4" fmla="*/ 0 w 23"/>
                        <a:gd name="T5" fmla="*/ 19 h 23"/>
                        <a:gd name="T6" fmla="*/ 4 w 23"/>
                        <a:gd name="T7" fmla="*/ 15 h 23"/>
                        <a:gd name="T8" fmla="*/ 15 w 23"/>
                        <a:gd name="T9" fmla="*/ 15 h 23"/>
                        <a:gd name="T10" fmla="*/ 15 w 23"/>
                        <a:gd name="T11" fmla="*/ 4 h 23"/>
                        <a:gd name="T12" fmla="*/ 19 w 23"/>
                        <a:gd name="T13" fmla="*/ 0 h 23"/>
                        <a:gd name="T14" fmla="*/ 23 w 23"/>
                        <a:gd name="T15" fmla="*/ 4 h 23"/>
                        <a:gd name="T16" fmla="*/ 23 w 2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23" y="23"/>
                          </a:moveTo>
                          <a:cubicBezTo>
                            <a:pt x="4" y="23"/>
                            <a:pt x="4" y="23"/>
                            <a:pt x="4" y="23"/>
                          </a:cubicBezTo>
                          <a:cubicBezTo>
                            <a:pt x="2" y="23"/>
                            <a:pt x="0" y="21"/>
                            <a:pt x="0" y="19"/>
                          </a:cubicBezTo>
                          <a:cubicBezTo>
                            <a:pt x="0" y="17"/>
                            <a:pt x="2" y="15"/>
                            <a:pt x="4" y="15"/>
                          </a:cubicBezTo>
                          <a:cubicBezTo>
                            <a:pt x="15" y="15"/>
                            <a:pt x="15" y="15"/>
                            <a:pt x="15" y="15"/>
                          </a:cubicBezTo>
                          <a:cubicBezTo>
                            <a:pt x="15" y="4"/>
                            <a:pt x="15" y="4"/>
                            <a:pt x="15" y="4"/>
                          </a:cubicBezTo>
                          <a:cubicBezTo>
                            <a:pt x="15" y="2"/>
                            <a:pt x="17" y="0"/>
                            <a:pt x="19" y="0"/>
                          </a:cubicBezTo>
                          <a:cubicBezTo>
                            <a:pt x="21" y="0"/>
                            <a:pt x="23" y="2"/>
                            <a:pt x="23" y="4"/>
                          </a:cubicBez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277">
                      <a:extLst>
                        <a:ext uri="{FF2B5EF4-FFF2-40B4-BE49-F238E27FC236}">
                          <a16:creationId xmlns:a16="http://schemas.microsoft.com/office/drawing/2014/main" id="{39FD2186-3489-4587-820F-4B5985CDC550}"/>
                        </a:ext>
                      </a:extLst>
                    </p:cNvPr>
                    <p:cNvSpPr>
                      <a:spLocks/>
                    </p:cNvSpPr>
                    <p:nvPr/>
                  </p:nvSpPr>
                  <p:spPr bwMode="auto">
                    <a:xfrm>
                      <a:off x="-2522538" y="4835525"/>
                      <a:ext cx="96838" cy="98425"/>
                    </a:xfrm>
                    <a:custGeom>
                      <a:avLst/>
                      <a:gdLst>
                        <a:gd name="T0" fmla="*/ 23 w 23"/>
                        <a:gd name="T1" fmla="*/ 23 h 23"/>
                        <a:gd name="T2" fmla="*/ 4 w 23"/>
                        <a:gd name="T3" fmla="*/ 23 h 23"/>
                        <a:gd name="T4" fmla="*/ 0 w 23"/>
                        <a:gd name="T5" fmla="*/ 19 h 23"/>
                        <a:gd name="T6" fmla="*/ 4 w 23"/>
                        <a:gd name="T7" fmla="*/ 15 h 23"/>
                        <a:gd name="T8" fmla="*/ 15 w 23"/>
                        <a:gd name="T9" fmla="*/ 15 h 23"/>
                        <a:gd name="T10" fmla="*/ 15 w 23"/>
                        <a:gd name="T11" fmla="*/ 4 h 23"/>
                        <a:gd name="T12" fmla="*/ 19 w 23"/>
                        <a:gd name="T13" fmla="*/ 0 h 23"/>
                        <a:gd name="T14" fmla="*/ 23 w 23"/>
                        <a:gd name="T15" fmla="*/ 4 h 23"/>
                        <a:gd name="T16" fmla="*/ 23 w 2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23" y="23"/>
                          </a:moveTo>
                          <a:cubicBezTo>
                            <a:pt x="4" y="23"/>
                            <a:pt x="4" y="23"/>
                            <a:pt x="4" y="23"/>
                          </a:cubicBezTo>
                          <a:cubicBezTo>
                            <a:pt x="1" y="23"/>
                            <a:pt x="0" y="21"/>
                            <a:pt x="0" y="19"/>
                          </a:cubicBezTo>
                          <a:cubicBezTo>
                            <a:pt x="0" y="17"/>
                            <a:pt x="1" y="15"/>
                            <a:pt x="4" y="15"/>
                          </a:cubicBezTo>
                          <a:cubicBezTo>
                            <a:pt x="15" y="15"/>
                            <a:pt x="15" y="15"/>
                            <a:pt x="15" y="15"/>
                          </a:cubicBezTo>
                          <a:cubicBezTo>
                            <a:pt x="15" y="4"/>
                            <a:pt x="15" y="4"/>
                            <a:pt x="15" y="4"/>
                          </a:cubicBezTo>
                          <a:cubicBezTo>
                            <a:pt x="15" y="2"/>
                            <a:pt x="17" y="0"/>
                            <a:pt x="19" y="0"/>
                          </a:cubicBezTo>
                          <a:cubicBezTo>
                            <a:pt x="21" y="0"/>
                            <a:pt x="23" y="2"/>
                            <a:pt x="23" y="4"/>
                          </a:cubicBez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279">
                      <a:extLst>
                        <a:ext uri="{FF2B5EF4-FFF2-40B4-BE49-F238E27FC236}">
                          <a16:creationId xmlns:a16="http://schemas.microsoft.com/office/drawing/2014/main" id="{B19FC232-48EC-4779-A1E1-51FCA51B5EE4}"/>
                        </a:ext>
                      </a:extLst>
                    </p:cNvPr>
                    <p:cNvSpPr>
                      <a:spLocks/>
                    </p:cNvSpPr>
                    <p:nvPr/>
                  </p:nvSpPr>
                  <p:spPr bwMode="auto">
                    <a:xfrm>
                      <a:off x="-1984375" y="4686300"/>
                      <a:ext cx="96838" cy="98425"/>
                    </a:xfrm>
                    <a:custGeom>
                      <a:avLst/>
                      <a:gdLst>
                        <a:gd name="T0" fmla="*/ 23 w 23"/>
                        <a:gd name="T1" fmla="*/ 23 h 23"/>
                        <a:gd name="T2" fmla="*/ 4 w 23"/>
                        <a:gd name="T3" fmla="*/ 23 h 23"/>
                        <a:gd name="T4" fmla="*/ 0 w 23"/>
                        <a:gd name="T5" fmla="*/ 19 h 23"/>
                        <a:gd name="T6" fmla="*/ 4 w 23"/>
                        <a:gd name="T7" fmla="*/ 15 h 23"/>
                        <a:gd name="T8" fmla="*/ 15 w 23"/>
                        <a:gd name="T9" fmla="*/ 15 h 23"/>
                        <a:gd name="T10" fmla="*/ 15 w 23"/>
                        <a:gd name="T11" fmla="*/ 4 h 23"/>
                        <a:gd name="T12" fmla="*/ 19 w 23"/>
                        <a:gd name="T13" fmla="*/ 0 h 23"/>
                        <a:gd name="T14" fmla="*/ 23 w 23"/>
                        <a:gd name="T15" fmla="*/ 4 h 23"/>
                        <a:gd name="T16" fmla="*/ 23 w 2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23" y="23"/>
                          </a:moveTo>
                          <a:cubicBezTo>
                            <a:pt x="4" y="23"/>
                            <a:pt x="4" y="23"/>
                            <a:pt x="4" y="23"/>
                          </a:cubicBezTo>
                          <a:cubicBezTo>
                            <a:pt x="2" y="23"/>
                            <a:pt x="0" y="21"/>
                            <a:pt x="0" y="19"/>
                          </a:cubicBezTo>
                          <a:cubicBezTo>
                            <a:pt x="0" y="17"/>
                            <a:pt x="2" y="15"/>
                            <a:pt x="4" y="15"/>
                          </a:cubicBezTo>
                          <a:cubicBezTo>
                            <a:pt x="15" y="15"/>
                            <a:pt x="15" y="15"/>
                            <a:pt x="15" y="15"/>
                          </a:cubicBezTo>
                          <a:cubicBezTo>
                            <a:pt x="15" y="4"/>
                            <a:pt x="15" y="4"/>
                            <a:pt x="15" y="4"/>
                          </a:cubicBezTo>
                          <a:cubicBezTo>
                            <a:pt x="15" y="2"/>
                            <a:pt x="17" y="0"/>
                            <a:pt x="19" y="0"/>
                          </a:cubicBezTo>
                          <a:cubicBezTo>
                            <a:pt x="21" y="0"/>
                            <a:pt x="23" y="2"/>
                            <a:pt x="23" y="4"/>
                          </a:cubicBez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281">
                      <a:extLst>
                        <a:ext uri="{FF2B5EF4-FFF2-40B4-BE49-F238E27FC236}">
                          <a16:creationId xmlns:a16="http://schemas.microsoft.com/office/drawing/2014/main" id="{5BDEE8FF-5F05-44D8-8C67-D6DF438D5631}"/>
                        </a:ext>
                      </a:extLst>
                    </p:cNvPr>
                    <p:cNvSpPr>
                      <a:spLocks/>
                    </p:cNvSpPr>
                    <p:nvPr/>
                  </p:nvSpPr>
                  <p:spPr bwMode="auto">
                    <a:xfrm>
                      <a:off x="-1819275" y="4279900"/>
                      <a:ext cx="98425" cy="101600"/>
                    </a:xfrm>
                    <a:custGeom>
                      <a:avLst/>
                      <a:gdLst>
                        <a:gd name="T0" fmla="*/ 23 w 23"/>
                        <a:gd name="T1" fmla="*/ 24 h 24"/>
                        <a:gd name="T2" fmla="*/ 4 w 23"/>
                        <a:gd name="T3" fmla="*/ 24 h 24"/>
                        <a:gd name="T4" fmla="*/ 0 w 23"/>
                        <a:gd name="T5" fmla="*/ 20 h 24"/>
                        <a:gd name="T6" fmla="*/ 4 w 23"/>
                        <a:gd name="T7" fmla="*/ 16 h 24"/>
                        <a:gd name="T8" fmla="*/ 15 w 23"/>
                        <a:gd name="T9" fmla="*/ 16 h 24"/>
                        <a:gd name="T10" fmla="*/ 15 w 23"/>
                        <a:gd name="T11" fmla="*/ 4 h 24"/>
                        <a:gd name="T12" fmla="*/ 19 w 23"/>
                        <a:gd name="T13" fmla="*/ 0 h 24"/>
                        <a:gd name="T14" fmla="*/ 23 w 23"/>
                        <a:gd name="T15" fmla="*/ 4 h 24"/>
                        <a:gd name="T16" fmla="*/ 23 w 23"/>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4">
                          <a:moveTo>
                            <a:pt x="23" y="24"/>
                          </a:moveTo>
                          <a:cubicBezTo>
                            <a:pt x="4" y="24"/>
                            <a:pt x="4" y="24"/>
                            <a:pt x="4" y="24"/>
                          </a:cubicBezTo>
                          <a:cubicBezTo>
                            <a:pt x="2" y="24"/>
                            <a:pt x="0" y="22"/>
                            <a:pt x="0" y="20"/>
                          </a:cubicBezTo>
                          <a:cubicBezTo>
                            <a:pt x="0" y="17"/>
                            <a:pt x="2" y="16"/>
                            <a:pt x="4" y="16"/>
                          </a:cubicBezTo>
                          <a:cubicBezTo>
                            <a:pt x="15" y="16"/>
                            <a:pt x="15" y="16"/>
                            <a:pt x="15" y="16"/>
                          </a:cubicBezTo>
                          <a:cubicBezTo>
                            <a:pt x="15" y="4"/>
                            <a:pt x="15" y="4"/>
                            <a:pt x="15" y="4"/>
                          </a:cubicBezTo>
                          <a:cubicBezTo>
                            <a:pt x="15" y="2"/>
                            <a:pt x="17" y="0"/>
                            <a:pt x="19" y="0"/>
                          </a:cubicBezTo>
                          <a:cubicBezTo>
                            <a:pt x="21" y="0"/>
                            <a:pt x="23" y="2"/>
                            <a:pt x="23" y="4"/>
                          </a:cubicBezTo>
                          <a:lnTo>
                            <a:pt x="2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283">
                      <a:extLst>
                        <a:ext uri="{FF2B5EF4-FFF2-40B4-BE49-F238E27FC236}">
                          <a16:creationId xmlns:a16="http://schemas.microsoft.com/office/drawing/2014/main" id="{105A173C-2E58-4A6B-B2C6-A1BD81FCBADA}"/>
                        </a:ext>
                      </a:extLst>
                    </p:cNvPr>
                    <p:cNvSpPr>
                      <a:spLocks/>
                    </p:cNvSpPr>
                    <p:nvPr/>
                  </p:nvSpPr>
                  <p:spPr bwMode="auto">
                    <a:xfrm>
                      <a:off x="-1573213" y="4202113"/>
                      <a:ext cx="98425" cy="98425"/>
                    </a:xfrm>
                    <a:custGeom>
                      <a:avLst/>
                      <a:gdLst>
                        <a:gd name="T0" fmla="*/ 23 w 23"/>
                        <a:gd name="T1" fmla="*/ 23 h 23"/>
                        <a:gd name="T2" fmla="*/ 4 w 23"/>
                        <a:gd name="T3" fmla="*/ 23 h 23"/>
                        <a:gd name="T4" fmla="*/ 0 w 23"/>
                        <a:gd name="T5" fmla="*/ 19 h 23"/>
                        <a:gd name="T6" fmla="*/ 4 w 23"/>
                        <a:gd name="T7" fmla="*/ 15 h 23"/>
                        <a:gd name="T8" fmla="*/ 15 w 23"/>
                        <a:gd name="T9" fmla="*/ 15 h 23"/>
                        <a:gd name="T10" fmla="*/ 15 w 23"/>
                        <a:gd name="T11" fmla="*/ 4 h 23"/>
                        <a:gd name="T12" fmla="*/ 19 w 23"/>
                        <a:gd name="T13" fmla="*/ 0 h 23"/>
                        <a:gd name="T14" fmla="*/ 23 w 23"/>
                        <a:gd name="T15" fmla="*/ 4 h 23"/>
                        <a:gd name="T16" fmla="*/ 23 w 2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23" y="23"/>
                          </a:moveTo>
                          <a:cubicBezTo>
                            <a:pt x="4" y="23"/>
                            <a:pt x="4" y="23"/>
                            <a:pt x="4" y="23"/>
                          </a:cubicBezTo>
                          <a:cubicBezTo>
                            <a:pt x="2" y="23"/>
                            <a:pt x="0" y="21"/>
                            <a:pt x="0" y="19"/>
                          </a:cubicBezTo>
                          <a:cubicBezTo>
                            <a:pt x="0" y="17"/>
                            <a:pt x="2" y="15"/>
                            <a:pt x="4" y="15"/>
                          </a:cubicBezTo>
                          <a:cubicBezTo>
                            <a:pt x="15" y="15"/>
                            <a:pt x="15" y="15"/>
                            <a:pt x="15" y="15"/>
                          </a:cubicBezTo>
                          <a:cubicBezTo>
                            <a:pt x="15" y="4"/>
                            <a:pt x="15" y="4"/>
                            <a:pt x="15" y="4"/>
                          </a:cubicBezTo>
                          <a:cubicBezTo>
                            <a:pt x="15" y="2"/>
                            <a:pt x="17" y="0"/>
                            <a:pt x="19" y="0"/>
                          </a:cubicBezTo>
                          <a:cubicBezTo>
                            <a:pt x="22" y="0"/>
                            <a:pt x="23" y="2"/>
                            <a:pt x="23" y="4"/>
                          </a:cubicBez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285">
                      <a:extLst>
                        <a:ext uri="{FF2B5EF4-FFF2-40B4-BE49-F238E27FC236}">
                          <a16:creationId xmlns:a16="http://schemas.microsoft.com/office/drawing/2014/main" id="{7309557B-8D8D-42E6-8231-B8504039D1CA}"/>
                        </a:ext>
                      </a:extLst>
                    </p:cNvPr>
                    <p:cNvSpPr>
                      <a:spLocks/>
                    </p:cNvSpPr>
                    <p:nvPr/>
                  </p:nvSpPr>
                  <p:spPr bwMode="auto">
                    <a:xfrm>
                      <a:off x="-3656013" y="4113213"/>
                      <a:ext cx="88900" cy="127000"/>
                    </a:xfrm>
                    <a:custGeom>
                      <a:avLst/>
                      <a:gdLst>
                        <a:gd name="T0" fmla="*/ 4 w 21"/>
                        <a:gd name="T1" fmla="*/ 30 h 30"/>
                        <a:gd name="T2" fmla="*/ 1 w 21"/>
                        <a:gd name="T3" fmla="*/ 28 h 30"/>
                        <a:gd name="T4" fmla="*/ 1 w 21"/>
                        <a:gd name="T5" fmla="*/ 23 h 30"/>
                        <a:gd name="T6" fmla="*/ 9 w 21"/>
                        <a:gd name="T7" fmla="*/ 15 h 30"/>
                        <a:gd name="T8" fmla="*/ 1 w 21"/>
                        <a:gd name="T9" fmla="*/ 7 h 30"/>
                        <a:gd name="T10" fmla="*/ 1 w 21"/>
                        <a:gd name="T11" fmla="*/ 1 h 30"/>
                        <a:gd name="T12" fmla="*/ 7 w 21"/>
                        <a:gd name="T13" fmla="*/ 1 h 30"/>
                        <a:gd name="T14" fmla="*/ 21 w 21"/>
                        <a:gd name="T15" fmla="*/ 15 h 30"/>
                        <a:gd name="T16" fmla="*/ 7 w 21"/>
                        <a:gd name="T17" fmla="*/ 28 h 30"/>
                        <a:gd name="T18" fmla="*/ 4 w 2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0">
                          <a:moveTo>
                            <a:pt x="4" y="30"/>
                          </a:moveTo>
                          <a:cubicBezTo>
                            <a:pt x="3" y="30"/>
                            <a:pt x="2" y="29"/>
                            <a:pt x="1" y="28"/>
                          </a:cubicBezTo>
                          <a:cubicBezTo>
                            <a:pt x="0" y="27"/>
                            <a:pt x="0" y="24"/>
                            <a:pt x="1" y="23"/>
                          </a:cubicBezTo>
                          <a:cubicBezTo>
                            <a:pt x="9" y="15"/>
                            <a:pt x="9" y="15"/>
                            <a:pt x="9" y="15"/>
                          </a:cubicBezTo>
                          <a:cubicBezTo>
                            <a:pt x="1" y="7"/>
                            <a:pt x="1" y="7"/>
                            <a:pt x="1" y="7"/>
                          </a:cubicBezTo>
                          <a:cubicBezTo>
                            <a:pt x="0" y="5"/>
                            <a:pt x="0" y="3"/>
                            <a:pt x="1" y="1"/>
                          </a:cubicBezTo>
                          <a:cubicBezTo>
                            <a:pt x="3" y="0"/>
                            <a:pt x="5" y="0"/>
                            <a:pt x="7" y="1"/>
                          </a:cubicBezTo>
                          <a:cubicBezTo>
                            <a:pt x="21" y="15"/>
                            <a:pt x="21" y="15"/>
                            <a:pt x="21" y="15"/>
                          </a:cubicBezTo>
                          <a:cubicBezTo>
                            <a:pt x="7" y="28"/>
                            <a:pt x="7" y="28"/>
                            <a:pt x="7" y="28"/>
                          </a:cubicBezTo>
                          <a:cubicBezTo>
                            <a:pt x="6" y="29"/>
                            <a:pt x="5" y="30"/>
                            <a:pt x="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287">
                      <a:extLst>
                        <a:ext uri="{FF2B5EF4-FFF2-40B4-BE49-F238E27FC236}">
                          <a16:creationId xmlns:a16="http://schemas.microsoft.com/office/drawing/2014/main" id="{A0AD70EF-EA6A-4B98-B8AA-7AD5797B79DD}"/>
                        </a:ext>
                      </a:extLst>
                    </p:cNvPr>
                    <p:cNvSpPr>
                      <a:spLocks/>
                    </p:cNvSpPr>
                    <p:nvPr/>
                  </p:nvSpPr>
                  <p:spPr bwMode="auto">
                    <a:xfrm>
                      <a:off x="-4110038" y="3948113"/>
                      <a:ext cx="85725" cy="127000"/>
                    </a:xfrm>
                    <a:custGeom>
                      <a:avLst/>
                      <a:gdLst>
                        <a:gd name="T0" fmla="*/ 4 w 20"/>
                        <a:gd name="T1" fmla="*/ 30 h 30"/>
                        <a:gd name="T2" fmla="*/ 1 w 20"/>
                        <a:gd name="T3" fmla="*/ 29 h 30"/>
                        <a:gd name="T4" fmla="*/ 1 w 20"/>
                        <a:gd name="T5" fmla="*/ 23 h 30"/>
                        <a:gd name="T6" fmla="*/ 9 w 20"/>
                        <a:gd name="T7" fmla="*/ 15 h 30"/>
                        <a:gd name="T8" fmla="*/ 1 w 20"/>
                        <a:gd name="T9" fmla="*/ 7 h 30"/>
                        <a:gd name="T10" fmla="*/ 1 w 20"/>
                        <a:gd name="T11" fmla="*/ 2 h 30"/>
                        <a:gd name="T12" fmla="*/ 7 w 20"/>
                        <a:gd name="T13" fmla="*/ 2 h 30"/>
                        <a:gd name="T14" fmla="*/ 20 w 20"/>
                        <a:gd name="T15" fmla="*/ 15 h 30"/>
                        <a:gd name="T16" fmla="*/ 7 w 20"/>
                        <a:gd name="T17" fmla="*/ 29 h 30"/>
                        <a:gd name="T18" fmla="*/ 4 w 2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0">
                          <a:moveTo>
                            <a:pt x="4" y="30"/>
                          </a:moveTo>
                          <a:cubicBezTo>
                            <a:pt x="3" y="30"/>
                            <a:pt x="2" y="29"/>
                            <a:pt x="1" y="29"/>
                          </a:cubicBezTo>
                          <a:cubicBezTo>
                            <a:pt x="0" y="27"/>
                            <a:pt x="0" y="25"/>
                            <a:pt x="1" y="23"/>
                          </a:cubicBezTo>
                          <a:cubicBezTo>
                            <a:pt x="9" y="15"/>
                            <a:pt x="9" y="15"/>
                            <a:pt x="9" y="15"/>
                          </a:cubicBezTo>
                          <a:cubicBezTo>
                            <a:pt x="1" y="7"/>
                            <a:pt x="1" y="7"/>
                            <a:pt x="1" y="7"/>
                          </a:cubicBezTo>
                          <a:cubicBezTo>
                            <a:pt x="0" y="6"/>
                            <a:pt x="0" y="3"/>
                            <a:pt x="1" y="2"/>
                          </a:cubicBezTo>
                          <a:cubicBezTo>
                            <a:pt x="3" y="0"/>
                            <a:pt x="5" y="0"/>
                            <a:pt x="7" y="2"/>
                          </a:cubicBezTo>
                          <a:cubicBezTo>
                            <a:pt x="20" y="15"/>
                            <a:pt x="20" y="15"/>
                            <a:pt x="20" y="15"/>
                          </a:cubicBezTo>
                          <a:cubicBezTo>
                            <a:pt x="7" y="29"/>
                            <a:pt x="7" y="29"/>
                            <a:pt x="7" y="29"/>
                          </a:cubicBezTo>
                          <a:cubicBezTo>
                            <a:pt x="6" y="29"/>
                            <a:pt x="5" y="30"/>
                            <a:pt x="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289">
                      <a:extLst>
                        <a:ext uri="{FF2B5EF4-FFF2-40B4-BE49-F238E27FC236}">
                          <a16:creationId xmlns:a16="http://schemas.microsoft.com/office/drawing/2014/main" id="{B0A93981-1694-4A06-8D5E-7DC21C36110B}"/>
                        </a:ext>
                      </a:extLst>
                    </p:cNvPr>
                    <p:cNvSpPr>
                      <a:spLocks/>
                    </p:cNvSpPr>
                    <p:nvPr/>
                  </p:nvSpPr>
                  <p:spPr bwMode="auto">
                    <a:xfrm>
                      <a:off x="-3427413" y="4054475"/>
                      <a:ext cx="85725" cy="122238"/>
                    </a:xfrm>
                    <a:custGeom>
                      <a:avLst/>
                      <a:gdLst>
                        <a:gd name="T0" fmla="*/ 4 w 20"/>
                        <a:gd name="T1" fmla="*/ 29 h 29"/>
                        <a:gd name="T2" fmla="*/ 1 w 20"/>
                        <a:gd name="T3" fmla="*/ 28 h 29"/>
                        <a:gd name="T4" fmla="*/ 1 w 20"/>
                        <a:gd name="T5" fmla="*/ 22 h 29"/>
                        <a:gd name="T6" fmla="*/ 9 w 20"/>
                        <a:gd name="T7" fmla="*/ 15 h 29"/>
                        <a:gd name="T8" fmla="*/ 1 w 20"/>
                        <a:gd name="T9" fmla="*/ 7 h 29"/>
                        <a:gd name="T10" fmla="*/ 1 w 20"/>
                        <a:gd name="T11" fmla="*/ 1 h 29"/>
                        <a:gd name="T12" fmla="*/ 7 w 20"/>
                        <a:gd name="T13" fmla="*/ 1 h 29"/>
                        <a:gd name="T14" fmla="*/ 20 w 20"/>
                        <a:gd name="T15" fmla="*/ 15 h 29"/>
                        <a:gd name="T16" fmla="*/ 7 w 20"/>
                        <a:gd name="T17" fmla="*/ 28 h 29"/>
                        <a:gd name="T18" fmla="*/ 4 w 20"/>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9">
                          <a:moveTo>
                            <a:pt x="4" y="29"/>
                          </a:moveTo>
                          <a:cubicBezTo>
                            <a:pt x="3" y="29"/>
                            <a:pt x="2" y="29"/>
                            <a:pt x="1" y="28"/>
                          </a:cubicBezTo>
                          <a:cubicBezTo>
                            <a:pt x="0" y="27"/>
                            <a:pt x="0" y="24"/>
                            <a:pt x="1" y="22"/>
                          </a:cubicBezTo>
                          <a:cubicBezTo>
                            <a:pt x="9" y="15"/>
                            <a:pt x="9" y="15"/>
                            <a:pt x="9" y="15"/>
                          </a:cubicBezTo>
                          <a:cubicBezTo>
                            <a:pt x="1" y="7"/>
                            <a:pt x="1" y="7"/>
                            <a:pt x="1" y="7"/>
                          </a:cubicBezTo>
                          <a:cubicBezTo>
                            <a:pt x="0" y="5"/>
                            <a:pt x="0" y="3"/>
                            <a:pt x="1" y="1"/>
                          </a:cubicBezTo>
                          <a:cubicBezTo>
                            <a:pt x="3" y="0"/>
                            <a:pt x="5" y="0"/>
                            <a:pt x="7" y="1"/>
                          </a:cubicBezTo>
                          <a:cubicBezTo>
                            <a:pt x="20" y="15"/>
                            <a:pt x="20" y="15"/>
                            <a:pt x="20" y="15"/>
                          </a:cubicBezTo>
                          <a:cubicBezTo>
                            <a:pt x="7" y="28"/>
                            <a:pt x="7" y="28"/>
                            <a:pt x="7" y="28"/>
                          </a:cubicBezTo>
                          <a:cubicBezTo>
                            <a:pt x="6" y="29"/>
                            <a:pt x="5" y="29"/>
                            <a:pt x="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291">
                      <a:extLst>
                        <a:ext uri="{FF2B5EF4-FFF2-40B4-BE49-F238E27FC236}">
                          <a16:creationId xmlns:a16="http://schemas.microsoft.com/office/drawing/2014/main" id="{4ADE8235-09F2-46D0-A113-9F4E220117EB}"/>
                        </a:ext>
                      </a:extLst>
                    </p:cNvPr>
                    <p:cNvSpPr>
                      <a:spLocks/>
                    </p:cNvSpPr>
                    <p:nvPr/>
                  </p:nvSpPr>
                  <p:spPr bwMode="auto">
                    <a:xfrm>
                      <a:off x="-2867025" y="3951288"/>
                      <a:ext cx="88900" cy="128588"/>
                    </a:xfrm>
                    <a:custGeom>
                      <a:avLst/>
                      <a:gdLst>
                        <a:gd name="T0" fmla="*/ 5 w 21"/>
                        <a:gd name="T1" fmla="*/ 30 h 30"/>
                        <a:gd name="T2" fmla="*/ 2 w 21"/>
                        <a:gd name="T3" fmla="*/ 29 h 30"/>
                        <a:gd name="T4" fmla="*/ 2 w 21"/>
                        <a:gd name="T5" fmla="*/ 23 h 30"/>
                        <a:gd name="T6" fmla="*/ 10 w 21"/>
                        <a:gd name="T7" fmla="*/ 15 h 30"/>
                        <a:gd name="T8" fmla="*/ 2 w 21"/>
                        <a:gd name="T9" fmla="*/ 7 h 30"/>
                        <a:gd name="T10" fmla="*/ 2 w 21"/>
                        <a:gd name="T11" fmla="*/ 2 h 30"/>
                        <a:gd name="T12" fmla="*/ 7 w 21"/>
                        <a:gd name="T13" fmla="*/ 2 h 30"/>
                        <a:gd name="T14" fmla="*/ 21 w 21"/>
                        <a:gd name="T15" fmla="*/ 15 h 30"/>
                        <a:gd name="T16" fmla="*/ 7 w 21"/>
                        <a:gd name="T17" fmla="*/ 29 h 30"/>
                        <a:gd name="T18" fmla="*/ 5 w 2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0">
                          <a:moveTo>
                            <a:pt x="5" y="30"/>
                          </a:moveTo>
                          <a:cubicBezTo>
                            <a:pt x="4" y="30"/>
                            <a:pt x="3" y="29"/>
                            <a:pt x="2" y="29"/>
                          </a:cubicBezTo>
                          <a:cubicBezTo>
                            <a:pt x="0" y="27"/>
                            <a:pt x="0" y="24"/>
                            <a:pt x="2" y="23"/>
                          </a:cubicBezTo>
                          <a:cubicBezTo>
                            <a:pt x="10" y="15"/>
                            <a:pt x="10" y="15"/>
                            <a:pt x="10" y="15"/>
                          </a:cubicBezTo>
                          <a:cubicBezTo>
                            <a:pt x="2" y="7"/>
                            <a:pt x="2" y="7"/>
                            <a:pt x="2" y="7"/>
                          </a:cubicBezTo>
                          <a:cubicBezTo>
                            <a:pt x="0" y="6"/>
                            <a:pt x="0" y="3"/>
                            <a:pt x="2" y="2"/>
                          </a:cubicBezTo>
                          <a:cubicBezTo>
                            <a:pt x="3" y="0"/>
                            <a:pt x="6" y="0"/>
                            <a:pt x="7" y="2"/>
                          </a:cubicBezTo>
                          <a:cubicBezTo>
                            <a:pt x="21" y="15"/>
                            <a:pt x="21" y="15"/>
                            <a:pt x="21" y="15"/>
                          </a:cubicBezTo>
                          <a:cubicBezTo>
                            <a:pt x="7" y="29"/>
                            <a:pt x="7" y="29"/>
                            <a:pt x="7" y="29"/>
                          </a:cubicBezTo>
                          <a:cubicBezTo>
                            <a:pt x="7" y="29"/>
                            <a:pt x="6" y="30"/>
                            <a:pt x="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293">
                      <a:extLst>
                        <a:ext uri="{FF2B5EF4-FFF2-40B4-BE49-F238E27FC236}">
                          <a16:creationId xmlns:a16="http://schemas.microsoft.com/office/drawing/2014/main" id="{9EDCE389-9840-4005-8495-989C381C71B0}"/>
                        </a:ext>
                      </a:extLst>
                    </p:cNvPr>
                    <p:cNvSpPr>
                      <a:spLocks/>
                    </p:cNvSpPr>
                    <p:nvPr/>
                  </p:nvSpPr>
                  <p:spPr bwMode="auto">
                    <a:xfrm>
                      <a:off x="-2247900" y="4105275"/>
                      <a:ext cx="101600" cy="96838"/>
                    </a:xfrm>
                    <a:custGeom>
                      <a:avLst/>
                      <a:gdLst>
                        <a:gd name="T0" fmla="*/ 24 w 24"/>
                        <a:gd name="T1" fmla="*/ 23 h 23"/>
                        <a:gd name="T2" fmla="*/ 4 w 24"/>
                        <a:gd name="T3" fmla="*/ 23 h 23"/>
                        <a:gd name="T4" fmla="*/ 0 w 24"/>
                        <a:gd name="T5" fmla="*/ 19 h 23"/>
                        <a:gd name="T6" fmla="*/ 4 w 24"/>
                        <a:gd name="T7" fmla="*/ 15 h 23"/>
                        <a:gd name="T8" fmla="*/ 16 w 24"/>
                        <a:gd name="T9" fmla="*/ 15 h 23"/>
                        <a:gd name="T10" fmla="*/ 16 w 24"/>
                        <a:gd name="T11" fmla="*/ 4 h 23"/>
                        <a:gd name="T12" fmla="*/ 20 w 24"/>
                        <a:gd name="T13" fmla="*/ 0 h 23"/>
                        <a:gd name="T14" fmla="*/ 24 w 24"/>
                        <a:gd name="T15" fmla="*/ 4 h 23"/>
                        <a:gd name="T16" fmla="*/ 24 w 24"/>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3">
                          <a:moveTo>
                            <a:pt x="24" y="23"/>
                          </a:moveTo>
                          <a:cubicBezTo>
                            <a:pt x="4" y="23"/>
                            <a:pt x="4" y="23"/>
                            <a:pt x="4" y="23"/>
                          </a:cubicBezTo>
                          <a:cubicBezTo>
                            <a:pt x="2" y="23"/>
                            <a:pt x="0" y="21"/>
                            <a:pt x="0" y="19"/>
                          </a:cubicBezTo>
                          <a:cubicBezTo>
                            <a:pt x="0" y="17"/>
                            <a:pt x="2" y="15"/>
                            <a:pt x="4" y="15"/>
                          </a:cubicBezTo>
                          <a:cubicBezTo>
                            <a:pt x="16" y="15"/>
                            <a:pt x="16" y="15"/>
                            <a:pt x="16" y="15"/>
                          </a:cubicBezTo>
                          <a:cubicBezTo>
                            <a:pt x="16" y="4"/>
                            <a:pt x="16" y="4"/>
                            <a:pt x="16" y="4"/>
                          </a:cubicBezTo>
                          <a:cubicBezTo>
                            <a:pt x="16" y="2"/>
                            <a:pt x="17" y="0"/>
                            <a:pt x="20" y="0"/>
                          </a:cubicBezTo>
                          <a:cubicBezTo>
                            <a:pt x="22" y="0"/>
                            <a:pt x="24" y="2"/>
                            <a:pt x="24" y="4"/>
                          </a:cubicBezTo>
                          <a:lnTo>
                            <a:pt x="2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295">
                      <a:extLst>
                        <a:ext uri="{FF2B5EF4-FFF2-40B4-BE49-F238E27FC236}">
                          <a16:creationId xmlns:a16="http://schemas.microsoft.com/office/drawing/2014/main" id="{1B780962-832E-4149-A8BE-6F9AB5E26D87}"/>
                        </a:ext>
                      </a:extLst>
                    </p:cNvPr>
                    <p:cNvSpPr>
                      <a:spLocks/>
                    </p:cNvSpPr>
                    <p:nvPr/>
                  </p:nvSpPr>
                  <p:spPr bwMode="auto">
                    <a:xfrm>
                      <a:off x="-3298825" y="4384675"/>
                      <a:ext cx="88900" cy="128588"/>
                    </a:xfrm>
                    <a:custGeom>
                      <a:avLst/>
                      <a:gdLst>
                        <a:gd name="T0" fmla="*/ 4 w 21"/>
                        <a:gd name="T1" fmla="*/ 30 h 30"/>
                        <a:gd name="T2" fmla="*/ 2 w 21"/>
                        <a:gd name="T3" fmla="*/ 29 h 30"/>
                        <a:gd name="T4" fmla="*/ 2 w 21"/>
                        <a:gd name="T5" fmla="*/ 23 h 30"/>
                        <a:gd name="T6" fmla="*/ 10 w 21"/>
                        <a:gd name="T7" fmla="*/ 15 h 30"/>
                        <a:gd name="T8" fmla="*/ 2 w 21"/>
                        <a:gd name="T9" fmla="*/ 7 h 30"/>
                        <a:gd name="T10" fmla="*/ 2 w 21"/>
                        <a:gd name="T11" fmla="*/ 2 h 30"/>
                        <a:gd name="T12" fmla="*/ 7 w 21"/>
                        <a:gd name="T13" fmla="*/ 2 h 30"/>
                        <a:gd name="T14" fmla="*/ 21 w 21"/>
                        <a:gd name="T15" fmla="*/ 15 h 30"/>
                        <a:gd name="T16" fmla="*/ 7 w 21"/>
                        <a:gd name="T17" fmla="*/ 29 h 30"/>
                        <a:gd name="T18" fmla="*/ 4 w 2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0">
                          <a:moveTo>
                            <a:pt x="4" y="30"/>
                          </a:moveTo>
                          <a:cubicBezTo>
                            <a:pt x="3" y="30"/>
                            <a:pt x="2" y="29"/>
                            <a:pt x="2" y="29"/>
                          </a:cubicBezTo>
                          <a:cubicBezTo>
                            <a:pt x="0" y="27"/>
                            <a:pt x="0" y="24"/>
                            <a:pt x="2" y="23"/>
                          </a:cubicBezTo>
                          <a:cubicBezTo>
                            <a:pt x="10" y="15"/>
                            <a:pt x="10" y="15"/>
                            <a:pt x="10" y="15"/>
                          </a:cubicBezTo>
                          <a:cubicBezTo>
                            <a:pt x="2" y="7"/>
                            <a:pt x="2" y="7"/>
                            <a:pt x="2" y="7"/>
                          </a:cubicBezTo>
                          <a:cubicBezTo>
                            <a:pt x="0" y="6"/>
                            <a:pt x="0" y="3"/>
                            <a:pt x="2" y="2"/>
                          </a:cubicBezTo>
                          <a:cubicBezTo>
                            <a:pt x="3" y="0"/>
                            <a:pt x="6" y="0"/>
                            <a:pt x="7" y="2"/>
                          </a:cubicBezTo>
                          <a:cubicBezTo>
                            <a:pt x="21" y="15"/>
                            <a:pt x="21" y="15"/>
                            <a:pt x="21" y="15"/>
                          </a:cubicBezTo>
                          <a:cubicBezTo>
                            <a:pt x="7" y="29"/>
                            <a:pt x="7" y="29"/>
                            <a:pt x="7" y="29"/>
                          </a:cubicBezTo>
                          <a:cubicBezTo>
                            <a:pt x="7" y="29"/>
                            <a:pt x="6" y="30"/>
                            <a:pt x="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297">
                      <a:extLst>
                        <a:ext uri="{FF2B5EF4-FFF2-40B4-BE49-F238E27FC236}">
                          <a16:creationId xmlns:a16="http://schemas.microsoft.com/office/drawing/2014/main" id="{C2CC78E6-6239-4413-B0A7-5373821AABD8}"/>
                        </a:ext>
                      </a:extLst>
                    </p:cNvPr>
                    <p:cNvSpPr>
                      <a:spLocks/>
                    </p:cNvSpPr>
                    <p:nvPr/>
                  </p:nvSpPr>
                  <p:spPr bwMode="auto">
                    <a:xfrm>
                      <a:off x="-2768600" y="4318000"/>
                      <a:ext cx="88900" cy="127000"/>
                    </a:xfrm>
                    <a:custGeom>
                      <a:avLst/>
                      <a:gdLst>
                        <a:gd name="T0" fmla="*/ 4 w 21"/>
                        <a:gd name="T1" fmla="*/ 30 h 30"/>
                        <a:gd name="T2" fmla="*/ 1 w 21"/>
                        <a:gd name="T3" fmla="*/ 29 h 30"/>
                        <a:gd name="T4" fmla="*/ 1 w 21"/>
                        <a:gd name="T5" fmla="*/ 23 h 30"/>
                        <a:gd name="T6" fmla="*/ 9 w 21"/>
                        <a:gd name="T7" fmla="*/ 15 h 30"/>
                        <a:gd name="T8" fmla="*/ 1 w 21"/>
                        <a:gd name="T9" fmla="*/ 8 h 30"/>
                        <a:gd name="T10" fmla="*/ 1 w 21"/>
                        <a:gd name="T11" fmla="*/ 2 h 30"/>
                        <a:gd name="T12" fmla="*/ 7 w 21"/>
                        <a:gd name="T13" fmla="*/ 2 h 30"/>
                        <a:gd name="T14" fmla="*/ 21 w 21"/>
                        <a:gd name="T15" fmla="*/ 15 h 30"/>
                        <a:gd name="T16" fmla="*/ 7 w 21"/>
                        <a:gd name="T17" fmla="*/ 29 h 30"/>
                        <a:gd name="T18" fmla="*/ 4 w 2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0">
                          <a:moveTo>
                            <a:pt x="4" y="30"/>
                          </a:moveTo>
                          <a:cubicBezTo>
                            <a:pt x="3" y="30"/>
                            <a:pt x="2" y="30"/>
                            <a:pt x="1" y="29"/>
                          </a:cubicBezTo>
                          <a:cubicBezTo>
                            <a:pt x="0" y="27"/>
                            <a:pt x="0" y="25"/>
                            <a:pt x="1" y="23"/>
                          </a:cubicBezTo>
                          <a:cubicBezTo>
                            <a:pt x="9" y="15"/>
                            <a:pt x="9" y="15"/>
                            <a:pt x="9" y="15"/>
                          </a:cubicBezTo>
                          <a:cubicBezTo>
                            <a:pt x="1" y="8"/>
                            <a:pt x="1" y="8"/>
                            <a:pt x="1" y="8"/>
                          </a:cubicBezTo>
                          <a:cubicBezTo>
                            <a:pt x="0" y="6"/>
                            <a:pt x="0" y="3"/>
                            <a:pt x="1" y="2"/>
                          </a:cubicBezTo>
                          <a:cubicBezTo>
                            <a:pt x="3" y="0"/>
                            <a:pt x="5" y="0"/>
                            <a:pt x="7" y="2"/>
                          </a:cubicBezTo>
                          <a:cubicBezTo>
                            <a:pt x="21" y="15"/>
                            <a:pt x="21" y="15"/>
                            <a:pt x="21" y="15"/>
                          </a:cubicBezTo>
                          <a:cubicBezTo>
                            <a:pt x="7" y="29"/>
                            <a:pt x="7" y="29"/>
                            <a:pt x="7" y="29"/>
                          </a:cubicBezTo>
                          <a:cubicBezTo>
                            <a:pt x="6" y="30"/>
                            <a:pt x="5" y="30"/>
                            <a:pt x="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301">
                      <a:extLst>
                        <a:ext uri="{FF2B5EF4-FFF2-40B4-BE49-F238E27FC236}">
                          <a16:creationId xmlns:a16="http://schemas.microsoft.com/office/drawing/2014/main" id="{BAA2037E-F5EF-4ED2-9A19-B04B5448D8AF}"/>
                        </a:ext>
                      </a:extLst>
                    </p:cNvPr>
                    <p:cNvSpPr>
                      <a:spLocks/>
                    </p:cNvSpPr>
                    <p:nvPr/>
                  </p:nvSpPr>
                  <p:spPr bwMode="auto">
                    <a:xfrm>
                      <a:off x="-4071938" y="4814888"/>
                      <a:ext cx="101600" cy="101600"/>
                    </a:xfrm>
                    <a:custGeom>
                      <a:avLst/>
                      <a:gdLst>
                        <a:gd name="T0" fmla="*/ 20 w 24"/>
                        <a:gd name="T1" fmla="*/ 24 h 24"/>
                        <a:gd name="T2" fmla="*/ 16 w 24"/>
                        <a:gd name="T3" fmla="*/ 20 h 24"/>
                        <a:gd name="T4" fmla="*/ 16 w 24"/>
                        <a:gd name="T5" fmla="*/ 8 h 24"/>
                        <a:gd name="T6" fmla="*/ 4 w 24"/>
                        <a:gd name="T7" fmla="*/ 8 h 24"/>
                        <a:gd name="T8" fmla="*/ 0 w 24"/>
                        <a:gd name="T9" fmla="*/ 4 h 24"/>
                        <a:gd name="T10" fmla="*/ 4 w 24"/>
                        <a:gd name="T11" fmla="*/ 0 h 24"/>
                        <a:gd name="T12" fmla="*/ 24 w 24"/>
                        <a:gd name="T13" fmla="*/ 0 h 24"/>
                        <a:gd name="T14" fmla="*/ 24 w 24"/>
                        <a:gd name="T15" fmla="*/ 20 h 24"/>
                        <a:gd name="T16" fmla="*/ 20 w 2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20" y="24"/>
                          </a:moveTo>
                          <a:cubicBezTo>
                            <a:pt x="17" y="24"/>
                            <a:pt x="16" y="22"/>
                            <a:pt x="16" y="20"/>
                          </a:cubicBezTo>
                          <a:cubicBezTo>
                            <a:pt x="16" y="8"/>
                            <a:pt x="16" y="8"/>
                            <a:pt x="16" y="8"/>
                          </a:cubicBezTo>
                          <a:cubicBezTo>
                            <a:pt x="4" y="8"/>
                            <a:pt x="4" y="8"/>
                            <a:pt x="4" y="8"/>
                          </a:cubicBezTo>
                          <a:cubicBezTo>
                            <a:pt x="2" y="8"/>
                            <a:pt x="0" y="7"/>
                            <a:pt x="0" y="4"/>
                          </a:cubicBezTo>
                          <a:cubicBezTo>
                            <a:pt x="0" y="2"/>
                            <a:pt x="2" y="0"/>
                            <a:pt x="4" y="0"/>
                          </a:cubicBezTo>
                          <a:cubicBezTo>
                            <a:pt x="24" y="0"/>
                            <a:pt x="24" y="0"/>
                            <a:pt x="24" y="0"/>
                          </a:cubicBezTo>
                          <a:cubicBezTo>
                            <a:pt x="24" y="20"/>
                            <a:pt x="24" y="20"/>
                            <a:pt x="24" y="20"/>
                          </a:cubicBezTo>
                          <a:cubicBezTo>
                            <a:pt x="24" y="22"/>
                            <a:pt x="22" y="24"/>
                            <a:pt x="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675" name="Freeform 305">
                <a:extLst>
                  <a:ext uri="{FF2B5EF4-FFF2-40B4-BE49-F238E27FC236}">
                    <a16:creationId xmlns:a16="http://schemas.microsoft.com/office/drawing/2014/main" id="{704B0096-EF28-4CDA-9643-D62FEB0D2F88}"/>
                  </a:ext>
                </a:extLst>
              </p:cNvPr>
              <p:cNvSpPr>
                <a:spLocks noEditPoints="1"/>
              </p:cNvSpPr>
              <p:nvPr/>
            </p:nvSpPr>
            <p:spPr bwMode="auto">
              <a:xfrm>
                <a:off x="-4302125" y="3946525"/>
                <a:ext cx="2101850" cy="619125"/>
              </a:xfrm>
              <a:custGeom>
                <a:avLst/>
                <a:gdLst>
                  <a:gd name="T0" fmla="*/ 393 w 494"/>
                  <a:gd name="T1" fmla="*/ 143 h 143"/>
                  <a:gd name="T2" fmla="*/ 293 w 494"/>
                  <a:gd name="T3" fmla="*/ 113 h 143"/>
                  <a:gd name="T4" fmla="*/ 199 w 494"/>
                  <a:gd name="T5" fmla="*/ 85 h 143"/>
                  <a:gd name="T6" fmla="*/ 106 w 494"/>
                  <a:gd name="T7" fmla="*/ 113 h 143"/>
                  <a:gd name="T8" fmla="*/ 6 w 494"/>
                  <a:gd name="T9" fmla="*/ 143 h 143"/>
                  <a:gd name="T10" fmla="*/ 0 w 494"/>
                  <a:gd name="T11" fmla="*/ 137 h 143"/>
                  <a:gd name="T12" fmla="*/ 6 w 494"/>
                  <a:gd name="T13" fmla="*/ 131 h 143"/>
                  <a:gd name="T14" fmla="*/ 100 w 494"/>
                  <a:gd name="T15" fmla="*/ 103 h 143"/>
                  <a:gd name="T16" fmla="*/ 199 w 494"/>
                  <a:gd name="T17" fmla="*/ 73 h 143"/>
                  <a:gd name="T18" fmla="*/ 299 w 494"/>
                  <a:gd name="T19" fmla="*/ 103 h 143"/>
                  <a:gd name="T20" fmla="*/ 393 w 494"/>
                  <a:gd name="T21" fmla="*/ 131 h 143"/>
                  <a:gd name="T22" fmla="*/ 399 w 494"/>
                  <a:gd name="T23" fmla="*/ 137 h 143"/>
                  <a:gd name="T24" fmla="*/ 393 w 494"/>
                  <a:gd name="T25" fmla="*/ 143 h 143"/>
                  <a:gd name="T26" fmla="*/ 393 w 494"/>
                  <a:gd name="T27" fmla="*/ 69 h 143"/>
                  <a:gd name="T28" fmla="*/ 293 w 494"/>
                  <a:gd name="T29" fmla="*/ 40 h 143"/>
                  <a:gd name="T30" fmla="*/ 199 w 494"/>
                  <a:gd name="T31" fmla="*/ 12 h 143"/>
                  <a:gd name="T32" fmla="*/ 106 w 494"/>
                  <a:gd name="T33" fmla="*/ 40 h 143"/>
                  <a:gd name="T34" fmla="*/ 106 w 494"/>
                  <a:gd name="T35" fmla="*/ 40 h 143"/>
                  <a:gd name="T36" fmla="*/ 98 w 494"/>
                  <a:gd name="T37" fmla="*/ 38 h 143"/>
                  <a:gd name="T38" fmla="*/ 100 w 494"/>
                  <a:gd name="T39" fmla="*/ 30 h 143"/>
                  <a:gd name="T40" fmla="*/ 100 w 494"/>
                  <a:gd name="T41" fmla="*/ 30 h 143"/>
                  <a:gd name="T42" fmla="*/ 199 w 494"/>
                  <a:gd name="T43" fmla="*/ 0 h 143"/>
                  <a:gd name="T44" fmla="*/ 299 w 494"/>
                  <a:gd name="T45" fmla="*/ 30 h 143"/>
                  <a:gd name="T46" fmla="*/ 393 w 494"/>
                  <a:gd name="T47" fmla="*/ 57 h 143"/>
                  <a:gd name="T48" fmla="*/ 399 w 494"/>
                  <a:gd name="T49" fmla="*/ 63 h 143"/>
                  <a:gd name="T50" fmla="*/ 393 w 494"/>
                  <a:gd name="T51" fmla="*/ 69 h 143"/>
                  <a:gd name="T52" fmla="*/ 419 w 494"/>
                  <a:gd name="T53" fmla="*/ 142 h 143"/>
                  <a:gd name="T54" fmla="*/ 416 w 494"/>
                  <a:gd name="T55" fmla="*/ 143 h 143"/>
                  <a:gd name="T56" fmla="*/ 411 w 494"/>
                  <a:gd name="T57" fmla="*/ 140 h 143"/>
                  <a:gd name="T58" fmla="*/ 413 w 494"/>
                  <a:gd name="T59" fmla="*/ 132 h 143"/>
                  <a:gd name="T60" fmla="*/ 469 w 494"/>
                  <a:gd name="T61" fmla="*/ 100 h 143"/>
                  <a:gd name="T62" fmla="*/ 413 w 494"/>
                  <a:gd name="T63" fmla="*/ 69 h 143"/>
                  <a:gd name="T64" fmla="*/ 411 w 494"/>
                  <a:gd name="T65" fmla="*/ 60 h 143"/>
                  <a:gd name="T66" fmla="*/ 419 w 494"/>
                  <a:gd name="T67" fmla="*/ 58 h 143"/>
                  <a:gd name="T68" fmla="*/ 494 w 494"/>
                  <a:gd name="T69" fmla="*/ 100 h 143"/>
                  <a:gd name="T70" fmla="*/ 419 w 494"/>
                  <a:gd name="T71"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4" h="143">
                    <a:moveTo>
                      <a:pt x="393" y="143"/>
                    </a:moveTo>
                    <a:cubicBezTo>
                      <a:pt x="343" y="143"/>
                      <a:pt x="317" y="128"/>
                      <a:pt x="293" y="113"/>
                    </a:cubicBezTo>
                    <a:cubicBezTo>
                      <a:pt x="269" y="99"/>
                      <a:pt x="246" y="85"/>
                      <a:pt x="199" y="85"/>
                    </a:cubicBezTo>
                    <a:cubicBezTo>
                      <a:pt x="153" y="85"/>
                      <a:pt x="130" y="99"/>
                      <a:pt x="106" y="113"/>
                    </a:cubicBezTo>
                    <a:cubicBezTo>
                      <a:pt x="81" y="128"/>
                      <a:pt x="56" y="143"/>
                      <a:pt x="6" y="143"/>
                    </a:cubicBezTo>
                    <a:cubicBezTo>
                      <a:pt x="3" y="143"/>
                      <a:pt x="0" y="140"/>
                      <a:pt x="0" y="137"/>
                    </a:cubicBezTo>
                    <a:cubicBezTo>
                      <a:pt x="0" y="133"/>
                      <a:pt x="3" y="131"/>
                      <a:pt x="6" y="131"/>
                    </a:cubicBezTo>
                    <a:cubicBezTo>
                      <a:pt x="53" y="131"/>
                      <a:pt x="76" y="117"/>
                      <a:pt x="100" y="103"/>
                    </a:cubicBezTo>
                    <a:cubicBezTo>
                      <a:pt x="124" y="88"/>
                      <a:pt x="150" y="73"/>
                      <a:pt x="199" y="73"/>
                    </a:cubicBezTo>
                    <a:cubicBezTo>
                      <a:pt x="249" y="73"/>
                      <a:pt x="275" y="88"/>
                      <a:pt x="299" y="103"/>
                    </a:cubicBezTo>
                    <a:cubicBezTo>
                      <a:pt x="323" y="117"/>
                      <a:pt x="346" y="131"/>
                      <a:pt x="393" y="131"/>
                    </a:cubicBezTo>
                    <a:cubicBezTo>
                      <a:pt x="396" y="131"/>
                      <a:pt x="399" y="133"/>
                      <a:pt x="399" y="137"/>
                    </a:cubicBezTo>
                    <a:cubicBezTo>
                      <a:pt x="399" y="140"/>
                      <a:pt x="396" y="143"/>
                      <a:pt x="393" y="143"/>
                    </a:cubicBezTo>
                    <a:close/>
                    <a:moveTo>
                      <a:pt x="393" y="69"/>
                    </a:moveTo>
                    <a:cubicBezTo>
                      <a:pt x="343" y="69"/>
                      <a:pt x="317" y="54"/>
                      <a:pt x="293" y="40"/>
                    </a:cubicBezTo>
                    <a:cubicBezTo>
                      <a:pt x="269" y="25"/>
                      <a:pt x="246" y="12"/>
                      <a:pt x="199" y="12"/>
                    </a:cubicBezTo>
                    <a:cubicBezTo>
                      <a:pt x="153" y="12"/>
                      <a:pt x="130" y="25"/>
                      <a:pt x="106" y="40"/>
                    </a:cubicBezTo>
                    <a:cubicBezTo>
                      <a:pt x="106" y="40"/>
                      <a:pt x="106" y="40"/>
                      <a:pt x="106" y="40"/>
                    </a:cubicBezTo>
                    <a:cubicBezTo>
                      <a:pt x="103" y="42"/>
                      <a:pt x="99" y="41"/>
                      <a:pt x="98" y="38"/>
                    </a:cubicBezTo>
                    <a:cubicBezTo>
                      <a:pt x="96" y="35"/>
                      <a:pt x="97" y="31"/>
                      <a:pt x="100" y="30"/>
                    </a:cubicBezTo>
                    <a:cubicBezTo>
                      <a:pt x="100" y="30"/>
                      <a:pt x="100" y="30"/>
                      <a:pt x="100" y="30"/>
                    </a:cubicBezTo>
                    <a:cubicBezTo>
                      <a:pt x="124" y="15"/>
                      <a:pt x="150" y="0"/>
                      <a:pt x="199" y="0"/>
                    </a:cubicBezTo>
                    <a:cubicBezTo>
                      <a:pt x="249" y="0"/>
                      <a:pt x="275" y="15"/>
                      <a:pt x="299" y="30"/>
                    </a:cubicBezTo>
                    <a:cubicBezTo>
                      <a:pt x="323" y="44"/>
                      <a:pt x="346" y="57"/>
                      <a:pt x="393" y="57"/>
                    </a:cubicBezTo>
                    <a:cubicBezTo>
                      <a:pt x="396" y="57"/>
                      <a:pt x="399" y="60"/>
                      <a:pt x="399" y="63"/>
                    </a:cubicBezTo>
                    <a:cubicBezTo>
                      <a:pt x="399" y="67"/>
                      <a:pt x="396" y="69"/>
                      <a:pt x="393" y="69"/>
                    </a:cubicBezTo>
                    <a:close/>
                    <a:moveTo>
                      <a:pt x="419" y="142"/>
                    </a:moveTo>
                    <a:cubicBezTo>
                      <a:pt x="418" y="143"/>
                      <a:pt x="417" y="143"/>
                      <a:pt x="416" y="143"/>
                    </a:cubicBezTo>
                    <a:cubicBezTo>
                      <a:pt x="414" y="143"/>
                      <a:pt x="412" y="142"/>
                      <a:pt x="411" y="140"/>
                    </a:cubicBezTo>
                    <a:cubicBezTo>
                      <a:pt x="409" y="137"/>
                      <a:pt x="410" y="133"/>
                      <a:pt x="413" y="132"/>
                    </a:cubicBezTo>
                    <a:cubicBezTo>
                      <a:pt x="469" y="100"/>
                      <a:pt x="469" y="100"/>
                      <a:pt x="469" y="100"/>
                    </a:cubicBezTo>
                    <a:cubicBezTo>
                      <a:pt x="413" y="69"/>
                      <a:pt x="413" y="69"/>
                      <a:pt x="413" y="69"/>
                    </a:cubicBezTo>
                    <a:cubicBezTo>
                      <a:pt x="410" y="67"/>
                      <a:pt x="409" y="63"/>
                      <a:pt x="411" y="60"/>
                    </a:cubicBezTo>
                    <a:cubicBezTo>
                      <a:pt x="412" y="58"/>
                      <a:pt x="416" y="57"/>
                      <a:pt x="419" y="58"/>
                    </a:cubicBezTo>
                    <a:cubicBezTo>
                      <a:pt x="494" y="100"/>
                      <a:pt x="494" y="100"/>
                      <a:pt x="494" y="100"/>
                    </a:cubicBezTo>
                    <a:lnTo>
                      <a:pt x="419" y="142"/>
                    </a:lnTo>
                    <a:close/>
                  </a:path>
                </a:pathLst>
              </a:custGeom>
              <a:gradFill flip="none" rotWithShape="1">
                <a:gsLst>
                  <a:gs pos="0">
                    <a:srgbClr val="F2F1F1"/>
                  </a:gs>
                  <a:gs pos="100000">
                    <a:srgbClr val="AFABAB"/>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endParaRPr>
              </a:p>
            </p:txBody>
          </p:sp>
        </p:grpSp>
      </p:grpSp>
      <p:pic>
        <p:nvPicPr>
          <p:cNvPr id="8" name="Picture 7">
            <a:extLst>
              <a:ext uri="{FF2B5EF4-FFF2-40B4-BE49-F238E27FC236}">
                <a16:creationId xmlns:a16="http://schemas.microsoft.com/office/drawing/2014/main" id="{587453F4-C029-4E85-8499-E688911D30B7}"/>
              </a:ext>
            </a:extLst>
          </p:cNvPr>
          <p:cNvPicPr>
            <a:picLocks noChangeAspect="1"/>
          </p:cNvPicPr>
          <p:nvPr/>
        </p:nvPicPr>
        <p:blipFill>
          <a:blip r:embed="rId3"/>
          <a:stretch>
            <a:fillRect/>
          </a:stretch>
        </p:blipFill>
        <p:spPr>
          <a:xfrm>
            <a:off x="934574" y="6316078"/>
            <a:ext cx="1171575" cy="495300"/>
          </a:xfrm>
          <a:prstGeom prst="rect">
            <a:avLst/>
          </a:prstGeom>
        </p:spPr>
      </p:pic>
      <p:pic>
        <p:nvPicPr>
          <p:cNvPr id="404" name="Picture 403">
            <a:extLst>
              <a:ext uri="{FF2B5EF4-FFF2-40B4-BE49-F238E27FC236}">
                <a16:creationId xmlns:a16="http://schemas.microsoft.com/office/drawing/2014/main" id="{AA322A35-8265-41E2-9268-B02C95A7CAFF}"/>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318192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E2FCA50-05ED-4F7F-A6E2-F8024AE7BAE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 y="-28223"/>
            <a:ext cx="12192002" cy="6886223"/>
          </a:xfrm>
          <a:prstGeom prst="rect">
            <a:avLst/>
          </a:prstGeom>
        </p:spPr>
      </p:pic>
      <p:sp>
        <p:nvSpPr>
          <p:cNvPr id="16" name="Rectangle 15">
            <a:extLst>
              <a:ext uri="{FF2B5EF4-FFF2-40B4-BE49-F238E27FC236}">
                <a16:creationId xmlns:a16="http://schemas.microsoft.com/office/drawing/2014/main" id="{B3158654-FE10-4CBD-B0F1-047EF5450853}"/>
              </a:ext>
            </a:extLst>
          </p:cNvPr>
          <p:cNvSpPr/>
          <p:nvPr/>
        </p:nvSpPr>
        <p:spPr>
          <a:xfrm>
            <a:off x="-1" y="5502971"/>
            <a:ext cx="12191999" cy="1355029"/>
          </a:xfrm>
          <a:prstGeom prst="rect">
            <a:avLst/>
          </a:prstGeom>
          <a:gradFill>
            <a:gsLst>
              <a:gs pos="0">
                <a:schemeClr val="tx1">
                  <a:alpha val="0"/>
                </a:schemeClr>
              </a:gs>
              <a:gs pos="56000">
                <a:schemeClr val="tx1">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Rectangle 18">
            <a:extLst>
              <a:ext uri="{FF2B5EF4-FFF2-40B4-BE49-F238E27FC236}">
                <a16:creationId xmlns:a16="http://schemas.microsoft.com/office/drawing/2014/main" id="{444D6CD6-F837-4FA0-820B-E69091CFC811}"/>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 Placeholder 19"/>
          <p:cNvSpPr>
            <a:spLocks noGrp="1"/>
          </p:cNvSpPr>
          <p:nvPr>
            <p:ph idx="1"/>
          </p:nvPr>
        </p:nvSpPr>
        <p:spPr>
          <a:xfrm>
            <a:off x="260876" y="4572481"/>
            <a:ext cx="4495800" cy="1384301"/>
          </a:xfrm>
          <a:solidFill>
            <a:schemeClr val="tx1">
              <a:alpha val="69000"/>
            </a:schemeClr>
          </a:solidFill>
        </p:spPr>
        <p:txBody>
          <a:bodyPr>
            <a:normAutofit lnSpcReduction="10000"/>
          </a:bodyPr>
          <a:lstStyle/>
          <a:p>
            <a:pPr marL="0" indent="0">
              <a:buNone/>
            </a:pPr>
            <a:r>
              <a:rPr lang="en-US">
                <a:solidFill>
                  <a:schemeClr val="bg1"/>
                </a:solidFill>
              </a:rPr>
              <a:t>Do not allow herbicide solution </a:t>
            </a:r>
            <a:br>
              <a:rPr lang="en-US">
                <a:solidFill>
                  <a:schemeClr val="bg1"/>
                </a:solidFill>
              </a:rPr>
            </a:br>
            <a:r>
              <a:rPr lang="en-US">
                <a:solidFill>
                  <a:schemeClr val="bg1"/>
                </a:solidFill>
              </a:rPr>
              <a:t>to mist, drip, drift, or splash onto desirable vegetation because severe injury or destruction to desirable broadleaf plants could result.</a:t>
            </a:r>
          </a:p>
        </p:txBody>
      </p:sp>
      <p:sp>
        <p:nvSpPr>
          <p:cNvPr id="8" name="Footer Placeholder 7">
            <a:extLst>
              <a:ext uri="{FF2B5EF4-FFF2-40B4-BE49-F238E27FC236}">
                <a16:creationId xmlns:a16="http://schemas.microsoft.com/office/drawing/2014/main" id="{5DAA5CCE-2229-4AF0-8F36-E100634C5CF9}"/>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9" name="Slide Number Placeholder 8">
            <a:extLst>
              <a:ext uri="{FF2B5EF4-FFF2-40B4-BE49-F238E27FC236}">
                <a16:creationId xmlns:a16="http://schemas.microsoft.com/office/drawing/2014/main" id="{1CBF5DA2-BBBB-475E-AFB6-0DAEEE6A0700}"/>
              </a:ext>
            </a:extLst>
          </p:cNvPr>
          <p:cNvSpPr>
            <a:spLocks noGrp="1"/>
          </p:cNvSpPr>
          <p:nvPr>
            <p:ph type="sldNum" sz="quarter" idx="16"/>
          </p:nvPr>
        </p:nvSpPr>
        <p:spPr/>
        <p:txBody>
          <a:bodyPr/>
          <a:lstStyle/>
          <a:p>
            <a:fld id="{5382645D-9DD6-408C-B0EA-C65795F9B1DE}" type="slidenum">
              <a:rPr lang="en-US" dirty="0" smtClean="0"/>
              <a:pPr/>
              <a:t>13</a:t>
            </a:fld>
            <a:endParaRPr lang="en-US"/>
          </a:p>
        </p:txBody>
      </p:sp>
      <p:sp>
        <p:nvSpPr>
          <p:cNvPr id="40" name="Title 1">
            <a:extLst>
              <a:ext uri="{FF2B5EF4-FFF2-40B4-BE49-F238E27FC236}">
                <a16:creationId xmlns:a16="http://schemas.microsoft.com/office/drawing/2014/main" id="{EAF84943-DA7C-4C5F-B67A-89A86189C73C}"/>
              </a:ext>
            </a:extLst>
          </p:cNvPr>
          <p:cNvSpPr txBox="1">
            <a:spLocks/>
          </p:cNvSpPr>
          <p:nvPr/>
        </p:nvSpPr>
        <p:spPr>
          <a:xfrm>
            <a:off x="846187" y="360115"/>
            <a:ext cx="7211963"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a:defRPr/>
            </a:pPr>
            <a:r>
              <a:rPr lang="en-US">
                <a:solidFill>
                  <a:schemeClr val="tx1"/>
                </a:solidFill>
                <a:latin typeface="Arial Black"/>
              </a:rPr>
              <a:t>Spray Drift Management</a:t>
            </a:r>
            <a:endParaRPr lang="en-US" sz="3600" b="0" i="0" u="none" strike="sngStrike" kern="1200" cap="all" spc="0" baseline="0" noProof="0">
              <a:solidFill>
                <a:schemeClr val="tx1"/>
              </a:solidFill>
            </a:endParaRPr>
          </a:p>
        </p:txBody>
      </p:sp>
      <p:grpSp>
        <p:nvGrpSpPr>
          <p:cNvPr id="15" name="Group 14">
            <a:extLst>
              <a:ext uri="{FF2B5EF4-FFF2-40B4-BE49-F238E27FC236}">
                <a16:creationId xmlns:a16="http://schemas.microsoft.com/office/drawing/2014/main" id="{93AE22DB-9B4F-42DB-BBFD-9A257168DF69}"/>
              </a:ext>
            </a:extLst>
          </p:cNvPr>
          <p:cNvGrpSpPr/>
          <p:nvPr/>
        </p:nvGrpSpPr>
        <p:grpSpPr>
          <a:xfrm>
            <a:off x="950173" y="6425309"/>
            <a:ext cx="1075910" cy="230941"/>
            <a:chOff x="201074" y="6425309"/>
            <a:chExt cx="1075910" cy="230941"/>
          </a:xfrm>
        </p:grpSpPr>
        <p:sp>
          <p:nvSpPr>
            <p:cNvPr id="18" name="Rectangle 17">
              <a:extLst>
                <a:ext uri="{FF2B5EF4-FFF2-40B4-BE49-F238E27FC236}">
                  <a16:creationId xmlns:a16="http://schemas.microsoft.com/office/drawing/2014/main" id="{2887C58E-ACA3-4142-AD48-2E5B5B6C2C44}"/>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1028B8B9-C979-42FA-BAE0-E6DDD7E6E590}"/>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9DEE88B6-D0F9-4F6E-BA43-55A20E552CA2}"/>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26" name="Title 1">
              <a:extLst>
                <a:ext uri="{FF2B5EF4-FFF2-40B4-BE49-F238E27FC236}">
                  <a16:creationId xmlns:a16="http://schemas.microsoft.com/office/drawing/2014/main" id="{C1E4279B-88C0-4A90-8966-F95D7593B389}"/>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7" name="Group 26">
            <a:extLst>
              <a:ext uri="{FF2B5EF4-FFF2-40B4-BE49-F238E27FC236}">
                <a16:creationId xmlns:a16="http://schemas.microsoft.com/office/drawing/2014/main" id="{236A0E34-F95E-4887-A8D0-CDF9AB86079F}"/>
              </a:ext>
            </a:extLst>
          </p:cNvPr>
          <p:cNvGrpSpPr/>
          <p:nvPr/>
        </p:nvGrpSpPr>
        <p:grpSpPr>
          <a:xfrm>
            <a:off x="950173" y="6425309"/>
            <a:ext cx="1075910" cy="230941"/>
            <a:chOff x="201074" y="6425309"/>
            <a:chExt cx="1075910" cy="230941"/>
          </a:xfrm>
        </p:grpSpPr>
        <p:sp>
          <p:nvSpPr>
            <p:cNvPr id="28" name="Rectangle 27">
              <a:extLst>
                <a:ext uri="{FF2B5EF4-FFF2-40B4-BE49-F238E27FC236}">
                  <a16:creationId xmlns:a16="http://schemas.microsoft.com/office/drawing/2014/main" id="{E5410AB6-7835-4B91-96B5-6DEACBB8AF86}"/>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9" name="Straight Connector 28">
              <a:extLst>
                <a:ext uri="{FF2B5EF4-FFF2-40B4-BE49-F238E27FC236}">
                  <a16:creationId xmlns:a16="http://schemas.microsoft.com/office/drawing/2014/main" id="{81F92FB3-FD99-4872-BDF4-FF58A318C9AC}"/>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CCB88D67-DE1B-4C31-B6B4-2A608DA4D47F}"/>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1" name="Title 1">
              <a:extLst>
                <a:ext uri="{FF2B5EF4-FFF2-40B4-BE49-F238E27FC236}">
                  <a16:creationId xmlns:a16="http://schemas.microsoft.com/office/drawing/2014/main" id="{E253E804-9009-4EF5-BA60-2B2AE55273FD}"/>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pic>
        <p:nvPicPr>
          <p:cNvPr id="22" name="Picture 21">
            <a:extLst>
              <a:ext uri="{FF2B5EF4-FFF2-40B4-BE49-F238E27FC236}">
                <a16:creationId xmlns:a16="http://schemas.microsoft.com/office/drawing/2014/main" id="{01603AC5-74D5-48C8-9739-14977ABBB2E4}"/>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246982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A picture containing outdoor, person, grass, person&#10;&#10;Description automatically generated">
            <a:extLst>
              <a:ext uri="{FF2B5EF4-FFF2-40B4-BE49-F238E27FC236}">
                <a16:creationId xmlns:a16="http://schemas.microsoft.com/office/drawing/2014/main" id="{427ABFC7-25DF-4837-A623-907A42B866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84"/>
          <a:stretch/>
        </p:blipFill>
        <p:spPr>
          <a:xfrm>
            <a:off x="5260051" y="2072213"/>
            <a:ext cx="6576333" cy="3791577"/>
          </a:xfrm>
          <a:prstGeom prst="rect">
            <a:avLst/>
          </a:prstGeom>
        </p:spPr>
      </p:pic>
      <p:sp>
        <p:nvSpPr>
          <p:cNvPr id="3" name="Rectangle 2">
            <a:extLst>
              <a:ext uri="{FF2B5EF4-FFF2-40B4-BE49-F238E27FC236}">
                <a16:creationId xmlns:a16="http://schemas.microsoft.com/office/drawing/2014/main" id="{A774945B-6229-814B-B3F8-F420E080FD93}"/>
              </a:ext>
            </a:extLst>
          </p:cNvPr>
          <p:cNvSpPr/>
          <p:nvPr/>
        </p:nvSpPr>
        <p:spPr>
          <a:xfrm>
            <a:off x="355616" y="2231366"/>
            <a:ext cx="4747326" cy="3046988"/>
          </a:xfrm>
          <a:prstGeom prst="rect">
            <a:avLst/>
          </a:prstGeom>
        </p:spPr>
        <p:txBody>
          <a:bodyPr wrap="square" lIns="91440">
            <a:spAutoFit/>
          </a:bodyPr>
          <a:lstStyle/>
          <a:p>
            <a:pPr lvl="0">
              <a:spcBef>
                <a:spcPts val="1800"/>
              </a:spcBef>
              <a:spcAft>
                <a:spcPts val="1800"/>
              </a:spcAft>
              <a:defRPr/>
            </a:pPr>
            <a:r>
              <a:rPr kumimoji="0" lang="en-US" sz="1800" b="1" i="0" u="none" strike="noStrike" kern="0" cap="none" spc="0" normalizeH="0" baseline="0" noProof="0">
                <a:ln>
                  <a:noFill/>
                </a:ln>
                <a:solidFill>
                  <a:sysClr val="windowText" lastClr="000000"/>
                </a:solidFill>
                <a:effectLst/>
                <a:uLnTx/>
                <a:uFillTx/>
              </a:rPr>
              <a:t>Measure wind speed at boom height with an anemometer. </a:t>
            </a:r>
            <a:br>
              <a:rPr kumimoji="0" lang="en-US" sz="1800" b="1" i="0" u="none" strike="noStrike" kern="0" cap="none" spc="0" normalizeH="0" baseline="0" noProof="0">
                <a:ln>
                  <a:noFill/>
                </a:ln>
                <a:solidFill>
                  <a:sysClr val="windowText" lastClr="000000"/>
                </a:solidFill>
                <a:effectLst/>
                <a:uLnTx/>
                <a:uFillTx/>
              </a:rPr>
            </a:br>
            <a:r>
              <a:rPr kumimoji="0" lang="en-US" sz="1800" i="0" u="none" strike="noStrike" kern="0" cap="none" spc="0" normalizeH="0" baseline="0" noProof="0">
                <a:ln>
                  <a:noFill/>
                </a:ln>
                <a:solidFill>
                  <a:sysClr val="windowText" lastClr="000000"/>
                </a:solidFill>
                <a:effectLst/>
                <a:uLnTx/>
                <a:uFillTx/>
              </a:rPr>
              <a:t>Recommended </a:t>
            </a:r>
            <a:r>
              <a:rPr kumimoji="0" lang="en-US" sz="1800" b="0" i="0" u="none" strike="noStrike" kern="0" cap="none" spc="0" normalizeH="0" baseline="0" noProof="0">
                <a:ln>
                  <a:noFill/>
                </a:ln>
                <a:solidFill>
                  <a:sysClr val="windowText" lastClr="000000"/>
                </a:solidFill>
                <a:effectLst/>
                <a:uLnTx/>
                <a:uFillTx/>
              </a:rPr>
              <a:t>2 minute sustained average</a:t>
            </a:r>
            <a:r>
              <a:rPr lang="en-US" kern="0">
                <a:solidFill>
                  <a:sysClr val="windowText" lastClr="000000"/>
                </a:solidFill>
              </a:rPr>
              <a:t>. </a:t>
            </a:r>
            <a:r>
              <a:rPr lang="en-US" sz="1400" kern="0">
                <a:solidFill>
                  <a:sysClr val="windowText" lastClr="000000"/>
                </a:solidFill>
              </a:rPr>
              <a:t>(Federal Aviation Administration, 2012) </a:t>
            </a:r>
          </a:p>
          <a:p>
            <a:pPr>
              <a:spcBef>
                <a:spcPts val="1800"/>
              </a:spcBef>
              <a:spcAft>
                <a:spcPts val="1800"/>
              </a:spcAft>
              <a:defRPr/>
            </a:pPr>
            <a:r>
              <a:rPr lang="en-US">
                <a:latin typeface="Arial Narrow" panose="020B0606020202030204" pitchFamily="34" charset="0"/>
              </a:rPr>
              <a:t>It is important for the applicator to be aware that wind direction may vary during the application. If wind direction shifts such that the wind is blowing toward adjacent non-dicamba tolerant sensitive crops, the applicator </a:t>
            </a:r>
            <a:r>
              <a:rPr lang="en-US" b="1">
                <a:latin typeface="Arial Narrow" panose="020B0606020202030204" pitchFamily="34" charset="0"/>
              </a:rPr>
              <a:t>must STOP</a:t>
            </a:r>
            <a:r>
              <a:rPr lang="en-US">
                <a:latin typeface="Arial Narrow" panose="020B0606020202030204" pitchFamily="34" charset="0"/>
              </a:rPr>
              <a:t> the application.</a:t>
            </a:r>
          </a:p>
        </p:txBody>
      </p:sp>
      <p:sp>
        <p:nvSpPr>
          <p:cNvPr id="25" name="Footer Placeholder 24">
            <a:extLst>
              <a:ext uri="{FF2B5EF4-FFF2-40B4-BE49-F238E27FC236}">
                <a16:creationId xmlns:a16="http://schemas.microsoft.com/office/drawing/2014/main" id="{05B6C272-167A-4373-94CB-513F31EB5B9A}"/>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26" name="Slide Number Placeholder 25">
            <a:extLst>
              <a:ext uri="{FF2B5EF4-FFF2-40B4-BE49-F238E27FC236}">
                <a16:creationId xmlns:a16="http://schemas.microsoft.com/office/drawing/2014/main" id="{421EC717-2A19-4FAA-8DDC-D65EB9C291BE}"/>
              </a:ext>
            </a:extLst>
          </p:cNvPr>
          <p:cNvSpPr>
            <a:spLocks noGrp="1"/>
          </p:cNvSpPr>
          <p:nvPr>
            <p:ph type="sldNum" sz="quarter" idx="16"/>
          </p:nvPr>
        </p:nvSpPr>
        <p:spPr/>
        <p:txBody>
          <a:bodyPr/>
          <a:lstStyle/>
          <a:p>
            <a:fld id="{5382645D-9DD6-408C-B0EA-C65795F9B1DE}" type="slidenum">
              <a:rPr lang="en-US" smtClean="0"/>
              <a:pPr/>
              <a:t>14</a:t>
            </a:fld>
            <a:endParaRPr lang="en-US"/>
          </a:p>
        </p:txBody>
      </p:sp>
      <p:sp>
        <p:nvSpPr>
          <p:cNvPr id="14" name="Title 1">
            <a:extLst>
              <a:ext uri="{FF2B5EF4-FFF2-40B4-BE49-F238E27FC236}">
                <a16:creationId xmlns:a16="http://schemas.microsoft.com/office/drawing/2014/main" id="{4E65A543-FDB4-447E-A21B-4979FC3C97BE}"/>
              </a:ext>
            </a:extLst>
          </p:cNvPr>
          <p:cNvSpPr txBox="1">
            <a:spLocks/>
          </p:cNvSpPr>
          <p:nvPr/>
        </p:nvSpPr>
        <p:spPr>
          <a:xfrm>
            <a:off x="838200" y="228600"/>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Application Equipment </a:t>
            </a:r>
            <a:br>
              <a:rPr lang="en-US"/>
            </a:br>
            <a:r>
              <a:rPr lang="en-US"/>
              <a:t>and Techniques</a:t>
            </a:r>
            <a:endPar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endParaRPr>
          </a:p>
        </p:txBody>
      </p:sp>
      <p:sp>
        <p:nvSpPr>
          <p:cNvPr id="16" name="Text Placeholder 1">
            <a:extLst>
              <a:ext uri="{FF2B5EF4-FFF2-40B4-BE49-F238E27FC236}">
                <a16:creationId xmlns:a16="http://schemas.microsoft.com/office/drawing/2014/main" id="{7753D6F0-8F65-456E-A265-9C5F44D0E43C}"/>
              </a:ext>
            </a:extLst>
          </p:cNvPr>
          <p:cNvSpPr txBox="1">
            <a:spLocks/>
          </p:cNvSpPr>
          <p:nvPr/>
        </p:nvSpPr>
        <p:spPr>
          <a:xfrm>
            <a:off x="838200" y="1307592"/>
            <a:ext cx="10515600" cy="341632"/>
          </a:xfrm>
          <a:prstGeom prst="rect">
            <a:avLst/>
          </a:prstGeom>
        </p:spPr>
        <p:txBody>
          <a:bodyPr vert="horz"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Keeping track of the wind speed and direction</a:t>
            </a:r>
          </a:p>
        </p:txBody>
      </p:sp>
      <p:pic>
        <p:nvPicPr>
          <p:cNvPr id="2" name="Picture 1">
            <a:extLst>
              <a:ext uri="{FF2B5EF4-FFF2-40B4-BE49-F238E27FC236}">
                <a16:creationId xmlns:a16="http://schemas.microsoft.com/office/drawing/2014/main" id="{0C07127B-4CFF-48FE-A931-5DFC63C47EB8}"/>
              </a:ext>
            </a:extLst>
          </p:cNvPr>
          <p:cNvPicPr>
            <a:picLocks noChangeAspect="1"/>
          </p:cNvPicPr>
          <p:nvPr/>
        </p:nvPicPr>
        <p:blipFill>
          <a:blip r:embed="rId4"/>
          <a:stretch>
            <a:fillRect/>
          </a:stretch>
        </p:blipFill>
        <p:spPr>
          <a:xfrm>
            <a:off x="914400" y="6311900"/>
            <a:ext cx="1171575" cy="495300"/>
          </a:xfrm>
          <a:prstGeom prst="rect">
            <a:avLst/>
          </a:prstGeom>
        </p:spPr>
      </p:pic>
      <p:pic>
        <p:nvPicPr>
          <p:cNvPr id="12" name="Picture 11">
            <a:extLst>
              <a:ext uri="{FF2B5EF4-FFF2-40B4-BE49-F238E27FC236}">
                <a16:creationId xmlns:a16="http://schemas.microsoft.com/office/drawing/2014/main" id="{31F50844-34F9-4E3B-8A32-78B4CE5C7FA4}"/>
              </a:ext>
            </a:extLst>
          </p:cNvPr>
          <p:cNvPicPr>
            <a:picLocks noChangeAspect="1"/>
          </p:cNvPicPr>
          <p:nvPr/>
        </p:nvPicPr>
        <p:blipFill>
          <a:blip r:embed="rId5"/>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410250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D070D87-E951-834A-A66C-2726CFFCCE78}"/>
              </a:ext>
            </a:extLst>
          </p:cNvPr>
          <p:cNvSpPr/>
          <p:nvPr/>
        </p:nvSpPr>
        <p:spPr>
          <a:xfrm>
            <a:off x="0" y="5172677"/>
            <a:ext cx="12192000" cy="11524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ectangle 24">
            <a:extLst>
              <a:ext uri="{FF2B5EF4-FFF2-40B4-BE49-F238E27FC236}">
                <a16:creationId xmlns:a16="http://schemas.microsoft.com/office/drawing/2014/main" id="{DD91A245-7112-4380-B1CD-6487A84DCE7C}"/>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FF90765-F862-4EEF-99DD-1B5624302AB2}"/>
              </a:ext>
            </a:extLst>
          </p:cNvPr>
          <p:cNvGrpSpPr/>
          <p:nvPr/>
        </p:nvGrpSpPr>
        <p:grpSpPr>
          <a:xfrm>
            <a:off x="950173" y="6425309"/>
            <a:ext cx="1075910" cy="230941"/>
            <a:chOff x="201074" y="6425309"/>
            <a:chExt cx="1075910" cy="230941"/>
          </a:xfrm>
        </p:grpSpPr>
        <p:sp>
          <p:nvSpPr>
            <p:cNvPr id="30" name="Rectangle 29">
              <a:extLst>
                <a:ext uri="{FF2B5EF4-FFF2-40B4-BE49-F238E27FC236}">
                  <a16:creationId xmlns:a16="http://schemas.microsoft.com/office/drawing/2014/main" id="{05834604-D7CF-4FC8-BBB7-884EE661183F}"/>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1" name="Straight Connector 30">
              <a:extLst>
                <a:ext uri="{FF2B5EF4-FFF2-40B4-BE49-F238E27FC236}">
                  <a16:creationId xmlns:a16="http://schemas.microsoft.com/office/drawing/2014/main" id="{F7DA8EDF-EF01-4C25-A09C-5C14979CCB51}"/>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41F4CBE5-052F-4D2A-B9D5-3BF090061406}"/>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3" name="Title 1">
              <a:extLst>
                <a:ext uri="{FF2B5EF4-FFF2-40B4-BE49-F238E27FC236}">
                  <a16:creationId xmlns:a16="http://schemas.microsoft.com/office/drawing/2014/main" id="{941945D9-7730-4E65-8C58-B59FC3A62BC0}"/>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10" name="TextBox 9">
            <a:extLst>
              <a:ext uri="{FF2B5EF4-FFF2-40B4-BE49-F238E27FC236}">
                <a16:creationId xmlns:a16="http://schemas.microsoft.com/office/drawing/2014/main" id="{E5DA1F16-AEED-9F41-B725-F345D154798A}"/>
              </a:ext>
            </a:extLst>
          </p:cNvPr>
          <p:cNvSpPr txBox="1"/>
          <p:nvPr/>
        </p:nvSpPr>
        <p:spPr>
          <a:xfrm>
            <a:off x="1240225" y="5377750"/>
            <a:ext cx="10049657"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accent6"/>
                </a:solidFill>
                <a:effectLst/>
                <a:uLnTx/>
                <a:uFillTx/>
              </a:rPr>
              <a:t>Applicators are required to consult the application requirements website no more than 7 days before application for a complete list of nozzles, VRAs, DRAs, drift reduction technology (DRT) and other herbicides, pesticides, and additives approved for use with these products</a:t>
            </a:r>
          </a:p>
        </p:txBody>
      </p:sp>
      <p:sp>
        <p:nvSpPr>
          <p:cNvPr id="12" name="Footer Placeholder 11">
            <a:extLst>
              <a:ext uri="{FF2B5EF4-FFF2-40B4-BE49-F238E27FC236}">
                <a16:creationId xmlns:a16="http://schemas.microsoft.com/office/drawing/2014/main" id="{479B5AA4-6850-4018-8626-B26C4E9F14E0}"/>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4" name="Slide Number Placeholder 13">
            <a:extLst>
              <a:ext uri="{FF2B5EF4-FFF2-40B4-BE49-F238E27FC236}">
                <a16:creationId xmlns:a16="http://schemas.microsoft.com/office/drawing/2014/main" id="{E8998181-D9C1-4C43-B971-35E0EB25D617}"/>
              </a:ext>
            </a:extLst>
          </p:cNvPr>
          <p:cNvSpPr>
            <a:spLocks noGrp="1"/>
          </p:cNvSpPr>
          <p:nvPr>
            <p:ph type="sldNum" sz="quarter" idx="16"/>
          </p:nvPr>
        </p:nvSpPr>
        <p:spPr/>
        <p:txBody>
          <a:bodyPr/>
          <a:lstStyle/>
          <a:p>
            <a:fld id="{5382645D-9DD6-408C-B0EA-C65795F9B1DE}" type="slidenum">
              <a:rPr lang="en-US" smtClean="0"/>
              <a:pPr/>
              <a:t>15</a:t>
            </a:fld>
            <a:endParaRPr lang="en-US"/>
          </a:p>
        </p:txBody>
      </p:sp>
      <p:grpSp>
        <p:nvGrpSpPr>
          <p:cNvPr id="24" name="Group 23">
            <a:extLst>
              <a:ext uri="{FF2B5EF4-FFF2-40B4-BE49-F238E27FC236}">
                <a16:creationId xmlns:a16="http://schemas.microsoft.com/office/drawing/2014/main" id="{7AD1AA6C-52D4-47D2-97EF-86FA269964CC}"/>
              </a:ext>
            </a:extLst>
          </p:cNvPr>
          <p:cNvGrpSpPr/>
          <p:nvPr/>
        </p:nvGrpSpPr>
        <p:grpSpPr>
          <a:xfrm>
            <a:off x="824922" y="5542222"/>
            <a:ext cx="366712" cy="393700"/>
            <a:chOff x="835025" y="5568950"/>
            <a:chExt cx="366712" cy="393700"/>
          </a:xfrm>
        </p:grpSpPr>
        <p:sp>
          <p:nvSpPr>
            <p:cNvPr id="22" name="Freeform 12">
              <a:extLst>
                <a:ext uri="{FF2B5EF4-FFF2-40B4-BE49-F238E27FC236}">
                  <a16:creationId xmlns:a16="http://schemas.microsoft.com/office/drawing/2014/main" id="{43E68CEE-D50F-4BC2-8914-EBA8BAE51D4F}"/>
                </a:ext>
              </a:extLst>
            </p:cNvPr>
            <p:cNvSpPr>
              <a:spLocks noEditPoints="1"/>
            </p:cNvSpPr>
            <p:nvPr/>
          </p:nvSpPr>
          <p:spPr bwMode="auto">
            <a:xfrm>
              <a:off x="993775" y="5734050"/>
              <a:ext cx="49212" cy="169863"/>
            </a:xfrm>
            <a:custGeom>
              <a:avLst/>
              <a:gdLst>
                <a:gd name="T0" fmla="*/ 2 w 66"/>
                <a:gd name="T1" fmla="*/ 168 h 222"/>
                <a:gd name="T2" fmla="*/ 2 w 66"/>
                <a:gd name="T3" fmla="*/ 168 h 222"/>
                <a:gd name="T4" fmla="*/ 64 w 66"/>
                <a:gd name="T5" fmla="*/ 168 h 222"/>
                <a:gd name="T6" fmla="*/ 64 w 66"/>
                <a:gd name="T7" fmla="*/ 222 h 222"/>
                <a:gd name="T8" fmla="*/ 2 w 66"/>
                <a:gd name="T9" fmla="*/ 222 h 222"/>
                <a:gd name="T10" fmla="*/ 2 w 66"/>
                <a:gd name="T11" fmla="*/ 168 h 222"/>
                <a:gd name="T12" fmla="*/ 0 w 66"/>
                <a:gd name="T13" fmla="*/ 0 h 222"/>
                <a:gd name="T14" fmla="*/ 0 w 66"/>
                <a:gd name="T15" fmla="*/ 0 h 222"/>
                <a:gd name="T16" fmla="*/ 66 w 66"/>
                <a:gd name="T17" fmla="*/ 0 h 222"/>
                <a:gd name="T18" fmla="*/ 66 w 66"/>
                <a:gd name="T19" fmla="*/ 51 h 222"/>
                <a:gd name="T20" fmla="*/ 53 w 66"/>
                <a:gd name="T21" fmla="*/ 153 h 222"/>
                <a:gd name="T22" fmla="*/ 12 w 66"/>
                <a:gd name="T23" fmla="*/ 153 h 222"/>
                <a:gd name="T24" fmla="*/ 0 w 66"/>
                <a:gd name="T25" fmla="*/ 51 h 222"/>
                <a:gd name="T26" fmla="*/ 0 w 66"/>
                <a:gd name="T27"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222">
                  <a:moveTo>
                    <a:pt x="2" y="168"/>
                  </a:moveTo>
                  <a:lnTo>
                    <a:pt x="2" y="168"/>
                  </a:lnTo>
                  <a:lnTo>
                    <a:pt x="64" y="168"/>
                  </a:lnTo>
                  <a:lnTo>
                    <a:pt x="64" y="222"/>
                  </a:lnTo>
                  <a:lnTo>
                    <a:pt x="2" y="222"/>
                  </a:lnTo>
                  <a:lnTo>
                    <a:pt x="2" y="168"/>
                  </a:lnTo>
                  <a:close/>
                  <a:moveTo>
                    <a:pt x="0" y="0"/>
                  </a:moveTo>
                  <a:lnTo>
                    <a:pt x="0" y="0"/>
                  </a:lnTo>
                  <a:lnTo>
                    <a:pt x="66" y="0"/>
                  </a:lnTo>
                  <a:lnTo>
                    <a:pt x="66" y="51"/>
                  </a:lnTo>
                  <a:lnTo>
                    <a:pt x="53" y="153"/>
                  </a:lnTo>
                  <a:lnTo>
                    <a:pt x="12" y="153"/>
                  </a:lnTo>
                  <a:lnTo>
                    <a:pt x="0" y="51"/>
                  </a:lnTo>
                  <a:lnTo>
                    <a:pt x="0"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4BB3FA-C08B-4507-8407-F8E0351C6F1E}"/>
                </a:ext>
              </a:extLst>
            </p:cNvPr>
            <p:cNvSpPr>
              <a:spLocks noEditPoints="1"/>
            </p:cNvSpPr>
            <p:nvPr/>
          </p:nvSpPr>
          <p:spPr bwMode="auto">
            <a:xfrm>
              <a:off x="835025" y="5568950"/>
              <a:ext cx="366712" cy="393700"/>
            </a:xfrm>
            <a:custGeom>
              <a:avLst/>
              <a:gdLst>
                <a:gd name="T0" fmla="*/ 52 w 480"/>
                <a:gd name="T1" fmla="*/ 479 h 518"/>
                <a:gd name="T2" fmla="*/ 52 w 480"/>
                <a:gd name="T3" fmla="*/ 479 h 518"/>
                <a:gd name="T4" fmla="*/ 428 w 480"/>
                <a:gd name="T5" fmla="*/ 479 h 518"/>
                <a:gd name="T6" fmla="*/ 240 w 480"/>
                <a:gd name="T7" fmla="*/ 68 h 518"/>
                <a:gd name="T8" fmla="*/ 52 w 480"/>
                <a:gd name="T9" fmla="*/ 479 h 518"/>
                <a:gd name="T10" fmla="*/ 459 w 480"/>
                <a:gd name="T11" fmla="*/ 518 h 518"/>
                <a:gd name="T12" fmla="*/ 459 w 480"/>
                <a:gd name="T13" fmla="*/ 518 h 518"/>
                <a:gd name="T14" fmla="*/ 21 w 480"/>
                <a:gd name="T15" fmla="*/ 518 h 518"/>
                <a:gd name="T16" fmla="*/ 4 w 480"/>
                <a:gd name="T17" fmla="*/ 509 h 518"/>
                <a:gd name="T18" fmla="*/ 3 w 480"/>
                <a:gd name="T19" fmla="*/ 490 h 518"/>
                <a:gd name="T20" fmla="*/ 222 w 480"/>
                <a:gd name="T21" fmla="*/ 12 h 518"/>
                <a:gd name="T22" fmla="*/ 240 w 480"/>
                <a:gd name="T23" fmla="*/ 0 h 518"/>
                <a:gd name="T24" fmla="*/ 258 w 480"/>
                <a:gd name="T25" fmla="*/ 12 h 518"/>
                <a:gd name="T26" fmla="*/ 477 w 480"/>
                <a:gd name="T27" fmla="*/ 490 h 518"/>
                <a:gd name="T28" fmla="*/ 475 w 480"/>
                <a:gd name="T29" fmla="*/ 509 h 518"/>
                <a:gd name="T30" fmla="*/ 459 w 480"/>
                <a:gd name="T3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518">
                  <a:moveTo>
                    <a:pt x="52" y="479"/>
                  </a:moveTo>
                  <a:lnTo>
                    <a:pt x="52" y="479"/>
                  </a:lnTo>
                  <a:lnTo>
                    <a:pt x="428" y="479"/>
                  </a:lnTo>
                  <a:lnTo>
                    <a:pt x="240" y="68"/>
                  </a:lnTo>
                  <a:lnTo>
                    <a:pt x="52" y="479"/>
                  </a:lnTo>
                  <a:close/>
                  <a:moveTo>
                    <a:pt x="459" y="518"/>
                  </a:moveTo>
                  <a:lnTo>
                    <a:pt x="459" y="518"/>
                  </a:lnTo>
                  <a:lnTo>
                    <a:pt x="21" y="518"/>
                  </a:lnTo>
                  <a:cubicBezTo>
                    <a:pt x="14" y="518"/>
                    <a:pt x="8" y="515"/>
                    <a:pt x="4" y="509"/>
                  </a:cubicBezTo>
                  <a:cubicBezTo>
                    <a:pt x="1" y="503"/>
                    <a:pt x="0" y="496"/>
                    <a:pt x="3" y="490"/>
                  </a:cubicBezTo>
                  <a:lnTo>
                    <a:pt x="222" y="12"/>
                  </a:lnTo>
                  <a:cubicBezTo>
                    <a:pt x="225" y="5"/>
                    <a:pt x="232" y="0"/>
                    <a:pt x="240" y="0"/>
                  </a:cubicBezTo>
                  <a:cubicBezTo>
                    <a:pt x="248" y="0"/>
                    <a:pt x="255" y="5"/>
                    <a:pt x="258" y="12"/>
                  </a:cubicBezTo>
                  <a:lnTo>
                    <a:pt x="477" y="490"/>
                  </a:lnTo>
                  <a:cubicBezTo>
                    <a:pt x="480" y="496"/>
                    <a:pt x="479" y="503"/>
                    <a:pt x="475" y="509"/>
                  </a:cubicBezTo>
                  <a:cubicBezTo>
                    <a:pt x="472" y="515"/>
                    <a:pt x="465" y="518"/>
                    <a:pt x="459" y="51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 name="Title 1">
            <a:extLst>
              <a:ext uri="{FF2B5EF4-FFF2-40B4-BE49-F238E27FC236}">
                <a16:creationId xmlns:a16="http://schemas.microsoft.com/office/drawing/2014/main" id="{DFC03B9C-4BB6-43FB-9A69-F4C957F042A9}"/>
              </a:ext>
            </a:extLst>
          </p:cNvPr>
          <p:cNvSpPr txBox="1">
            <a:spLocks/>
          </p:cNvSpPr>
          <p:nvPr/>
        </p:nvSpPr>
        <p:spPr>
          <a:xfrm>
            <a:off x="467090" y="143536"/>
            <a:ext cx="7671619"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Application Equipment </a:t>
            </a:r>
            <a:br>
              <a:rPr lang="en-US"/>
            </a:br>
            <a:r>
              <a:rPr lang="en-US"/>
              <a:t>and Techniques</a:t>
            </a:r>
            <a:endPar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endParaRPr>
          </a:p>
        </p:txBody>
      </p:sp>
      <p:sp>
        <p:nvSpPr>
          <p:cNvPr id="34" name="TextBox 1">
            <a:extLst>
              <a:ext uri="{FF2B5EF4-FFF2-40B4-BE49-F238E27FC236}">
                <a16:creationId xmlns:a16="http://schemas.microsoft.com/office/drawing/2014/main" id="{AB16273D-B6E1-44C2-8306-279C88ED6985}"/>
              </a:ext>
            </a:extLst>
          </p:cNvPr>
          <p:cNvSpPr txBox="1"/>
          <p:nvPr/>
        </p:nvSpPr>
        <p:spPr>
          <a:xfrm>
            <a:off x="1453285" y="1885388"/>
            <a:ext cx="3132078" cy="14773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latin typeface="+mj-lt"/>
              </a:rPr>
              <a:t>ONLY US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rPr>
              <a:t>approved nozzles within the pressure ranges listed on </a:t>
            </a:r>
            <a:br>
              <a:rPr kumimoji="0" lang="en-US" sz="1800" b="0" i="0" u="none" strike="noStrike" kern="0" cap="none" spc="0" normalizeH="0" baseline="0" noProof="0">
                <a:ln>
                  <a:noFill/>
                </a:ln>
                <a:effectLst/>
                <a:uLnTx/>
                <a:uFillTx/>
              </a:rPr>
            </a:br>
            <a:r>
              <a:rPr kumimoji="0" lang="en-US" sz="1800" b="0" i="0" u="none" strike="noStrike" kern="0" cap="none" spc="0" normalizeH="0" baseline="0" noProof="0">
                <a:ln>
                  <a:noFill/>
                </a:ln>
                <a:effectLst/>
                <a:uLnTx/>
                <a:uFillTx/>
              </a:rPr>
              <a:t>the application requirements website</a:t>
            </a:r>
          </a:p>
        </p:txBody>
      </p:sp>
      <p:sp>
        <p:nvSpPr>
          <p:cNvPr id="37" name="TextBox 2">
            <a:extLst>
              <a:ext uri="{FF2B5EF4-FFF2-40B4-BE49-F238E27FC236}">
                <a16:creationId xmlns:a16="http://schemas.microsoft.com/office/drawing/2014/main" id="{708054B4-EE6E-4591-A240-6EADDB08F6BA}"/>
              </a:ext>
            </a:extLst>
          </p:cNvPr>
          <p:cNvSpPr txBox="1"/>
          <p:nvPr/>
        </p:nvSpPr>
        <p:spPr>
          <a:xfrm>
            <a:off x="6827634" y="1819323"/>
            <a:ext cx="4105404"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latin typeface="+mj-lt"/>
              </a:rPr>
              <a:t>DO NOT US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rPr>
              <a:t>any nozzle and pressure combination not specifically listed on the label or the specific product website</a:t>
            </a:r>
          </a:p>
        </p:txBody>
      </p:sp>
      <p:cxnSp>
        <p:nvCxnSpPr>
          <p:cNvPr id="38" name="Straight Connector 37">
            <a:extLst>
              <a:ext uri="{FF2B5EF4-FFF2-40B4-BE49-F238E27FC236}">
                <a16:creationId xmlns:a16="http://schemas.microsoft.com/office/drawing/2014/main" id="{DBA84641-D42A-4AE6-BE68-A0CB24E8AD71}"/>
              </a:ext>
            </a:extLst>
          </p:cNvPr>
          <p:cNvCxnSpPr>
            <a:cxnSpLocks/>
          </p:cNvCxnSpPr>
          <p:nvPr/>
        </p:nvCxnSpPr>
        <p:spPr>
          <a:xfrm flipV="1">
            <a:off x="5642652" y="1878061"/>
            <a:ext cx="0" cy="1150772"/>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3D31EA12-5A4F-4EB1-A904-6280F5DCF697}"/>
              </a:ext>
            </a:extLst>
          </p:cNvPr>
          <p:cNvGrpSpPr>
            <a:grpSpLocks noChangeAspect="1"/>
          </p:cNvGrpSpPr>
          <p:nvPr/>
        </p:nvGrpSpPr>
        <p:grpSpPr>
          <a:xfrm>
            <a:off x="6010653" y="2074681"/>
            <a:ext cx="655932" cy="658368"/>
            <a:chOff x="8909050" y="-2349500"/>
            <a:chExt cx="2136775" cy="2144712"/>
          </a:xfrm>
        </p:grpSpPr>
        <p:sp>
          <p:nvSpPr>
            <p:cNvPr id="41" name="Oval 40">
              <a:extLst>
                <a:ext uri="{FF2B5EF4-FFF2-40B4-BE49-F238E27FC236}">
                  <a16:creationId xmlns:a16="http://schemas.microsoft.com/office/drawing/2014/main" id="{4A5B3413-548A-4928-AD07-CF0107704D5E}"/>
                </a:ext>
              </a:extLst>
            </p:cNvPr>
            <p:cNvSpPr>
              <a:spLocks noChangeArrowheads="1"/>
            </p:cNvSpPr>
            <p:nvPr/>
          </p:nvSpPr>
          <p:spPr bwMode="auto">
            <a:xfrm>
              <a:off x="8909050" y="-2349500"/>
              <a:ext cx="2136775" cy="2144712"/>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D6BE1E9C-C85A-437C-94C9-7DABF22AD1BA}"/>
                </a:ext>
              </a:extLst>
            </p:cNvPr>
            <p:cNvSpPr>
              <a:spLocks/>
            </p:cNvSpPr>
            <p:nvPr/>
          </p:nvSpPr>
          <p:spPr bwMode="auto">
            <a:xfrm>
              <a:off x="9472613" y="-1782763"/>
              <a:ext cx="1009650" cy="1006475"/>
            </a:xfrm>
            <a:custGeom>
              <a:avLst/>
              <a:gdLst>
                <a:gd name="T0" fmla="*/ 195 w 331"/>
                <a:gd name="T1" fmla="*/ 166 h 329"/>
                <a:gd name="T2" fmla="*/ 322 w 331"/>
                <a:gd name="T3" fmla="*/ 38 h 329"/>
                <a:gd name="T4" fmla="*/ 322 w 331"/>
                <a:gd name="T5" fmla="*/ 8 h 329"/>
                <a:gd name="T6" fmla="*/ 293 w 331"/>
                <a:gd name="T7" fmla="*/ 8 h 329"/>
                <a:gd name="T8" fmla="*/ 165 w 331"/>
                <a:gd name="T9" fmla="*/ 136 h 329"/>
                <a:gd name="T10" fmla="*/ 38 w 331"/>
                <a:gd name="T11" fmla="*/ 8 h 329"/>
                <a:gd name="T12" fmla="*/ 8 w 331"/>
                <a:gd name="T13" fmla="*/ 8 h 329"/>
                <a:gd name="T14" fmla="*/ 8 w 331"/>
                <a:gd name="T15" fmla="*/ 38 h 329"/>
                <a:gd name="T16" fmla="*/ 136 w 331"/>
                <a:gd name="T17" fmla="*/ 166 h 329"/>
                <a:gd name="T18" fmla="*/ 8 w 331"/>
                <a:gd name="T19" fmla="*/ 293 h 329"/>
                <a:gd name="T20" fmla="*/ 8 w 331"/>
                <a:gd name="T21" fmla="*/ 323 h 329"/>
                <a:gd name="T22" fmla="*/ 23 w 331"/>
                <a:gd name="T23" fmla="*/ 329 h 329"/>
                <a:gd name="T24" fmla="*/ 38 w 331"/>
                <a:gd name="T25" fmla="*/ 323 h 329"/>
                <a:gd name="T26" fmla="*/ 165 w 331"/>
                <a:gd name="T27" fmla="*/ 195 h 329"/>
                <a:gd name="T28" fmla="*/ 293 w 331"/>
                <a:gd name="T29" fmla="*/ 323 h 329"/>
                <a:gd name="T30" fmla="*/ 308 w 331"/>
                <a:gd name="T31" fmla="*/ 329 h 329"/>
                <a:gd name="T32" fmla="*/ 322 w 331"/>
                <a:gd name="T33" fmla="*/ 323 h 329"/>
                <a:gd name="T34" fmla="*/ 322 w 331"/>
                <a:gd name="T35" fmla="*/ 293 h 329"/>
                <a:gd name="T36" fmla="*/ 195 w 331"/>
                <a:gd name="T37" fmla="*/ 16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1" h="329">
                  <a:moveTo>
                    <a:pt x="195" y="166"/>
                  </a:moveTo>
                  <a:cubicBezTo>
                    <a:pt x="322" y="38"/>
                    <a:pt x="322" y="38"/>
                    <a:pt x="322" y="38"/>
                  </a:cubicBezTo>
                  <a:cubicBezTo>
                    <a:pt x="331" y="30"/>
                    <a:pt x="331" y="17"/>
                    <a:pt x="322" y="8"/>
                  </a:cubicBezTo>
                  <a:cubicBezTo>
                    <a:pt x="314" y="0"/>
                    <a:pt x="301" y="0"/>
                    <a:pt x="293" y="8"/>
                  </a:cubicBezTo>
                  <a:cubicBezTo>
                    <a:pt x="165" y="136"/>
                    <a:pt x="165" y="136"/>
                    <a:pt x="165" y="136"/>
                  </a:cubicBezTo>
                  <a:cubicBezTo>
                    <a:pt x="38" y="8"/>
                    <a:pt x="38" y="8"/>
                    <a:pt x="38" y="8"/>
                  </a:cubicBezTo>
                  <a:cubicBezTo>
                    <a:pt x="30" y="0"/>
                    <a:pt x="16" y="0"/>
                    <a:pt x="8" y="8"/>
                  </a:cubicBezTo>
                  <a:cubicBezTo>
                    <a:pt x="0" y="17"/>
                    <a:pt x="0" y="30"/>
                    <a:pt x="8" y="38"/>
                  </a:cubicBezTo>
                  <a:cubicBezTo>
                    <a:pt x="136" y="166"/>
                    <a:pt x="136" y="166"/>
                    <a:pt x="136" y="166"/>
                  </a:cubicBezTo>
                  <a:cubicBezTo>
                    <a:pt x="8" y="293"/>
                    <a:pt x="8" y="293"/>
                    <a:pt x="8" y="293"/>
                  </a:cubicBezTo>
                  <a:cubicBezTo>
                    <a:pt x="0" y="301"/>
                    <a:pt x="0" y="315"/>
                    <a:pt x="8" y="323"/>
                  </a:cubicBezTo>
                  <a:cubicBezTo>
                    <a:pt x="12" y="327"/>
                    <a:pt x="18" y="329"/>
                    <a:pt x="23" y="329"/>
                  </a:cubicBezTo>
                  <a:cubicBezTo>
                    <a:pt x="28" y="329"/>
                    <a:pt x="34" y="327"/>
                    <a:pt x="38" y="323"/>
                  </a:cubicBezTo>
                  <a:cubicBezTo>
                    <a:pt x="165" y="195"/>
                    <a:pt x="165" y="195"/>
                    <a:pt x="165" y="195"/>
                  </a:cubicBezTo>
                  <a:cubicBezTo>
                    <a:pt x="293" y="323"/>
                    <a:pt x="293" y="323"/>
                    <a:pt x="293" y="323"/>
                  </a:cubicBezTo>
                  <a:cubicBezTo>
                    <a:pt x="297" y="327"/>
                    <a:pt x="302" y="329"/>
                    <a:pt x="308" y="329"/>
                  </a:cubicBezTo>
                  <a:cubicBezTo>
                    <a:pt x="313" y="329"/>
                    <a:pt x="318" y="327"/>
                    <a:pt x="322" y="323"/>
                  </a:cubicBezTo>
                  <a:cubicBezTo>
                    <a:pt x="331" y="315"/>
                    <a:pt x="331" y="301"/>
                    <a:pt x="322" y="293"/>
                  </a:cubicBezTo>
                  <a:lnTo>
                    <a:pt x="195"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a:extLst>
              <a:ext uri="{FF2B5EF4-FFF2-40B4-BE49-F238E27FC236}">
                <a16:creationId xmlns:a16="http://schemas.microsoft.com/office/drawing/2014/main" id="{1A0AA257-22EE-429A-BA54-6EC0268D673C}"/>
              </a:ext>
            </a:extLst>
          </p:cNvPr>
          <p:cNvGrpSpPr>
            <a:grpSpLocks noChangeAspect="1"/>
          </p:cNvGrpSpPr>
          <p:nvPr/>
        </p:nvGrpSpPr>
        <p:grpSpPr>
          <a:xfrm>
            <a:off x="700569" y="2131565"/>
            <a:ext cx="656906" cy="658368"/>
            <a:chOff x="-1143000" y="-2349500"/>
            <a:chExt cx="2139950" cy="2144712"/>
          </a:xfrm>
        </p:grpSpPr>
        <p:sp>
          <p:nvSpPr>
            <p:cNvPr id="44" name="Oval 43">
              <a:extLst>
                <a:ext uri="{FF2B5EF4-FFF2-40B4-BE49-F238E27FC236}">
                  <a16:creationId xmlns:a16="http://schemas.microsoft.com/office/drawing/2014/main" id="{254A2BFC-60F7-44AE-9B8E-AEB7EEE20866}"/>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
              <a:extLst>
                <a:ext uri="{FF2B5EF4-FFF2-40B4-BE49-F238E27FC236}">
                  <a16:creationId xmlns:a16="http://schemas.microsoft.com/office/drawing/2014/main" id="{A3BD2B5D-4B03-4B60-845D-1226B8636FDC}"/>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5" name="Picture 34">
            <a:extLst>
              <a:ext uri="{FF2B5EF4-FFF2-40B4-BE49-F238E27FC236}">
                <a16:creationId xmlns:a16="http://schemas.microsoft.com/office/drawing/2014/main" id="{F6DC5938-A2D3-4500-8ED0-0BF54E6AC48B}"/>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36" name="Picture 35">
            <a:extLst>
              <a:ext uri="{FF2B5EF4-FFF2-40B4-BE49-F238E27FC236}">
                <a16:creationId xmlns:a16="http://schemas.microsoft.com/office/drawing/2014/main" id="{23E1A640-5870-4570-8CEF-7CAF480D9D0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44446" y="745967"/>
            <a:ext cx="6549348" cy="4366232"/>
          </a:xfrm>
          <a:prstGeom prst="rect">
            <a:avLst/>
          </a:prstGeom>
        </p:spPr>
      </p:pic>
      <p:sp>
        <p:nvSpPr>
          <p:cNvPr id="39" name="Rectangle 38">
            <a:extLst>
              <a:ext uri="{FF2B5EF4-FFF2-40B4-BE49-F238E27FC236}">
                <a16:creationId xmlns:a16="http://schemas.microsoft.com/office/drawing/2014/main" id="{586CA5E0-702C-46C2-BEBA-1085C2C8D682}"/>
              </a:ext>
            </a:extLst>
          </p:cNvPr>
          <p:cNvSpPr/>
          <p:nvPr/>
        </p:nvSpPr>
        <p:spPr>
          <a:xfrm>
            <a:off x="419472" y="3946160"/>
            <a:ext cx="4747326" cy="369332"/>
          </a:xfrm>
          <a:prstGeom prst="rect">
            <a:avLst/>
          </a:prstGeom>
        </p:spPr>
        <p:txBody>
          <a:bodyPr wrap="square" lIns="91440">
            <a:spAutoFit/>
          </a:bodyPr>
          <a:lstStyle/>
          <a:p>
            <a:pPr lvl="0">
              <a:spcBef>
                <a:spcPts val="1800"/>
              </a:spcBef>
              <a:spcAft>
                <a:spcPts val="1800"/>
              </a:spcAft>
              <a:defRPr/>
            </a:pPr>
            <a:r>
              <a:rPr lang="en-US" b="1" kern="0">
                <a:solidFill>
                  <a:sysClr val="windowText" lastClr="000000"/>
                </a:solidFill>
                <a:latin typeface="Arial Narrow" panose="020B0606020202030204" pitchFamily="34" charset="0"/>
              </a:rPr>
              <a:t>e.g. </a:t>
            </a:r>
            <a:r>
              <a:rPr lang="en-US" b="1" u="sng" kern="0">
                <a:solidFill>
                  <a:sysClr val="windowText" lastClr="000000"/>
                </a:solidFill>
                <a:latin typeface="Arial Narrow" panose="020B0606020202030204" pitchFamily="34" charset="0"/>
              </a:rPr>
              <a:t>www.xtendimaxapplicationrequirements.com</a:t>
            </a:r>
            <a:endParaRPr lang="en-US">
              <a:latin typeface="Arial Narrow" panose="020B0606020202030204" pitchFamily="34" charset="0"/>
            </a:endParaRPr>
          </a:p>
        </p:txBody>
      </p:sp>
    </p:spTree>
    <p:extLst>
      <p:ext uri="{BB962C8B-B14F-4D97-AF65-F5344CB8AC3E}">
        <p14:creationId xmlns:p14="http://schemas.microsoft.com/office/powerpoint/2010/main" val="153646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7F851F6-B407-4B0B-9279-CF84ED7551B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4"/>
          <a:stretch/>
        </p:blipFill>
        <p:spPr>
          <a:xfrm>
            <a:off x="1604950" y="1860028"/>
            <a:ext cx="8910306" cy="4078267"/>
          </a:xfrm>
          <a:prstGeom prst="rect">
            <a:avLst/>
          </a:prstGeom>
        </p:spPr>
      </p:pic>
      <p:grpSp>
        <p:nvGrpSpPr>
          <p:cNvPr id="15" name="Group 14">
            <a:extLst>
              <a:ext uri="{FF2B5EF4-FFF2-40B4-BE49-F238E27FC236}">
                <a16:creationId xmlns:a16="http://schemas.microsoft.com/office/drawing/2014/main" id="{345B93ED-C917-454D-B26C-B14E8A34D7D7}"/>
              </a:ext>
            </a:extLst>
          </p:cNvPr>
          <p:cNvGrpSpPr/>
          <p:nvPr/>
        </p:nvGrpSpPr>
        <p:grpSpPr>
          <a:xfrm>
            <a:off x="1777226" y="5569422"/>
            <a:ext cx="8759891" cy="318410"/>
            <a:chOff x="1761240" y="5463028"/>
            <a:chExt cx="8759891" cy="318410"/>
          </a:xfrm>
        </p:grpSpPr>
        <p:sp>
          <p:nvSpPr>
            <p:cNvPr id="24" name="TextBox 23">
              <a:extLst>
                <a:ext uri="{FF2B5EF4-FFF2-40B4-BE49-F238E27FC236}">
                  <a16:creationId xmlns:a16="http://schemas.microsoft.com/office/drawing/2014/main" id="{CBC009CE-8EB8-4735-8755-ACEC1CCD2E90}"/>
                </a:ext>
              </a:extLst>
            </p:cNvPr>
            <p:cNvSpPr txBox="1"/>
            <p:nvPr/>
          </p:nvSpPr>
          <p:spPr>
            <a:xfrm>
              <a:off x="1761240" y="5465496"/>
              <a:ext cx="4199265" cy="307777"/>
            </a:xfrm>
            <a:prstGeom prst="rect">
              <a:avLst/>
            </a:prstGeom>
            <a:noFill/>
          </p:spPr>
          <p:txBody>
            <a:bodyPr wrap="square" lIns="182880" rtlCol="0" anchor="ctr">
              <a:spAutoFit/>
            </a:bodyPr>
            <a:lstStyle/>
            <a:p>
              <a:pPr algn="ctr">
                <a:defRPr/>
              </a:pPr>
              <a:r>
                <a:rPr lang="en-US" sz="1400" b="1" kern="0" spc="140">
                  <a:solidFill>
                    <a:schemeClr val="bg1"/>
                  </a:solidFill>
                  <a:latin typeface="+mj-lt"/>
                </a:rPr>
                <a:t>XR11004 (NOT APPROVED)</a:t>
              </a:r>
            </a:p>
          </p:txBody>
        </p:sp>
        <p:sp>
          <p:nvSpPr>
            <p:cNvPr id="25" name="TextBox 24">
              <a:extLst>
                <a:ext uri="{FF2B5EF4-FFF2-40B4-BE49-F238E27FC236}">
                  <a16:creationId xmlns:a16="http://schemas.microsoft.com/office/drawing/2014/main" id="{8128B0C7-8E91-48D5-B845-44C3326E22D2}"/>
                </a:ext>
              </a:extLst>
            </p:cNvPr>
            <p:cNvSpPr txBox="1"/>
            <p:nvPr/>
          </p:nvSpPr>
          <p:spPr>
            <a:xfrm>
              <a:off x="5827984" y="5465496"/>
              <a:ext cx="4693147" cy="307777"/>
            </a:xfrm>
            <a:prstGeom prst="rect">
              <a:avLst/>
            </a:prstGeom>
            <a:noFill/>
          </p:spPr>
          <p:txBody>
            <a:bodyPr wrap="square" lIns="182880" rtlCol="0" anchor="ctr">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kern="0" cap="all" spc="0" normalizeH="0" baseline="0">
                  <a:ln>
                    <a:noFill/>
                  </a:ln>
                  <a:solidFill>
                    <a:schemeClr val="bg1"/>
                  </a:solidFill>
                  <a:effectLst/>
                  <a:uLnTx/>
                  <a:uFillTx/>
                  <a:latin typeface="+mj-lt"/>
                </a:defRPr>
              </a:lvl1pPr>
            </a:lstStyle>
            <a:p>
              <a:pPr algn="ctr">
                <a:defRPr/>
              </a:pPr>
              <a:r>
                <a:rPr lang="en-US" b="1" spc="140"/>
                <a:t>TTI11004 (APPROVED)</a:t>
              </a:r>
            </a:p>
          </p:txBody>
        </p:sp>
        <p:cxnSp>
          <p:nvCxnSpPr>
            <p:cNvPr id="17" name="Straight Connector 16">
              <a:extLst>
                <a:ext uri="{FF2B5EF4-FFF2-40B4-BE49-F238E27FC236}">
                  <a16:creationId xmlns:a16="http://schemas.microsoft.com/office/drawing/2014/main" id="{55104242-D41D-41A8-973F-874D13AC663F}"/>
                </a:ext>
              </a:extLst>
            </p:cNvPr>
            <p:cNvCxnSpPr>
              <a:cxnSpLocks/>
            </p:cNvCxnSpPr>
            <p:nvPr/>
          </p:nvCxnSpPr>
          <p:spPr>
            <a:xfrm>
              <a:off x="5788228" y="5463028"/>
              <a:ext cx="0" cy="31841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4" name="Text Placeholder 3">
            <a:extLst>
              <a:ext uri="{FF2B5EF4-FFF2-40B4-BE49-F238E27FC236}">
                <a16:creationId xmlns:a16="http://schemas.microsoft.com/office/drawing/2014/main" id="{DC47A762-1B4A-4D6D-A9D9-0947006C1663}"/>
              </a:ext>
            </a:extLst>
          </p:cNvPr>
          <p:cNvSpPr txBox="1">
            <a:spLocks/>
          </p:cNvSpPr>
          <p:nvPr/>
        </p:nvSpPr>
        <p:spPr>
          <a:xfrm>
            <a:off x="1521969" y="1373535"/>
            <a:ext cx="3079003" cy="369332"/>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tx1"/>
                </a:solidFill>
                <a:effectLst/>
                <a:uLnTx/>
                <a:uFillTx/>
                <a:latin typeface="+mj-lt"/>
              </a:rPr>
              <a:t>Nozzle Tip Impact on Drift</a:t>
            </a:r>
          </a:p>
        </p:txBody>
      </p:sp>
      <p:sp>
        <p:nvSpPr>
          <p:cNvPr id="32" name="TextBox 31">
            <a:extLst>
              <a:ext uri="{FF2B5EF4-FFF2-40B4-BE49-F238E27FC236}">
                <a16:creationId xmlns:a16="http://schemas.microsoft.com/office/drawing/2014/main" id="{5F7FFEF8-162E-4FF2-ADDD-57A317684811}"/>
              </a:ext>
            </a:extLst>
          </p:cNvPr>
          <p:cNvSpPr txBox="1"/>
          <p:nvPr/>
        </p:nvSpPr>
        <p:spPr>
          <a:xfrm>
            <a:off x="8069103" y="1882682"/>
            <a:ext cx="2428258" cy="276999"/>
          </a:xfrm>
          <a:prstGeom prst="rect">
            <a:avLst/>
          </a:prstGeom>
          <a:solidFill>
            <a:schemeClr val="bg1"/>
          </a:solidFill>
          <a:ln w="38100">
            <a:solidFill>
              <a:schemeClr val="tx1"/>
            </a:solidFill>
            <a:miter lim="800000"/>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APPLICATION PARAMETERS</a:t>
            </a:r>
          </a:p>
        </p:txBody>
      </p:sp>
      <p:grpSp>
        <p:nvGrpSpPr>
          <p:cNvPr id="12" name="Group 11">
            <a:extLst>
              <a:ext uri="{FF2B5EF4-FFF2-40B4-BE49-F238E27FC236}">
                <a16:creationId xmlns:a16="http://schemas.microsoft.com/office/drawing/2014/main" id="{86EE1197-01A4-914C-8281-1D537E94F617}"/>
              </a:ext>
            </a:extLst>
          </p:cNvPr>
          <p:cNvGrpSpPr/>
          <p:nvPr/>
        </p:nvGrpSpPr>
        <p:grpSpPr>
          <a:xfrm>
            <a:off x="8069104" y="2161592"/>
            <a:ext cx="2428258" cy="735957"/>
            <a:chOff x="7699553" y="1968854"/>
            <a:chExt cx="2428258" cy="735957"/>
          </a:xfrm>
        </p:grpSpPr>
        <p:sp>
          <p:nvSpPr>
            <p:cNvPr id="9" name="Rectangle 8">
              <a:extLst>
                <a:ext uri="{FF2B5EF4-FFF2-40B4-BE49-F238E27FC236}">
                  <a16:creationId xmlns:a16="http://schemas.microsoft.com/office/drawing/2014/main" id="{53662F5F-CE1C-EF4B-8A24-E2F4510BACAA}"/>
                </a:ext>
              </a:extLst>
            </p:cNvPr>
            <p:cNvSpPr/>
            <p:nvPr/>
          </p:nvSpPr>
          <p:spPr>
            <a:xfrm>
              <a:off x="7699553" y="1968854"/>
              <a:ext cx="2428258" cy="73595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6" name="Rectangle 5">
              <a:extLst>
                <a:ext uri="{FF2B5EF4-FFF2-40B4-BE49-F238E27FC236}">
                  <a16:creationId xmlns:a16="http://schemas.microsoft.com/office/drawing/2014/main" id="{57F04FAC-F7FA-3B42-9F74-5AD3CC6BFD4A}"/>
                </a:ext>
              </a:extLst>
            </p:cNvPr>
            <p:cNvSpPr/>
            <p:nvPr/>
          </p:nvSpPr>
          <p:spPr>
            <a:xfrm>
              <a:off x="7763790" y="2007796"/>
              <a:ext cx="2299781"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14 DAT  |  15GPA  |  40 PSI</a:t>
              </a:r>
            </a:p>
            <a:p>
              <a:pPr lvl="0">
                <a:defRPr/>
              </a:pPr>
              <a:r>
                <a:rPr lang="en-US" sz="1200" b="1" kern="0" spc="140">
                  <a:solidFill>
                    <a:sysClr val="windowText" lastClr="000000"/>
                  </a:solidFill>
                  <a:latin typeface="Arial Narrow" charset="0"/>
                  <a:ea typeface="Arial Narrow" charset="0"/>
                  <a:cs typeface="Arial Narrow" charset="0"/>
                </a:rPr>
                <a:t>BOOMHEIGHT 24 INCHES </a:t>
              </a:r>
            </a:p>
            <a:p>
              <a:pPr lvl="0">
                <a:defRPr/>
              </a:pPr>
              <a:r>
                <a:rPr lang="en-US" sz="1200" b="1" kern="0" spc="140">
                  <a:solidFill>
                    <a:sysClr val="windowText" lastClr="000000"/>
                  </a:solidFill>
                  <a:latin typeface="Arial Narrow" charset="0"/>
                  <a:ea typeface="Arial Narrow" charset="0"/>
                  <a:cs typeface="Arial Narrow" charset="0"/>
                </a:rPr>
                <a:t>2018 </a:t>
              </a: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MONMOUTH, IL</a:t>
              </a:r>
            </a:p>
          </p:txBody>
        </p:sp>
      </p:grpSp>
      <p:sp>
        <p:nvSpPr>
          <p:cNvPr id="22" name="Title 1">
            <a:extLst>
              <a:ext uri="{FF2B5EF4-FFF2-40B4-BE49-F238E27FC236}">
                <a16:creationId xmlns:a16="http://schemas.microsoft.com/office/drawing/2014/main" id="{E693A8C0-2947-48D5-B7BB-645E72D72251}"/>
              </a:ext>
            </a:extLst>
          </p:cNvPr>
          <p:cNvSpPr txBox="1">
            <a:spLocks/>
          </p:cNvSpPr>
          <p:nvPr/>
        </p:nvSpPr>
        <p:spPr>
          <a:xfrm>
            <a:off x="838200" y="228600"/>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Demonstration on importance </a:t>
            </a:r>
            <a:b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br>
            <a: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of proper nozzles</a:t>
            </a:r>
          </a:p>
        </p:txBody>
      </p:sp>
      <p:sp>
        <p:nvSpPr>
          <p:cNvPr id="26" name="TextBox 25">
            <a:extLst>
              <a:ext uri="{FF2B5EF4-FFF2-40B4-BE49-F238E27FC236}">
                <a16:creationId xmlns:a16="http://schemas.microsoft.com/office/drawing/2014/main" id="{FD41601D-C1CD-457A-B9E5-19F89F9808C5}"/>
              </a:ext>
            </a:extLst>
          </p:cNvPr>
          <p:cNvSpPr txBox="1"/>
          <p:nvPr/>
        </p:nvSpPr>
        <p:spPr>
          <a:xfrm>
            <a:off x="1872819" y="4068311"/>
            <a:ext cx="4309203" cy="53948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40">
                <a:solidFill>
                  <a:schemeClr val="bg1"/>
                </a:solidFill>
                <a:latin typeface="+mj-lt"/>
              </a:rPr>
              <a:t>VISIBLE CROP</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40">
                <a:solidFill>
                  <a:schemeClr val="bg1"/>
                </a:solidFill>
                <a:latin typeface="+mj-lt"/>
              </a:rPr>
              <a:t>SYMPTOMOLOGY</a:t>
            </a:r>
          </a:p>
        </p:txBody>
      </p:sp>
      <p:sp>
        <p:nvSpPr>
          <p:cNvPr id="30" name="Footer Placeholder 29">
            <a:extLst>
              <a:ext uri="{FF2B5EF4-FFF2-40B4-BE49-F238E27FC236}">
                <a16:creationId xmlns:a16="http://schemas.microsoft.com/office/drawing/2014/main" id="{7B56E53F-680C-47E5-9001-ABE317A391E4}"/>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31" name="Slide Number Placeholder 30">
            <a:extLst>
              <a:ext uri="{FF2B5EF4-FFF2-40B4-BE49-F238E27FC236}">
                <a16:creationId xmlns:a16="http://schemas.microsoft.com/office/drawing/2014/main" id="{117B208A-1748-48E1-9CA2-EBE402E20547}"/>
              </a:ext>
            </a:extLst>
          </p:cNvPr>
          <p:cNvSpPr>
            <a:spLocks noGrp="1"/>
          </p:cNvSpPr>
          <p:nvPr>
            <p:ph type="sldNum" sz="quarter" idx="16"/>
          </p:nvPr>
        </p:nvSpPr>
        <p:spPr/>
        <p:txBody>
          <a:bodyPr/>
          <a:lstStyle/>
          <a:p>
            <a:fld id="{5382645D-9DD6-408C-B0EA-C65795F9B1DE}" type="slidenum">
              <a:rPr lang="en-US" smtClean="0"/>
              <a:pPr/>
              <a:t>16</a:t>
            </a:fld>
            <a:endParaRPr lang="en-US"/>
          </a:p>
        </p:txBody>
      </p:sp>
      <p:sp>
        <p:nvSpPr>
          <p:cNvPr id="28" name="TextBox 27">
            <a:extLst>
              <a:ext uri="{FF2B5EF4-FFF2-40B4-BE49-F238E27FC236}">
                <a16:creationId xmlns:a16="http://schemas.microsoft.com/office/drawing/2014/main" id="{5BEF85CD-094A-4ADC-9F08-E5BE5FC094D0}"/>
              </a:ext>
            </a:extLst>
          </p:cNvPr>
          <p:cNvSpPr txBox="1"/>
          <p:nvPr/>
        </p:nvSpPr>
        <p:spPr>
          <a:xfrm>
            <a:off x="7106872" y="3167336"/>
            <a:ext cx="1680290" cy="369332"/>
          </a:xfrm>
          <a:prstGeom prst="rect">
            <a:avLst/>
          </a:prstGeom>
          <a:noFill/>
        </p:spPr>
        <p:txBody>
          <a:bodyPr wrap="square" rtlCol="0" anchor="ctr">
            <a:spAutoFit/>
          </a:bodyPr>
          <a:lstStyle/>
          <a:p>
            <a:pPr algn="ctr">
              <a:defRPr/>
            </a:pPr>
            <a:r>
              <a:rPr lang="en-US" b="1" kern="0" spc="140">
                <a:solidFill>
                  <a:schemeClr val="bg1"/>
                </a:solidFill>
                <a:latin typeface="+mj-lt"/>
              </a:rPr>
              <a:t>400 FT</a:t>
            </a:r>
          </a:p>
        </p:txBody>
      </p:sp>
      <p:grpSp>
        <p:nvGrpSpPr>
          <p:cNvPr id="21" name="Group 20">
            <a:extLst>
              <a:ext uri="{FF2B5EF4-FFF2-40B4-BE49-F238E27FC236}">
                <a16:creationId xmlns:a16="http://schemas.microsoft.com/office/drawing/2014/main" id="{8902A6CC-358F-4832-B52A-2FEE441E6D44}"/>
              </a:ext>
            </a:extLst>
          </p:cNvPr>
          <p:cNvGrpSpPr/>
          <p:nvPr/>
        </p:nvGrpSpPr>
        <p:grpSpPr>
          <a:xfrm>
            <a:off x="1443038" y="1887538"/>
            <a:ext cx="9191625" cy="3625850"/>
            <a:chOff x="1443038" y="1887538"/>
            <a:chExt cx="9191625" cy="3625850"/>
          </a:xfrm>
          <a:solidFill>
            <a:schemeClr val="bg1"/>
          </a:solidFill>
        </p:grpSpPr>
        <p:sp>
          <p:nvSpPr>
            <p:cNvPr id="13" name="Freeform 5">
              <a:extLst>
                <a:ext uri="{FF2B5EF4-FFF2-40B4-BE49-F238E27FC236}">
                  <a16:creationId xmlns:a16="http://schemas.microsoft.com/office/drawing/2014/main" id="{43A240B8-CA2A-4008-A167-0C87AA56D3B0}"/>
                </a:ext>
              </a:extLst>
            </p:cNvPr>
            <p:cNvSpPr>
              <a:spLocks noEditPoints="1"/>
            </p:cNvSpPr>
            <p:nvPr/>
          </p:nvSpPr>
          <p:spPr bwMode="auto">
            <a:xfrm>
              <a:off x="1517650" y="2336800"/>
              <a:ext cx="9059862" cy="2465388"/>
            </a:xfrm>
            <a:custGeom>
              <a:avLst/>
              <a:gdLst>
                <a:gd name="T0" fmla="*/ 1339 w 2184"/>
                <a:gd name="T1" fmla="*/ 581 h 593"/>
                <a:gd name="T2" fmla="*/ 1396 w 2184"/>
                <a:gd name="T3" fmla="*/ 591 h 593"/>
                <a:gd name="T4" fmla="*/ 1284 w 2184"/>
                <a:gd name="T5" fmla="*/ 578 h 593"/>
                <a:gd name="T6" fmla="*/ 1452 w 2184"/>
                <a:gd name="T7" fmla="*/ 586 h 593"/>
                <a:gd name="T8" fmla="*/ 1893 w 2184"/>
                <a:gd name="T9" fmla="*/ 574 h 593"/>
                <a:gd name="T10" fmla="*/ 1930 w 2184"/>
                <a:gd name="T11" fmla="*/ 573 h 593"/>
                <a:gd name="T12" fmla="*/ 1203 w 2184"/>
                <a:gd name="T13" fmla="*/ 580 h 593"/>
                <a:gd name="T14" fmla="*/ 1986 w 2184"/>
                <a:gd name="T15" fmla="*/ 572 h 593"/>
                <a:gd name="T16" fmla="*/ 2178 w 2184"/>
                <a:gd name="T17" fmla="*/ 584 h 593"/>
                <a:gd name="T18" fmla="*/ 1843 w 2184"/>
                <a:gd name="T19" fmla="*/ 584 h 593"/>
                <a:gd name="T20" fmla="*/ 1483 w 2184"/>
                <a:gd name="T21" fmla="*/ 583 h 593"/>
                <a:gd name="T22" fmla="*/ 2122 w 2184"/>
                <a:gd name="T23" fmla="*/ 583 h 593"/>
                <a:gd name="T24" fmla="*/ 2122 w 2184"/>
                <a:gd name="T25" fmla="*/ 583 h 593"/>
                <a:gd name="T26" fmla="*/ 2042 w 2184"/>
                <a:gd name="T27" fmla="*/ 583 h 593"/>
                <a:gd name="T28" fmla="*/ 1787 w 2184"/>
                <a:gd name="T29" fmla="*/ 582 h 593"/>
                <a:gd name="T30" fmla="*/ 1731 w 2184"/>
                <a:gd name="T31" fmla="*/ 580 h 593"/>
                <a:gd name="T32" fmla="*/ 1539 w 2184"/>
                <a:gd name="T33" fmla="*/ 578 h 593"/>
                <a:gd name="T34" fmla="*/ 1675 w 2184"/>
                <a:gd name="T35" fmla="*/ 577 h 593"/>
                <a:gd name="T36" fmla="*/ 1601 w 2184"/>
                <a:gd name="T37" fmla="*/ 564 h 593"/>
                <a:gd name="T38" fmla="*/ 1159 w 2184"/>
                <a:gd name="T39" fmla="*/ 546 h 593"/>
                <a:gd name="T40" fmla="*/ 1148 w 2184"/>
                <a:gd name="T41" fmla="*/ 495 h 593"/>
                <a:gd name="T42" fmla="*/ 1138 w 2184"/>
                <a:gd name="T43" fmla="*/ 440 h 593"/>
                <a:gd name="T44" fmla="*/ 1128 w 2184"/>
                <a:gd name="T45" fmla="*/ 383 h 593"/>
                <a:gd name="T46" fmla="*/ 36 w 2184"/>
                <a:gd name="T47" fmla="*/ 378 h 593"/>
                <a:gd name="T48" fmla="*/ 90 w 2184"/>
                <a:gd name="T49" fmla="*/ 363 h 593"/>
                <a:gd name="T50" fmla="*/ 1084 w 2184"/>
                <a:gd name="T51" fmla="*/ 344 h 593"/>
                <a:gd name="T52" fmla="*/ 144 w 2184"/>
                <a:gd name="T53" fmla="*/ 348 h 593"/>
                <a:gd name="T54" fmla="*/ 188 w 2184"/>
                <a:gd name="T55" fmla="*/ 326 h 593"/>
                <a:gd name="T56" fmla="*/ 1048 w 2184"/>
                <a:gd name="T57" fmla="*/ 346 h 593"/>
                <a:gd name="T58" fmla="*/ 1051 w 2184"/>
                <a:gd name="T59" fmla="*/ 347 h 593"/>
                <a:gd name="T60" fmla="*/ 225 w 2184"/>
                <a:gd name="T61" fmla="*/ 322 h 593"/>
                <a:gd name="T62" fmla="*/ 1024 w 2184"/>
                <a:gd name="T63" fmla="*/ 269 h 593"/>
                <a:gd name="T64" fmla="*/ 297 w 2184"/>
                <a:gd name="T65" fmla="*/ 283 h 593"/>
                <a:gd name="T66" fmla="*/ 347 w 2184"/>
                <a:gd name="T67" fmla="*/ 260 h 593"/>
                <a:gd name="T68" fmla="*/ 386 w 2184"/>
                <a:gd name="T69" fmla="*/ 229 h 593"/>
                <a:gd name="T70" fmla="*/ 1011 w 2184"/>
                <a:gd name="T71" fmla="*/ 238 h 593"/>
                <a:gd name="T72" fmla="*/ 474 w 2184"/>
                <a:gd name="T73" fmla="*/ 228 h 593"/>
                <a:gd name="T74" fmla="*/ 492 w 2184"/>
                <a:gd name="T75" fmla="*/ 230 h 593"/>
                <a:gd name="T76" fmla="*/ 554 w 2184"/>
                <a:gd name="T77" fmla="*/ 229 h 593"/>
                <a:gd name="T78" fmla="*/ 606 w 2184"/>
                <a:gd name="T79" fmla="*/ 225 h 593"/>
                <a:gd name="T80" fmla="*/ 443 w 2184"/>
                <a:gd name="T81" fmla="*/ 213 h 593"/>
                <a:gd name="T82" fmla="*/ 616 w 2184"/>
                <a:gd name="T83" fmla="*/ 185 h 593"/>
                <a:gd name="T84" fmla="*/ 1023 w 2184"/>
                <a:gd name="T85" fmla="*/ 189 h 593"/>
                <a:gd name="T86" fmla="*/ 1029 w 2184"/>
                <a:gd name="T87" fmla="*/ 184 h 593"/>
                <a:gd name="T88" fmla="*/ 624 w 2184"/>
                <a:gd name="T89" fmla="*/ 142 h 593"/>
                <a:gd name="T90" fmla="*/ 1023 w 2184"/>
                <a:gd name="T91" fmla="*/ 99 h 593"/>
                <a:gd name="T92" fmla="*/ 644 w 2184"/>
                <a:gd name="T93" fmla="*/ 89 h 593"/>
                <a:gd name="T94" fmla="*/ 1004 w 2184"/>
                <a:gd name="T95" fmla="*/ 70 h 593"/>
                <a:gd name="T96" fmla="*/ 692 w 2184"/>
                <a:gd name="T97" fmla="*/ 67 h 593"/>
                <a:gd name="T98" fmla="*/ 696 w 2184"/>
                <a:gd name="T99" fmla="*/ 66 h 593"/>
                <a:gd name="T100" fmla="*/ 771 w 2184"/>
                <a:gd name="T101" fmla="*/ 50 h 593"/>
                <a:gd name="T102" fmla="*/ 807 w 2184"/>
                <a:gd name="T103" fmla="*/ 26 h 593"/>
                <a:gd name="T104" fmla="*/ 978 w 2184"/>
                <a:gd name="T105" fmla="*/ 32 h 593"/>
                <a:gd name="T106" fmla="*/ 987 w 2184"/>
                <a:gd name="T107" fmla="*/ 32 h 593"/>
                <a:gd name="T108" fmla="*/ 875 w 2184"/>
                <a:gd name="T109" fmla="*/ 12 h 593"/>
                <a:gd name="T110" fmla="*/ 900 w 2184"/>
                <a:gd name="T111" fmla="*/ 7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84" h="593">
                  <a:moveTo>
                    <a:pt x="1339" y="593"/>
                  </a:moveTo>
                  <a:cubicBezTo>
                    <a:pt x="1339" y="593"/>
                    <a:pt x="1339" y="593"/>
                    <a:pt x="1339" y="593"/>
                  </a:cubicBezTo>
                  <a:cubicBezTo>
                    <a:pt x="1335" y="593"/>
                    <a:pt x="1330" y="593"/>
                    <a:pt x="1326" y="593"/>
                  </a:cubicBezTo>
                  <a:cubicBezTo>
                    <a:pt x="1315" y="592"/>
                    <a:pt x="1315" y="592"/>
                    <a:pt x="1315" y="592"/>
                  </a:cubicBezTo>
                  <a:cubicBezTo>
                    <a:pt x="1312" y="592"/>
                    <a:pt x="1309" y="589"/>
                    <a:pt x="1309" y="586"/>
                  </a:cubicBezTo>
                  <a:cubicBezTo>
                    <a:pt x="1309" y="582"/>
                    <a:pt x="1312" y="580"/>
                    <a:pt x="1316" y="580"/>
                  </a:cubicBezTo>
                  <a:cubicBezTo>
                    <a:pt x="1326" y="581"/>
                    <a:pt x="1326" y="581"/>
                    <a:pt x="1326" y="581"/>
                  </a:cubicBezTo>
                  <a:cubicBezTo>
                    <a:pt x="1331" y="581"/>
                    <a:pt x="1335" y="581"/>
                    <a:pt x="1339" y="581"/>
                  </a:cubicBezTo>
                  <a:cubicBezTo>
                    <a:pt x="1343" y="581"/>
                    <a:pt x="1345" y="584"/>
                    <a:pt x="1345" y="587"/>
                  </a:cubicBezTo>
                  <a:cubicBezTo>
                    <a:pt x="1345" y="590"/>
                    <a:pt x="1342" y="593"/>
                    <a:pt x="1339" y="593"/>
                  </a:cubicBezTo>
                  <a:close/>
                  <a:moveTo>
                    <a:pt x="1371" y="593"/>
                  </a:moveTo>
                  <a:cubicBezTo>
                    <a:pt x="1368" y="593"/>
                    <a:pt x="1365" y="590"/>
                    <a:pt x="1365" y="587"/>
                  </a:cubicBezTo>
                  <a:cubicBezTo>
                    <a:pt x="1365" y="584"/>
                    <a:pt x="1368" y="581"/>
                    <a:pt x="1371" y="581"/>
                  </a:cubicBezTo>
                  <a:cubicBezTo>
                    <a:pt x="1378" y="580"/>
                    <a:pt x="1386" y="580"/>
                    <a:pt x="1395" y="579"/>
                  </a:cubicBezTo>
                  <a:cubicBezTo>
                    <a:pt x="1398" y="579"/>
                    <a:pt x="1401" y="582"/>
                    <a:pt x="1401" y="585"/>
                  </a:cubicBezTo>
                  <a:cubicBezTo>
                    <a:pt x="1401" y="588"/>
                    <a:pt x="1399" y="591"/>
                    <a:pt x="1396" y="591"/>
                  </a:cubicBezTo>
                  <a:cubicBezTo>
                    <a:pt x="1387" y="592"/>
                    <a:pt x="1379" y="592"/>
                    <a:pt x="1371" y="593"/>
                  </a:cubicBezTo>
                  <a:cubicBezTo>
                    <a:pt x="1371" y="593"/>
                    <a:pt x="1371" y="593"/>
                    <a:pt x="1371" y="593"/>
                  </a:cubicBezTo>
                  <a:close/>
                  <a:moveTo>
                    <a:pt x="1283" y="590"/>
                  </a:moveTo>
                  <a:cubicBezTo>
                    <a:pt x="1283" y="590"/>
                    <a:pt x="1283" y="590"/>
                    <a:pt x="1283" y="590"/>
                  </a:cubicBezTo>
                  <a:cubicBezTo>
                    <a:pt x="1275" y="590"/>
                    <a:pt x="1267" y="589"/>
                    <a:pt x="1259" y="588"/>
                  </a:cubicBezTo>
                  <a:cubicBezTo>
                    <a:pt x="1256" y="588"/>
                    <a:pt x="1253" y="585"/>
                    <a:pt x="1253" y="582"/>
                  </a:cubicBezTo>
                  <a:cubicBezTo>
                    <a:pt x="1254" y="579"/>
                    <a:pt x="1257" y="576"/>
                    <a:pt x="1260" y="576"/>
                  </a:cubicBezTo>
                  <a:cubicBezTo>
                    <a:pt x="1268" y="577"/>
                    <a:pt x="1276" y="578"/>
                    <a:pt x="1284" y="578"/>
                  </a:cubicBezTo>
                  <a:cubicBezTo>
                    <a:pt x="1287" y="578"/>
                    <a:pt x="1289" y="581"/>
                    <a:pt x="1289" y="585"/>
                  </a:cubicBezTo>
                  <a:cubicBezTo>
                    <a:pt x="1289" y="588"/>
                    <a:pt x="1286" y="590"/>
                    <a:pt x="1283" y="590"/>
                  </a:cubicBezTo>
                  <a:close/>
                  <a:moveTo>
                    <a:pt x="1427" y="589"/>
                  </a:moveTo>
                  <a:cubicBezTo>
                    <a:pt x="1424" y="589"/>
                    <a:pt x="1421" y="586"/>
                    <a:pt x="1421" y="583"/>
                  </a:cubicBezTo>
                  <a:cubicBezTo>
                    <a:pt x="1421" y="580"/>
                    <a:pt x="1423" y="577"/>
                    <a:pt x="1427" y="577"/>
                  </a:cubicBezTo>
                  <a:cubicBezTo>
                    <a:pt x="1434" y="576"/>
                    <a:pt x="1442" y="575"/>
                    <a:pt x="1450" y="574"/>
                  </a:cubicBezTo>
                  <a:cubicBezTo>
                    <a:pt x="1454" y="574"/>
                    <a:pt x="1457" y="577"/>
                    <a:pt x="1457" y="580"/>
                  </a:cubicBezTo>
                  <a:cubicBezTo>
                    <a:pt x="1457" y="583"/>
                    <a:pt x="1455" y="586"/>
                    <a:pt x="1452" y="586"/>
                  </a:cubicBezTo>
                  <a:cubicBezTo>
                    <a:pt x="1444" y="587"/>
                    <a:pt x="1436" y="588"/>
                    <a:pt x="1428" y="589"/>
                  </a:cubicBezTo>
                  <a:cubicBezTo>
                    <a:pt x="1427" y="589"/>
                    <a:pt x="1427" y="589"/>
                    <a:pt x="1427" y="589"/>
                  </a:cubicBezTo>
                  <a:close/>
                  <a:moveTo>
                    <a:pt x="1893" y="586"/>
                  </a:moveTo>
                  <a:cubicBezTo>
                    <a:pt x="1893" y="586"/>
                    <a:pt x="1893" y="586"/>
                    <a:pt x="1893" y="586"/>
                  </a:cubicBezTo>
                  <a:cubicBezTo>
                    <a:pt x="1874" y="585"/>
                    <a:pt x="1874" y="585"/>
                    <a:pt x="1874" y="585"/>
                  </a:cubicBezTo>
                  <a:cubicBezTo>
                    <a:pt x="1871" y="585"/>
                    <a:pt x="1868" y="582"/>
                    <a:pt x="1868" y="579"/>
                  </a:cubicBezTo>
                  <a:cubicBezTo>
                    <a:pt x="1869" y="576"/>
                    <a:pt x="1871" y="573"/>
                    <a:pt x="1875" y="573"/>
                  </a:cubicBezTo>
                  <a:cubicBezTo>
                    <a:pt x="1893" y="574"/>
                    <a:pt x="1893" y="574"/>
                    <a:pt x="1893" y="574"/>
                  </a:cubicBezTo>
                  <a:cubicBezTo>
                    <a:pt x="1898" y="574"/>
                    <a:pt x="1898" y="574"/>
                    <a:pt x="1898" y="574"/>
                  </a:cubicBezTo>
                  <a:cubicBezTo>
                    <a:pt x="1902" y="574"/>
                    <a:pt x="1904" y="577"/>
                    <a:pt x="1904" y="580"/>
                  </a:cubicBezTo>
                  <a:cubicBezTo>
                    <a:pt x="1905" y="583"/>
                    <a:pt x="1902" y="586"/>
                    <a:pt x="1899" y="586"/>
                  </a:cubicBezTo>
                  <a:cubicBezTo>
                    <a:pt x="1894" y="586"/>
                    <a:pt x="1894" y="586"/>
                    <a:pt x="1894" y="586"/>
                  </a:cubicBezTo>
                  <a:cubicBezTo>
                    <a:pt x="1894" y="586"/>
                    <a:pt x="1893" y="586"/>
                    <a:pt x="1893" y="586"/>
                  </a:cubicBezTo>
                  <a:close/>
                  <a:moveTo>
                    <a:pt x="1930" y="585"/>
                  </a:moveTo>
                  <a:cubicBezTo>
                    <a:pt x="1927" y="585"/>
                    <a:pt x="1925" y="583"/>
                    <a:pt x="1924" y="579"/>
                  </a:cubicBezTo>
                  <a:cubicBezTo>
                    <a:pt x="1924" y="576"/>
                    <a:pt x="1927" y="573"/>
                    <a:pt x="1930" y="573"/>
                  </a:cubicBezTo>
                  <a:cubicBezTo>
                    <a:pt x="1954" y="573"/>
                    <a:pt x="1954" y="573"/>
                    <a:pt x="1954" y="573"/>
                  </a:cubicBezTo>
                  <a:cubicBezTo>
                    <a:pt x="1958" y="573"/>
                    <a:pt x="1960" y="575"/>
                    <a:pt x="1960" y="579"/>
                  </a:cubicBezTo>
                  <a:cubicBezTo>
                    <a:pt x="1961" y="582"/>
                    <a:pt x="1958" y="585"/>
                    <a:pt x="1955" y="585"/>
                  </a:cubicBezTo>
                  <a:cubicBezTo>
                    <a:pt x="1931" y="585"/>
                    <a:pt x="1931" y="585"/>
                    <a:pt x="1931" y="585"/>
                  </a:cubicBezTo>
                  <a:cubicBezTo>
                    <a:pt x="1931" y="585"/>
                    <a:pt x="1930" y="585"/>
                    <a:pt x="1930" y="585"/>
                  </a:cubicBezTo>
                  <a:close/>
                  <a:moveTo>
                    <a:pt x="1228" y="585"/>
                  </a:moveTo>
                  <a:cubicBezTo>
                    <a:pt x="1227" y="585"/>
                    <a:pt x="1227" y="585"/>
                    <a:pt x="1227" y="585"/>
                  </a:cubicBezTo>
                  <a:cubicBezTo>
                    <a:pt x="1218" y="583"/>
                    <a:pt x="1210" y="582"/>
                    <a:pt x="1203" y="580"/>
                  </a:cubicBezTo>
                  <a:cubicBezTo>
                    <a:pt x="1199" y="580"/>
                    <a:pt x="1197" y="576"/>
                    <a:pt x="1198" y="573"/>
                  </a:cubicBezTo>
                  <a:cubicBezTo>
                    <a:pt x="1199" y="570"/>
                    <a:pt x="1202" y="568"/>
                    <a:pt x="1205" y="569"/>
                  </a:cubicBezTo>
                  <a:cubicBezTo>
                    <a:pt x="1212" y="570"/>
                    <a:pt x="1220" y="572"/>
                    <a:pt x="1228" y="573"/>
                  </a:cubicBezTo>
                  <a:cubicBezTo>
                    <a:pt x="1232" y="573"/>
                    <a:pt x="1234" y="576"/>
                    <a:pt x="1233" y="580"/>
                  </a:cubicBezTo>
                  <a:cubicBezTo>
                    <a:pt x="1233" y="583"/>
                    <a:pt x="1230" y="585"/>
                    <a:pt x="1228" y="585"/>
                  </a:cubicBezTo>
                  <a:close/>
                  <a:moveTo>
                    <a:pt x="1986" y="584"/>
                  </a:moveTo>
                  <a:cubicBezTo>
                    <a:pt x="1983" y="584"/>
                    <a:pt x="1981" y="581"/>
                    <a:pt x="1980" y="578"/>
                  </a:cubicBezTo>
                  <a:cubicBezTo>
                    <a:pt x="1980" y="575"/>
                    <a:pt x="1983" y="572"/>
                    <a:pt x="1986" y="572"/>
                  </a:cubicBezTo>
                  <a:cubicBezTo>
                    <a:pt x="2010" y="571"/>
                    <a:pt x="2010" y="571"/>
                    <a:pt x="2010" y="571"/>
                  </a:cubicBezTo>
                  <a:cubicBezTo>
                    <a:pt x="2010" y="571"/>
                    <a:pt x="2010" y="571"/>
                    <a:pt x="2010" y="571"/>
                  </a:cubicBezTo>
                  <a:cubicBezTo>
                    <a:pt x="2014" y="571"/>
                    <a:pt x="2016" y="574"/>
                    <a:pt x="2016" y="577"/>
                  </a:cubicBezTo>
                  <a:cubicBezTo>
                    <a:pt x="2017" y="581"/>
                    <a:pt x="2014" y="583"/>
                    <a:pt x="2011" y="583"/>
                  </a:cubicBezTo>
                  <a:cubicBezTo>
                    <a:pt x="1987" y="584"/>
                    <a:pt x="1987" y="584"/>
                    <a:pt x="1987" y="584"/>
                  </a:cubicBezTo>
                  <a:cubicBezTo>
                    <a:pt x="1987" y="584"/>
                    <a:pt x="1986" y="584"/>
                    <a:pt x="1986" y="584"/>
                  </a:cubicBezTo>
                  <a:close/>
                  <a:moveTo>
                    <a:pt x="2178" y="584"/>
                  </a:moveTo>
                  <a:cubicBezTo>
                    <a:pt x="2178" y="584"/>
                    <a:pt x="2178" y="584"/>
                    <a:pt x="2178" y="584"/>
                  </a:cubicBezTo>
                  <a:cubicBezTo>
                    <a:pt x="2154" y="583"/>
                    <a:pt x="2154" y="583"/>
                    <a:pt x="2154" y="583"/>
                  </a:cubicBezTo>
                  <a:cubicBezTo>
                    <a:pt x="2151" y="583"/>
                    <a:pt x="2148" y="581"/>
                    <a:pt x="2148" y="577"/>
                  </a:cubicBezTo>
                  <a:cubicBezTo>
                    <a:pt x="2148" y="574"/>
                    <a:pt x="2151" y="571"/>
                    <a:pt x="2154" y="571"/>
                  </a:cubicBezTo>
                  <a:cubicBezTo>
                    <a:pt x="2154" y="571"/>
                    <a:pt x="2154" y="571"/>
                    <a:pt x="2155" y="571"/>
                  </a:cubicBezTo>
                  <a:cubicBezTo>
                    <a:pt x="2178" y="572"/>
                    <a:pt x="2178" y="572"/>
                    <a:pt x="2178" y="572"/>
                  </a:cubicBezTo>
                  <a:cubicBezTo>
                    <a:pt x="2182" y="572"/>
                    <a:pt x="2184" y="575"/>
                    <a:pt x="2184" y="578"/>
                  </a:cubicBezTo>
                  <a:cubicBezTo>
                    <a:pt x="2184" y="581"/>
                    <a:pt x="2182" y="584"/>
                    <a:pt x="2178" y="584"/>
                  </a:cubicBezTo>
                  <a:close/>
                  <a:moveTo>
                    <a:pt x="1843" y="584"/>
                  </a:moveTo>
                  <a:cubicBezTo>
                    <a:pt x="1842" y="584"/>
                    <a:pt x="1842" y="584"/>
                    <a:pt x="1842" y="584"/>
                  </a:cubicBezTo>
                  <a:cubicBezTo>
                    <a:pt x="1818" y="583"/>
                    <a:pt x="1818" y="583"/>
                    <a:pt x="1818" y="583"/>
                  </a:cubicBezTo>
                  <a:cubicBezTo>
                    <a:pt x="1815" y="583"/>
                    <a:pt x="1812" y="580"/>
                    <a:pt x="1813" y="576"/>
                  </a:cubicBezTo>
                  <a:cubicBezTo>
                    <a:pt x="1813" y="573"/>
                    <a:pt x="1816" y="571"/>
                    <a:pt x="1819" y="571"/>
                  </a:cubicBezTo>
                  <a:cubicBezTo>
                    <a:pt x="1843" y="572"/>
                    <a:pt x="1843" y="572"/>
                    <a:pt x="1843" y="572"/>
                  </a:cubicBezTo>
                  <a:cubicBezTo>
                    <a:pt x="1846" y="572"/>
                    <a:pt x="1849" y="575"/>
                    <a:pt x="1849" y="578"/>
                  </a:cubicBezTo>
                  <a:cubicBezTo>
                    <a:pt x="1848" y="581"/>
                    <a:pt x="1846" y="584"/>
                    <a:pt x="1843" y="584"/>
                  </a:cubicBezTo>
                  <a:close/>
                  <a:moveTo>
                    <a:pt x="1483" y="583"/>
                  </a:moveTo>
                  <a:cubicBezTo>
                    <a:pt x="1480" y="583"/>
                    <a:pt x="1477" y="581"/>
                    <a:pt x="1477" y="578"/>
                  </a:cubicBezTo>
                  <a:cubicBezTo>
                    <a:pt x="1477" y="575"/>
                    <a:pt x="1479" y="572"/>
                    <a:pt x="1482" y="571"/>
                  </a:cubicBezTo>
                  <a:cubicBezTo>
                    <a:pt x="1490" y="570"/>
                    <a:pt x="1498" y="570"/>
                    <a:pt x="1506" y="569"/>
                  </a:cubicBezTo>
                  <a:cubicBezTo>
                    <a:pt x="1509" y="569"/>
                    <a:pt x="1512" y="571"/>
                    <a:pt x="1513" y="574"/>
                  </a:cubicBezTo>
                  <a:cubicBezTo>
                    <a:pt x="1513" y="578"/>
                    <a:pt x="1511" y="581"/>
                    <a:pt x="1507" y="581"/>
                  </a:cubicBezTo>
                  <a:cubicBezTo>
                    <a:pt x="1499" y="582"/>
                    <a:pt x="1491" y="582"/>
                    <a:pt x="1483" y="583"/>
                  </a:cubicBezTo>
                  <a:cubicBezTo>
                    <a:pt x="1483" y="583"/>
                    <a:pt x="1483" y="583"/>
                    <a:pt x="1483" y="583"/>
                  </a:cubicBezTo>
                  <a:close/>
                  <a:moveTo>
                    <a:pt x="2122" y="583"/>
                  </a:moveTo>
                  <a:cubicBezTo>
                    <a:pt x="2122" y="583"/>
                    <a:pt x="2122" y="583"/>
                    <a:pt x="2122" y="583"/>
                  </a:cubicBezTo>
                  <a:cubicBezTo>
                    <a:pt x="2098" y="582"/>
                    <a:pt x="2098" y="582"/>
                    <a:pt x="2098" y="582"/>
                  </a:cubicBezTo>
                  <a:cubicBezTo>
                    <a:pt x="2095" y="582"/>
                    <a:pt x="2092" y="580"/>
                    <a:pt x="2092" y="576"/>
                  </a:cubicBezTo>
                  <a:cubicBezTo>
                    <a:pt x="2092" y="573"/>
                    <a:pt x="2095" y="570"/>
                    <a:pt x="2098" y="570"/>
                  </a:cubicBezTo>
                  <a:cubicBezTo>
                    <a:pt x="2098" y="570"/>
                    <a:pt x="2098" y="570"/>
                    <a:pt x="2099" y="570"/>
                  </a:cubicBezTo>
                  <a:cubicBezTo>
                    <a:pt x="2123" y="571"/>
                    <a:pt x="2123" y="571"/>
                    <a:pt x="2123" y="571"/>
                  </a:cubicBezTo>
                  <a:cubicBezTo>
                    <a:pt x="2126" y="571"/>
                    <a:pt x="2128" y="574"/>
                    <a:pt x="2128" y="577"/>
                  </a:cubicBezTo>
                  <a:cubicBezTo>
                    <a:pt x="2128" y="580"/>
                    <a:pt x="2126" y="583"/>
                    <a:pt x="2122" y="583"/>
                  </a:cubicBezTo>
                  <a:close/>
                  <a:moveTo>
                    <a:pt x="2042" y="583"/>
                  </a:moveTo>
                  <a:cubicBezTo>
                    <a:pt x="2039" y="583"/>
                    <a:pt x="2036" y="580"/>
                    <a:pt x="2036" y="577"/>
                  </a:cubicBezTo>
                  <a:cubicBezTo>
                    <a:pt x="2036" y="573"/>
                    <a:pt x="2039" y="571"/>
                    <a:pt x="2042" y="571"/>
                  </a:cubicBezTo>
                  <a:cubicBezTo>
                    <a:pt x="2066" y="570"/>
                    <a:pt x="2066" y="570"/>
                    <a:pt x="2066" y="570"/>
                  </a:cubicBezTo>
                  <a:cubicBezTo>
                    <a:pt x="2070" y="570"/>
                    <a:pt x="2072" y="573"/>
                    <a:pt x="2072" y="576"/>
                  </a:cubicBezTo>
                  <a:cubicBezTo>
                    <a:pt x="2072" y="579"/>
                    <a:pt x="2070" y="582"/>
                    <a:pt x="2067" y="582"/>
                  </a:cubicBezTo>
                  <a:cubicBezTo>
                    <a:pt x="2043" y="583"/>
                    <a:pt x="2043" y="583"/>
                    <a:pt x="2043" y="583"/>
                  </a:cubicBezTo>
                  <a:cubicBezTo>
                    <a:pt x="2043" y="583"/>
                    <a:pt x="2042" y="583"/>
                    <a:pt x="2042" y="583"/>
                  </a:cubicBezTo>
                  <a:close/>
                  <a:moveTo>
                    <a:pt x="1787" y="582"/>
                  </a:moveTo>
                  <a:cubicBezTo>
                    <a:pt x="1787" y="582"/>
                    <a:pt x="1787" y="582"/>
                    <a:pt x="1786" y="582"/>
                  </a:cubicBezTo>
                  <a:cubicBezTo>
                    <a:pt x="1780" y="582"/>
                    <a:pt x="1772" y="582"/>
                    <a:pt x="1762" y="581"/>
                  </a:cubicBezTo>
                  <a:cubicBezTo>
                    <a:pt x="1759" y="581"/>
                    <a:pt x="1756" y="579"/>
                    <a:pt x="1757" y="575"/>
                  </a:cubicBezTo>
                  <a:cubicBezTo>
                    <a:pt x="1757" y="572"/>
                    <a:pt x="1760" y="569"/>
                    <a:pt x="1763" y="569"/>
                  </a:cubicBezTo>
                  <a:cubicBezTo>
                    <a:pt x="1772" y="570"/>
                    <a:pt x="1780" y="570"/>
                    <a:pt x="1787" y="570"/>
                  </a:cubicBezTo>
                  <a:cubicBezTo>
                    <a:pt x="1790" y="570"/>
                    <a:pt x="1793" y="573"/>
                    <a:pt x="1793" y="576"/>
                  </a:cubicBezTo>
                  <a:cubicBezTo>
                    <a:pt x="1793" y="579"/>
                    <a:pt x="1790" y="582"/>
                    <a:pt x="1787" y="582"/>
                  </a:cubicBezTo>
                  <a:close/>
                  <a:moveTo>
                    <a:pt x="1731" y="580"/>
                  </a:moveTo>
                  <a:cubicBezTo>
                    <a:pt x="1730" y="580"/>
                    <a:pt x="1730" y="580"/>
                    <a:pt x="1730" y="580"/>
                  </a:cubicBezTo>
                  <a:cubicBezTo>
                    <a:pt x="1706" y="579"/>
                    <a:pt x="1706" y="579"/>
                    <a:pt x="1706" y="579"/>
                  </a:cubicBezTo>
                  <a:cubicBezTo>
                    <a:pt x="1703" y="579"/>
                    <a:pt x="1700" y="576"/>
                    <a:pt x="1701" y="573"/>
                  </a:cubicBezTo>
                  <a:cubicBezTo>
                    <a:pt x="1701" y="569"/>
                    <a:pt x="1704" y="567"/>
                    <a:pt x="1707" y="567"/>
                  </a:cubicBezTo>
                  <a:cubicBezTo>
                    <a:pt x="1731" y="568"/>
                    <a:pt x="1731" y="568"/>
                    <a:pt x="1731" y="568"/>
                  </a:cubicBezTo>
                  <a:cubicBezTo>
                    <a:pt x="1734" y="568"/>
                    <a:pt x="1737" y="571"/>
                    <a:pt x="1737" y="574"/>
                  </a:cubicBezTo>
                  <a:cubicBezTo>
                    <a:pt x="1736" y="578"/>
                    <a:pt x="1734" y="580"/>
                    <a:pt x="1731" y="580"/>
                  </a:cubicBezTo>
                  <a:close/>
                  <a:moveTo>
                    <a:pt x="1539" y="578"/>
                  </a:moveTo>
                  <a:cubicBezTo>
                    <a:pt x="1536" y="578"/>
                    <a:pt x="1533" y="576"/>
                    <a:pt x="1533" y="573"/>
                  </a:cubicBezTo>
                  <a:cubicBezTo>
                    <a:pt x="1532" y="569"/>
                    <a:pt x="1535" y="566"/>
                    <a:pt x="1538" y="566"/>
                  </a:cubicBezTo>
                  <a:cubicBezTo>
                    <a:pt x="1547" y="565"/>
                    <a:pt x="1555" y="565"/>
                    <a:pt x="1562" y="565"/>
                  </a:cubicBezTo>
                  <a:cubicBezTo>
                    <a:pt x="1566" y="564"/>
                    <a:pt x="1568" y="567"/>
                    <a:pt x="1569" y="570"/>
                  </a:cubicBezTo>
                  <a:cubicBezTo>
                    <a:pt x="1569" y="574"/>
                    <a:pt x="1566" y="576"/>
                    <a:pt x="1563" y="577"/>
                  </a:cubicBezTo>
                  <a:cubicBezTo>
                    <a:pt x="1556" y="577"/>
                    <a:pt x="1548" y="577"/>
                    <a:pt x="1539" y="578"/>
                  </a:cubicBezTo>
                  <a:cubicBezTo>
                    <a:pt x="1539" y="578"/>
                    <a:pt x="1539" y="578"/>
                    <a:pt x="1539" y="578"/>
                  </a:cubicBezTo>
                  <a:close/>
                  <a:moveTo>
                    <a:pt x="1675" y="577"/>
                  </a:moveTo>
                  <a:cubicBezTo>
                    <a:pt x="1675" y="577"/>
                    <a:pt x="1674" y="577"/>
                    <a:pt x="1674" y="577"/>
                  </a:cubicBezTo>
                  <a:cubicBezTo>
                    <a:pt x="1666" y="577"/>
                    <a:pt x="1658" y="577"/>
                    <a:pt x="1650" y="577"/>
                  </a:cubicBezTo>
                  <a:cubicBezTo>
                    <a:pt x="1647" y="576"/>
                    <a:pt x="1644" y="574"/>
                    <a:pt x="1645" y="570"/>
                  </a:cubicBezTo>
                  <a:cubicBezTo>
                    <a:pt x="1645" y="567"/>
                    <a:pt x="1648" y="564"/>
                    <a:pt x="1651" y="565"/>
                  </a:cubicBezTo>
                  <a:cubicBezTo>
                    <a:pt x="1659" y="565"/>
                    <a:pt x="1667" y="565"/>
                    <a:pt x="1675" y="565"/>
                  </a:cubicBezTo>
                  <a:cubicBezTo>
                    <a:pt x="1678" y="566"/>
                    <a:pt x="1681" y="568"/>
                    <a:pt x="1681" y="572"/>
                  </a:cubicBezTo>
                  <a:cubicBezTo>
                    <a:pt x="1680" y="575"/>
                    <a:pt x="1678" y="577"/>
                    <a:pt x="1675" y="577"/>
                  </a:cubicBezTo>
                  <a:close/>
                  <a:moveTo>
                    <a:pt x="1619" y="576"/>
                  </a:moveTo>
                  <a:cubicBezTo>
                    <a:pt x="1619" y="576"/>
                    <a:pt x="1619" y="576"/>
                    <a:pt x="1619" y="576"/>
                  </a:cubicBezTo>
                  <a:cubicBezTo>
                    <a:pt x="1612" y="576"/>
                    <a:pt x="1606" y="576"/>
                    <a:pt x="1601" y="576"/>
                  </a:cubicBezTo>
                  <a:cubicBezTo>
                    <a:pt x="1595" y="576"/>
                    <a:pt x="1595" y="576"/>
                    <a:pt x="1595" y="576"/>
                  </a:cubicBezTo>
                  <a:cubicBezTo>
                    <a:pt x="1595" y="576"/>
                    <a:pt x="1595" y="576"/>
                    <a:pt x="1595" y="576"/>
                  </a:cubicBezTo>
                  <a:cubicBezTo>
                    <a:pt x="1591" y="576"/>
                    <a:pt x="1589" y="573"/>
                    <a:pt x="1589" y="570"/>
                  </a:cubicBezTo>
                  <a:cubicBezTo>
                    <a:pt x="1589" y="566"/>
                    <a:pt x="1591" y="564"/>
                    <a:pt x="1595" y="564"/>
                  </a:cubicBezTo>
                  <a:cubicBezTo>
                    <a:pt x="1601" y="564"/>
                    <a:pt x="1601" y="564"/>
                    <a:pt x="1601" y="564"/>
                  </a:cubicBezTo>
                  <a:cubicBezTo>
                    <a:pt x="1606" y="564"/>
                    <a:pt x="1613" y="564"/>
                    <a:pt x="1619" y="564"/>
                  </a:cubicBezTo>
                  <a:cubicBezTo>
                    <a:pt x="1622" y="564"/>
                    <a:pt x="1625" y="567"/>
                    <a:pt x="1625" y="570"/>
                  </a:cubicBezTo>
                  <a:cubicBezTo>
                    <a:pt x="1625" y="573"/>
                    <a:pt x="1622" y="576"/>
                    <a:pt x="1619" y="576"/>
                  </a:cubicBezTo>
                  <a:close/>
                  <a:moveTo>
                    <a:pt x="1174" y="570"/>
                  </a:moveTo>
                  <a:cubicBezTo>
                    <a:pt x="1173" y="570"/>
                    <a:pt x="1172" y="570"/>
                    <a:pt x="1171" y="570"/>
                  </a:cubicBezTo>
                  <a:cubicBezTo>
                    <a:pt x="1162" y="565"/>
                    <a:pt x="1155" y="560"/>
                    <a:pt x="1150" y="554"/>
                  </a:cubicBezTo>
                  <a:cubicBezTo>
                    <a:pt x="1148" y="551"/>
                    <a:pt x="1148" y="547"/>
                    <a:pt x="1151" y="545"/>
                  </a:cubicBezTo>
                  <a:cubicBezTo>
                    <a:pt x="1153" y="543"/>
                    <a:pt x="1157" y="544"/>
                    <a:pt x="1159" y="546"/>
                  </a:cubicBezTo>
                  <a:cubicBezTo>
                    <a:pt x="1163" y="551"/>
                    <a:pt x="1169" y="555"/>
                    <a:pt x="1176" y="559"/>
                  </a:cubicBezTo>
                  <a:cubicBezTo>
                    <a:pt x="1179" y="560"/>
                    <a:pt x="1180" y="564"/>
                    <a:pt x="1179" y="567"/>
                  </a:cubicBezTo>
                  <a:cubicBezTo>
                    <a:pt x="1178" y="569"/>
                    <a:pt x="1176" y="570"/>
                    <a:pt x="1174" y="570"/>
                  </a:cubicBezTo>
                  <a:close/>
                  <a:moveTo>
                    <a:pt x="1147" y="526"/>
                  </a:moveTo>
                  <a:cubicBezTo>
                    <a:pt x="1144" y="526"/>
                    <a:pt x="1141" y="523"/>
                    <a:pt x="1141" y="521"/>
                  </a:cubicBezTo>
                  <a:cubicBezTo>
                    <a:pt x="1136" y="497"/>
                    <a:pt x="1136" y="497"/>
                    <a:pt x="1136" y="497"/>
                  </a:cubicBezTo>
                  <a:cubicBezTo>
                    <a:pt x="1136" y="494"/>
                    <a:pt x="1138" y="491"/>
                    <a:pt x="1141" y="490"/>
                  </a:cubicBezTo>
                  <a:cubicBezTo>
                    <a:pt x="1144" y="489"/>
                    <a:pt x="1147" y="492"/>
                    <a:pt x="1148" y="495"/>
                  </a:cubicBezTo>
                  <a:cubicBezTo>
                    <a:pt x="1153" y="518"/>
                    <a:pt x="1153" y="518"/>
                    <a:pt x="1153" y="518"/>
                  </a:cubicBezTo>
                  <a:cubicBezTo>
                    <a:pt x="1153" y="522"/>
                    <a:pt x="1151" y="525"/>
                    <a:pt x="1148" y="525"/>
                  </a:cubicBezTo>
                  <a:cubicBezTo>
                    <a:pt x="1147" y="525"/>
                    <a:pt x="1147" y="526"/>
                    <a:pt x="1147" y="526"/>
                  </a:cubicBezTo>
                  <a:close/>
                  <a:moveTo>
                    <a:pt x="1136" y="470"/>
                  </a:moveTo>
                  <a:cubicBezTo>
                    <a:pt x="1133" y="470"/>
                    <a:pt x="1131" y="468"/>
                    <a:pt x="1130" y="466"/>
                  </a:cubicBezTo>
                  <a:cubicBezTo>
                    <a:pt x="1126" y="442"/>
                    <a:pt x="1126" y="442"/>
                    <a:pt x="1126" y="442"/>
                  </a:cubicBezTo>
                  <a:cubicBezTo>
                    <a:pt x="1125" y="439"/>
                    <a:pt x="1127" y="436"/>
                    <a:pt x="1131" y="435"/>
                  </a:cubicBezTo>
                  <a:cubicBezTo>
                    <a:pt x="1134" y="434"/>
                    <a:pt x="1137" y="437"/>
                    <a:pt x="1138" y="440"/>
                  </a:cubicBezTo>
                  <a:cubicBezTo>
                    <a:pt x="1142" y="463"/>
                    <a:pt x="1142" y="463"/>
                    <a:pt x="1142" y="463"/>
                  </a:cubicBezTo>
                  <a:cubicBezTo>
                    <a:pt x="1143" y="467"/>
                    <a:pt x="1141" y="470"/>
                    <a:pt x="1137" y="470"/>
                  </a:cubicBezTo>
                  <a:cubicBezTo>
                    <a:pt x="1137" y="470"/>
                    <a:pt x="1137" y="470"/>
                    <a:pt x="1136" y="470"/>
                  </a:cubicBezTo>
                  <a:close/>
                  <a:moveTo>
                    <a:pt x="1127" y="415"/>
                  </a:moveTo>
                  <a:cubicBezTo>
                    <a:pt x="1124" y="415"/>
                    <a:pt x="1121" y="413"/>
                    <a:pt x="1121" y="410"/>
                  </a:cubicBezTo>
                  <a:cubicBezTo>
                    <a:pt x="1120" y="396"/>
                    <a:pt x="1119" y="392"/>
                    <a:pt x="1118" y="389"/>
                  </a:cubicBezTo>
                  <a:cubicBezTo>
                    <a:pt x="1116" y="386"/>
                    <a:pt x="1117" y="382"/>
                    <a:pt x="1120" y="381"/>
                  </a:cubicBezTo>
                  <a:cubicBezTo>
                    <a:pt x="1123" y="379"/>
                    <a:pt x="1126" y="380"/>
                    <a:pt x="1128" y="383"/>
                  </a:cubicBezTo>
                  <a:cubicBezTo>
                    <a:pt x="1131" y="388"/>
                    <a:pt x="1132" y="394"/>
                    <a:pt x="1133" y="409"/>
                  </a:cubicBezTo>
                  <a:cubicBezTo>
                    <a:pt x="1133" y="412"/>
                    <a:pt x="1131" y="415"/>
                    <a:pt x="1127" y="415"/>
                  </a:cubicBezTo>
                  <a:cubicBezTo>
                    <a:pt x="1127" y="415"/>
                    <a:pt x="1127" y="415"/>
                    <a:pt x="1127" y="415"/>
                  </a:cubicBezTo>
                  <a:close/>
                  <a:moveTo>
                    <a:pt x="7" y="392"/>
                  </a:moveTo>
                  <a:cubicBezTo>
                    <a:pt x="4" y="392"/>
                    <a:pt x="2" y="390"/>
                    <a:pt x="1" y="387"/>
                  </a:cubicBezTo>
                  <a:cubicBezTo>
                    <a:pt x="0" y="384"/>
                    <a:pt x="2" y="381"/>
                    <a:pt x="5" y="380"/>
                  </a:cubicBezTo>
                  <a:cubicBezTo>
                    <a:pt x="28" y="374"/>
                    <a:pt x="28" y="374"/>
                    <a:pt x="28" y="374"/>
                  </a:cubicBezTo>
                  <a:cubicBezTo>
                    <a:pt x="32" y="373"/>
                    <a:pt x="35" y="375"/>
                    <a:pt x="36" y="378"/>
                  </a:cubicBezTo>
                  <a:cubicBezTo>
                    <a:pt x="37" y="381"/>
                    <a:pt x="35" y="384"/>
                    <a:pt x="32" y="385"/>
                  </a:cubicBezTo>
                  <a:cubicBezTo>
                    <a:pt x="8" y="392"/>
                    <a:pt x="8" y="392"/>
                    <a:pt x="8" y="392"/>
                  </a:cubicBezTo>
                  <a:cubicBezTo>
                    <a:pt x="8" y="392"/>
                    <a:pt x="7" y="392"/>
                    <a:pt x="7" y="392"/>
                  </a:cubicBezTo>
                  <a:close/>
                  <a:moveTo>
                    <a:pt x="61" y="377"/>
                  </a:moveTo>
                  <a:cubicBezTo>
                    <a:pt x="58" y="377"/>
                    <a:pt x="56" y="375"/>
                    <a:pt x="55" y="373"/>
                  </a:cubicBezTo>
                  <a:cubicBezTo>
                    <a:pt x="54" y="370"/>
                    <a:pt x="56" y="366"/>
                    <a:pt x="59" y="365"/>
                  </a:cubicBezTo>
                  <a:cubicBezTo>
                    <a:pt x="82" y="359"/>
                    <a:pt x="82" y="359"/>
                    <a:pt x="82" y="359"/>
                  </a:cubicBezTo>
                  <a:cubicBezTo>
                    <a:pt x="86" y="358"/>
                    <a:pt x="89" y="360"/>
                    <a:pt x="90" y="363"/>
                  </a:cubicBezTo>
                  <a:cubicBezTo>
                    <a:pt x="91" y="366"/>
                    <a:pt x="89" y="370"/>
                    <a:pt x="86" y="371"/>
                  </a:cubicBezTo>
                  <a:cubicBezTo>
                    <a:pt x="62" y="377"/>
                    <a:pt x="62" y="377"/>
                    <a:pt x="62" y="377"/>
                  </a:cubicBezTo>
                  <a:cubicBezTo>
                    <a:pt x="62" y="377"/>
                    <a:pt x="61" y="377"/>
                    <a:pt x="61" y="377"/>
                  </a:cubicBezTo>
                  <a:close/>
                  <a:moveTo>
                    <a:pt x="1102" y="368"/>
                  </a:moveTo>
                  <a:cubicBezTo>
                    <a:pt x="1101" y="368"/>
                    <a:pt x="1100" y="367"/>
                    <a:pt x="1099" y="366"/>
                  </a:cubicBezTo>
                  <a:cubicBezTo>
                    <a:pt x="1093" y="362"/>
                    <a:pt x="1087" y="359"/>
                    <a:pt x="1079" y="355"/>
                  </a:cubicBezTo>
                  <a:cubicBezTo>
                    <a:pt x="1076" y="353"/>
                    <a:pt x="1075" y="350"/>
                    <a:pt x="1076" y="347"/>
                  </a:cubicBezTo>
                  <a:cubicBezTo>
                    <a:pt x="1078" y="344"/>
                    <a:pt x="1081" y="343"/>
                    <a:pt x="1084" y="344"/>
                  </a:cubicBezTo>
                  <a:cubicBezTo>
                    <a:pt x="1093" y="348"/>
                    <a:pt x="1100" y="352"/>
                    <a:pt x="1106" y="357"/>
                  </a:cubicBezTo>
                  <a:cubicBezTo>
                    <a:pt x="1109" y="359"/>
                    <a:pt x="1109" y="363"/>
                    <a:pt x="1107" y="365"/>
                  </a:cubicBezTo>
                  <a:cubicBezTo>
                    <a:pt x="1106" y="367"/>
                    <a:pt x="1104" y="368"/>
                    <a:pt x="1102" y="368"/>
                  </a:cubicBezTo>
                  <a:close/>
                  <a:moveTo>
                    <a:pt x="115" y="362"/>
                  </a:moveTo>
                  <a:cubicBezTo>
                    <a:pt x="112" y="362"/>
                    <a:pt x="110" y="361"/>
                    <a:pt x="109" y="358"/>
                  </a:cubicBezTo>
                  <a:cubicBezTo>
                    <a:pt x="108" y="355"/>
                    <a:pt x="110" y="351"/>
                    <a:pt x="113" y="351"/>
                  </a:cubicBezTo>
                  <a:cubicBezTo>
                    <a:pt x="136" y="344"/>
                    <a:pt x="136" y="344"/>
                    <a:pt x="136" y="344"/>
                  </a:cubicBezTo>
                  <a:cubicBezTo>
                    <a:pt x="140" y="343"/>
                    <a:pt x="143" y="345"/>
                    <a:pt x="144" y="348"/>
                  </a:cubicBezTo>
                  <a:cubicBezTo>
                    <a:pt x="145" y="352"/>
                    <a:pt x="143" y="355"/>
                    <a:pt x="140" y="356"/>
                  </a:cubicBezTo>
                  <a:cubicBezTo>
                    <a:pt x="117" y="362"/>
                    <a:pt x="117" y="362"/>
                    <a:pt x="117" y="362"/>
                  </a:cubicBezTo>
                  <a:cubicBezTo>
                    <a:pt x="116" y="362"/>
                    <a:pt x="115" y="362"/>
                    <a:pt x="115" y="362"/>
                  </a:cubicBezTo>
                  <a:close/>
                  <a:moveTo>
                    <a:pt x="169" y="348"/>
                  </a:moveTo>
                  <a:cubicBezTo>
                    <a:pt x="166" y="348"/>
                    <a:pt x="164" y="346"/>
                    <a:pt x="163" y="343"/>
                  </a:cubicBezTo>
                  <a:cubicBezTo>
                    <a:pt x="162" y="340"/>
                    <a:pt x="164" y="337"/>
                    <a:pt x="167" y="336"/>
                  </a:cubicBezTo>
                  <a:cubicBezTo>
                    <a:pt x="168" y="336"/>
                    <a:pt x="168" y="336"/>
                    <a:pt x="168" y="336"/>
                  </a:cubicBezTo>
                  <a:cubicBezTo>
                    <a:pt x="188" y="326"/>
                    <a:pt x="188" y="326"/>
                    <a:pt x="188" y="326"/>
                  </a:cubicBezTo>
                  <a:cubicBezTo>
                    <a:pt x="191" y="325"/>
                    <a:pt x="195" y="326"/>
                    <a:pt x="196" y="329"/>
                  </a:cubicBezTo>
                  <a:cubicBezTo>
                    <a:pt x="198" y="332"/>
                    <a:pt x="196" y="336"/>
                    <a:pt x="193" y="337"/>
                  </a:cubicBezTo>
                  <a:cubicBezTo>
                    <a:pt x="172" y="347"/>
                    <a:pt x="172" y="347"/>
                    <a:pt x="172" y="347"/>
                  </a:cubicBezTo>
                  <a:cubicBezTo>
                    <a:pt x="172" y="347"/>
                    <a:pt x="172" y="347"/>
                    <a:pt x="171" y="347"/>
                  </a:cubicBezTo>
                  <a:cubicBezTo>
                    <a:pt x="170" y="347"/>
                    <a:pt x="170" y="347"/>
                    <a:pt x="170" y="347"/>
                  </a:cubicBezTo>
                  <a:cubicBezTo>
                    <a:pt x="170" y="348"/>
                    <a:pt x="169" y="348"/>
                    <a:pt x="169" y="348"/>
                  </a:cubicBezTo>
                  <a:close/>
                  <a:moveTo>
                    <a:pt x="1051" y="347"/>
                  </a:moveTo>
                  <a:cubicBezTo>
                    <a:pt x="1050" y="347"/>
                    <a:pt x="1049" y="347"/>
                    <a:pt x="1048" y="346"/>
                  </a:cubicBezTo>
                  <a:cubicBezTo>
                    <a:pt x="1042" y="343"/>
                    <a:pt x="1036" y="338"/>
                    <a:pt x="1032" y="331"/>
                  </a:cubicBezTo>
                  <a:cubicBezTo>
                    <a:pt x="1031" y="330"/>
                    <a:pt x="1030" y="328"/>
                    <a:pt x="1030" y="326"/>
                  </a:cubicBezTo>
                  <a:cubicBezTo>
                    <a:pt x="1028" y="323"/>
                    <a:pt x="1029" y="320"/>
                    <a:pt x="1032" y="318"/>
                  </a:cubicBezTo>
                  <a:cubicBezTo>
                    <a:pt x="1035" y="317"/>
                    <a:pt x="1039" y="318"/>
                    <a:pt x="1040" y="321"/>
                  </a:cubicBezTo>
                  <a:cubicBezTo>
                    <a:pt x="1041" y="322"/>
                    <a:pt x="1042" y="324"/>
                    <a:pt x="1042" y="325"/>
                  </a:cubicBezTo>
                  <a:cubicBezTo>
                    <a:pt x="1046" y="330"/>
                    <a:pt x="1049" y="333"/>
                    <a:pt x="1054" y="335"/>
                  </a:cubicBezTo>
                  <a:cubicBezTo>
                    <a:pt x="1057" y="337"/>
                    <a:pt x="1058" y="340"/>
                    <a:pt x="1056" y="343"/>
                  </a:cubicBezTo>
                  <a:cubicBezTo>
                    <a:pt x="1055" y="346"/>
                    <a:pt x="1053" y="347"/>
                    <a:pt x="1051" y="347"/>
                  </a:cubicBezTo>
                  <a:close/>
                  <a:moveTo>
                    <a:pt x="220" y="324"/>
                  </a:moveTo>
                  <a:cubicBezTo>
                    <a:pt x="217" y="324"/>
                    <a:pt x="215" y="323"/>
                    <a:pt x="214" y="320"/>
                  </a:cubicBezTo>
                  <a:cubicBezTo>
                    <a:pt x="213" y="317"/>
                    <a:pt x="214" y="314"/>
                    <a:pt x="217" y="312"/>
                  </a:cubicBezTo>
                  <a:cubicBezTo>
                    <a:pt x="219" y="312"/>
                    <a:pt x="219" y="312"/>
                    <a:pt x="219" y="312"/>
                  </a:cubicBezTo>
                  <a:cubicBezTo>
                    <a:pt x="236" y="300"/>
                    <a:pt x="236" y="300"/>
                    <a:pt x="236" y="300"/>
                  </a:cubicBezTo>
                  <a:cubicBezTo>
                    <a:pt x="239" y="298"/>
                    <a:pt x="243" y="299"/>
                    <a:pt x="245" y="301"/>
                  </a:cubicBezTo>
                  <a:cubicBezTo>
                    <a:pt x="246" y="304"/>
                    <a:pt x="246" y="308"/>
                    <a:pt x="243" y="310"/>
                  </a:cubicBezTo>
                  <a:cubicBezTo>
                    <a:pt x="225" y="322"/>
                    <a:pt x="225" y="322"/>
                    <a:pt x="225" y="322"/>
                  </a:cubicBezTo>
                  <a:cubicBezTo>
                    <a:pt x="225" y="322"/>
                    <a:pt x="224" y="322"/>
                    <a:pt x="224" y="322"/>
                  </a:cubicBezTo>
                  <a:cubicBezTo>
                    <a:pt x="222" y="323"/>
                    <a:pt x="222" y="323"/>
                    <a:pt x="222" y="323"/>
                  </a:cubicBezTo>
                  <a:cubicBezTo>
                    <a:pt x="221" y="324"/>
                    <a:pt x="221" y="324"/>
                    <a:pt x="220" y="324"/>
                  </a:cubicBezTo>
                  <a:close/>
                  <a:moveTo>
                    <a:pt x="1023" y="300"/>
                  </a:moveTo>
                  <a:cubicBezTo>
                    <a:pt x="1021" y="300"/>
                    <a:pt x="1018" y="298"/>
                    <a:pt x="1018" y="296"/>
                  </a:cubicBezTo>
                  <a:cubicBezTo>
                    <a:pt x="1015" y="287"/>
                    <a:pt x="1013" y="279"/>
                    <a:pt x="1012" y="271"/>
                  </a:cubicBezTo>
                  <a:cubicBezTo>
                    <a:pt x="1011" y="268"/>
                    <a:pt x="1014" y="265"/>
                    <a:pt x="1017" y="265"/>
                  </a:cubicBezTo>
                  <a:cubicBezTo>
                    <a:pt x="1020" y="264"/>
                    <a:pt x="1023" y="266"/>
                    <a:pt x="1024" y="269"/>
                  </a:cubicBezTo>
                  <a:cubicBezTo>
                    <a:pt x="1025" y="277"/>
                    <a:pt x="1027" y="284"/>
                    <a:pt x="1029" y="292"/>
                  </a:cubicBezTo>
                  <a:cubicBezTo>
                    <a:pt x="1030" y="295"/>
                    <a:pt x="1028" y="299"/>
                    <a:pt x="1025" y="300"/>
                  </a:cubicBezTo>
                  <a:cubicBezTo>
                    <a:pt x="1024" y="300"/>
                    <a:pt x="1024" y="300"/>
                    <a:pt x="1023" y="300"/>
                  </a:cubicBezTo>
                  <a:close/>
                  <a:moveTo>
                    <a:pt x="268" y="296"/>
                  </a:moveTo>
                  <a:cubicBezTo>
                    <a:pt x="265" y="296"/>
                    <a:pt x="263" y="294"/>
                    <a:pt x="262" y="292"/>
                  </a:cubicBezTo>
                  <a:cubicBezTo>
                    <a:pt x="261" y="288"/>
                    <a:pt x="263" y="285"/>
                    <a:pt x="266" y="284"/>
                  </a:cubicBezTo>
                  <a:cubicBezTo>
                    <a:pt x="289" y="278"/>
                    <a:pt x="289" y="278"/>
                    <a:pt x="289" y="278"/>
                  </a:cubicBezTo>
                  <a:cubicBezTo>
                    <a:pt x="293" y="278"/>
                    <a:pt x="296" y="279"/>
                    <a:pt x="297" y="283"/>
                  </a:cubicBezTo>
                  <a:cubicBezTo>
                    <a:pt x="298" y="286"/>
                    <a:pt x="296" y="289"/>
                    <a:pt x="292" y="290"/>
                  </a:cubicBezTo>
                  <a:cubicBezTo>
                    <a:pt x="269" y="296"/>
                    <a:pt x="269" y="296"/>
                    <a:pt x="269" y="296"/>
                  </a:cubicBezTo>
                  <a:cubicBezTo>
                    <a:pt x="269" y="296"/>
                    <a:pt x="268" y="296"/>
                    <a:pt x="268" y="296"/>
                  </a:cubicBezTo>
                  <a:close/>
                  <a:moveTo>
                    <a:pt x="322" y="282"/>
                  </a:moveTo>
                  <a:cubicBezTo>
                    <a:pt x="320" y="282"/>
                    <a:pt x="318" y="281"/>
                    <a:pt x="317" y="279"/>
                  </a:cubicBezTo>
                  <a:cubicBezTo>
                    <a:pt x="315" y="276"/>
                    <a:pt x="316" y="273"/>
                    <a:pt x="319" y="271"/>
                  </a:cubicBezTo>
                  <a:cubicBezTo>
                    <a:pt x="339" y="258"/>
                    <a:pt x="339" y="258"/>
                    <a:pt x="339" y="258"/>
                  </a:cubicBezTo>
                  <a:cubicBezTo>
                    <a:pt x="342" y="257"/>
                    <a:pt x="346" y="257"/>
                    <a:pt x="347" y="260"/>
                  </a:cubicBezTo>
                  <a:cubicBezTo>
                    <a:pt x="349" y="263"/>
                    <a:pt x="348" y="267"/>
                    <a:pt x="345" y="269"/>
                  </a:cubicBezTo>
                  <a:cubicBezTo>
                    <a:pt x="325" y="281"/>
                    <a:pt x="325" y="281"/>
                    <a:pt x="325" y="281"/>
                  </a:cubicBezTo>
                  <a:cubicBezTo>
                    <a:pt x="324" y="282"/>
                    <a:pt x="323" y="282"/>
                    <a:pt x="322" y="282"/>
                  </a:cubicBezTo>
                  <a:close/>
                  <a:moveTo>
                    <a:pt x="370" y="253"/>
                  </a:moveTo>
                  <a:cubicBezTo>
                    <a:pt x="367" y="253"/>
                    <a:pt x="366" y="252"/>
                    <a:pt x="364" y="250"/>
                  </a:cubicBezTo>
                  <a:cubicBezTo>
                    <a:pt x="363" y="247"/>
                    <a:pt x="364" y="243"/>
                    <a:pt x="366" y="242"/>
                  </a:cubicBezTo>
                  <a:cubicBezTo>
                    <a:pt x="377" y="235"/>
                    <a:pt x="377" y="235"/>
                    <a:pt x="377" y="235"/>
                  </a:cubicBezTo>
                  <a:cubicBezTo>
                    <a:pt x="380" y="233"/>
                    <a:pt x="383" y="231"/>
                    <a:pt x="386" y="229"/>
                  </a:cubicBezTo>
                  <a:cubicBezTo>
                    <a:pt x="389" y="227"/>
                    <a:pt x="393" y="228"/>
                    <a:pt x="395" y="230"/>
                  </a:cubicBezTo>
                  <a:cubicBezTo>
                    <a:pt x="396" y="233"/>
                    <a:pt x="396" y="237"/>
                    <a:pt x="393" y="239"/>
                  </a:cubicBezTo>
                  <a:cubicBezTo>
                    <a:pt x="390" y="241"/>
                    <a:pt x="387" y="243"/>
                    <a:pt x="384" y="245"/>
                  </a:cubicBezTo>
                  <a:cubicBezTo>
                    <a:pt x="373" y="252"/>
                    <a:pt x="373" y="252"/>
                    <a:pt x="373" y="252"/>
                  </a:cubicBezTo>
                  <a:cubicBezTo>
                    <a:pt x="372" y="252"/>
                    <a:pt x="371" y="253"/>
                    <a:pt x="370" y="253"/>
                  </a:cubicBezTo>
                  <a:close/>
                  <a:moveTo>
                    <a:pt x="1017" y="245"/>
                  </a:moveTo>
                  <a:cubicBezTo>
                    <a:pt x="1017" y="245"/>
                    <a:pt x="1017" y="245"/>
                    <a:pt x="1016" y="245"/>
                  </a:cubicBezTo>
                  <a:cubicBezTo>
                    <a:pt x="1013" y="244"/>
                    <a:pt x="1011" y="241"/>
                    <a:pt x="1011" y="238"/>
                  </a:cubicBezTo>
                  <a:cubicBezTo>
                    <a:pt x="1014" y="214"/>
                    <a:pt x="1014" y="214"/>
                    <a:pt x="1014" y="214"/>
                  </a:cubicBezTo>
                  <a:cubicBezTo>
                    <a:pt x="1014" y="211"/>
                    <a:pt x="1017" y="208"/>
                    <a:pt x="1020" y="209"/>
                  </a:cubicBezTo>
                  <a:cubicBezTo>
                    <a:pt x="1024" y="209"/>
                    <a:pt x="1026" y="212"/>
                    <a:pt x="1026" y="215"/>
                  </a:cubicBezTo>
                  <a:cubicBezTo>
                    <a:pt x="1023" y="239"/>
                    <a:pt x="1023" y="239"/>
                    <a:pt x="1023" y="239"/>
                  </a:cubicBezTo>
                  <a:cubicBezTo>
                    <a:pt x="1023" y="242"/>
                    <a:pt x="1020" y="245"/>
                    <a:pt x="1017" y="245"/>
                  </a:cubicBezTo>
                  <a:close/>
                  <a:moveTo>
                    <a:pt x="492" y="230"/>
                  </a:moveTo>
                  <a:cubicBezTo>
                    <a:pt x="492" y="230"/>
                    <a:pt x="492" y="230"/>
                    <a:pt x="491" y="230"/>
                  </a:cubicBezTo>
                  <a:cubicBezTo>
                    <a:pt x="486" y="229"/>
                    <a:pt x="480" y="229"/>
                    <a:pt x="474" y="228"/>
                  </a:cubicBezTo>
                  <a:cubicBezTo>
                    <a:pt x="471" y="228"/>
                    <a:pt x="468" y="225"/>
                    <a:pt x="469" y="221"/>
                  </a:cubicBezTo>
                  <a:cubicBezTo>
                    <a:pt x="469" y="218"/>
                    <a:pt x="472" y="216"/>
                    <a:pt x="475" y="216"/>
                  </a:cubicBezTo>
                  <a:cubicBezTo>
                    <a:pt x="481" y="217"/>
                    <a:pt x="487" y="217"/>
                    <a:pt x="492" y="218"/>
                  </a:cubicBezTo>
                  <a:cubicBezTo>
                    <a:pt x="498" y="217"/>
                    <a:pt x="498" y="217"/>
                    <a:pt x="498" y="217"/>
                  </a:cubicBezTo>
                  <a:cubicBezTo>
                    <a:pt x="501" y="217"/>
                    <a:pt x="504" y="219"/>
                    <a:pt x="504" y="222"/>
                  </a:cubicBezTo>
                  <a:cubicBezTo>
                    <a:pt x="505" y="226"/>
                    <a:pt x="502" y="229"/>
                    <a:pt x="499" y="229"/>
                  </a:cubicBezTo>
                  <a:cubicBezTo>
                    <a:pt x="493" y="230"/>
                    <a:pt x="493" y="230"/>
                    <a:pt x="493" y="230"/>
                  </a:cubicBezTo>
                  <a:cubicBezTo>
                    <a:pt x="492" y="230"/>
                    <a:pt x="492" y="230"/>
                    <a:pt x="492" y="230"/>
                  </a:cubicBezTo>
                  <a:close/>
                  <a:moveTo>
                    <a:pt x="554" y="229"/>
                  </a:moveTo>
                  <a:cubicBezTo>
                    <a:pt x="554" y="229"/>
                    <a:pt x="554" y="229"/>
                    <a:pt x="553" y="228"/>
                  </a:cubicBezTo>
                  <a:cubicBezTo>
                    <a:pt x="530" y="226"/>
                    <a:pt x="530" y="226"/>
                    <a:pt x="530" y="226"/>
                  </a:cubicBezTo>
                  <a:cubicBezTo>
                    <a:pt x="526" y="226"/>
                    <a:pt x="524" y="223"/>
                    <a:pt x="524" y="219"/>
                  </a:cubicBezTo>
                  <a:cubicBezTo>
                    <a:pt x="525" y="216"/>
                    <a:pt x="527" y="214"/>
                    <a:pt x="531" y="214"/>
                  </a:cubicBezTo>
                  <a:cubicBezTo>
                    <a:pt x="555" y="217"/>
                    <a:pt x="555" y="217"/>
                    <a:pt x="555" y="217"/>
                  </a:cubicBezTo>
                  <a:cubicBezTo>
                    <a:pt x="558" y="217"/>
                    <a:pt x="560" y="220"/>
                    <a:pt x="560" y="223"/>
                  </a:cubicBezTo>
                  <a:cubicBezTo>
                    <a:pt x="560" y="226"/>
                    <a:pt x="557" y="229"/>
                    <a:pt x="554" y="229"/>
                  </a:cubicBezTo>
                  <a:close/>
                  <a:moveTo>
                    <a:pt x="586" y="228"/>
                  </a:moveTo>
                  <a:cubicBezTo>
                    <a:pt x="583" y="228"/>
                    <a:pt x="580" y="226"/>
                    <a:pt x="580" y="222"/>
                  </a:cubicBezTo>
                  <a:cubicBezTo>
                    <a:pt x="580" y="219"/>
                    <a:pt x="582" y="216"/>
                    <a:pt x="585" y="216"/>
                  </a:cubicBezTo>
                  <a:cubicBezTo>
                    <a:pt x="601" y="214"/>
                    <a:pt x="601" y="214"/>
                    <a:pt x="601" y="214"/>
                  </a:cubicBezTo>
                  <a:cubicBezTo>
                    <a:pt x="603" y="213"/>
                    <a:pt x="604" y="212"/>
                    <a:pt x="606" y="212"/>
                  </a:cubicBezTo>
                  <a:cubicBezTo>
                    <a:pt x="609" y="210"/>
                    <a:pt x="612" y="211"/>
                    <a:pt x="614" y="213"/>
                  </a:cubicBezTo>
                  <a:cubicBezTo>
                    <a:pt x="616" y="216"/>
                    <a:pt x="615" y="220"/>
                    <a:pt x="612" y="222"/>
                  </a:cubicBezTo>
                  <a:cubicBezTo>
                    <a:pt x="610" y="223"/>
                    <a:pt x="608" y="224"/>
                    <a:pt x="606" y="225"/>
                  </a:cubicBezTo>
                  <a:cubicBezTo>
                    <a:pt x="605" y="226"/>
                    <a:pt x="604" y="226"/>
                    <a:pt x="604" y="226"/>
                  </a:cubicBezTo>
                  <a:cubicBezTo>
                    <a:pt x="587" y="228"/>
                    <a:pt x="587" y="228"/>
                    <a:pt x="587" y="228"/>
                  </a:cubicBezTo>
                  <a:cubicBezTo>
                    <a:pt x="586" y="228"/>
                    <a:pt x="586" y="228"/>
                    <a:pt x="586" y="228"/>
                  </a:cubicBezTo>
                  <a:close/>
                  <a:moveTo>
                    <a:pt x="419" y="227"/>
                  </a:moveTo>
                  <a:cubicBezTo>
                    <a:pt x="416" y="227"/>
                    <a:pt x="413" y="225"/>
                    <a:pt x="413" y="222"/>
                  </a:cubicBezTo>
                  <a:cubicBezTo>
                    <a:pt x="412" y="219"/>
                    <a:pt x="414" y="216"/>
                    <a:pt x="418" y="215"/>
                  </a:cubicBezTo>
                  <a:cubicBezTo>
                    <a:pt x="420" y="215"/>
                    <a:pt x="422" y="214"/>
                    <a:pt x="424" y="214"/>
                  </a:cubicBezTo>
                  <a:cubicBezTo>
                    <a:pt x="429" y="213"/>
                    <a:pt x="436" y="213"/>
                    <a:pt x="443" y="213"/>
                  </a:cubicBezTo>
                  <a:cubicBezTo>
                    <a:pt x="446" y="213"/>
                    <a:pt x="449" y="216"/>
                    <a:pt x="449" y="219"/>
                  </a:cubicBezTo>
                  <a:cubicBezTo>
                    <a:pt x="448" y="223"/>
                    <a:pt x="446" y="225"/>
                    <a:pt x="442" y="225"/>
                  </a:cubicBezTo>
                  <a:cubicBezTo>
                    <a:pt x="436" y="225"/>
                    <a:pt x="430" y="225"/>
                    <a:pt x="426" y="226"/>
                  </a:cubicBezTo>
                  <a:cubicBezTo>
                    <a:pt x="424" y="226"/>
                    <a:pt x="422" y="226"/>
                    <a:pt x="420" y="227"/>
                  </a:cubicBezTo>
                  <a:cubicBezTo>
                    <a:pt x="420" y="227"/>
                    <a:pt x="419" y="227"/>
                    <a:pt x="419" y="227"/>
                  </a:cubicBezTo>
                  <a:close/>
                  <a:moveTo>
                    <a:pt x="627" y="198"/>
                  </a:moveTo>
                  <a:cubicBezTo>
                    <a:pt x="624" y="198"/>
                    <a:pt x="622" y="196"/>
                    <a:pt x="621" y="193"/>
                  </a:cubicBezTo>
                  <a:cubicBezTo>
                    <a:pt x="621" y="191"/>
                    <a:pt x="619" y="188"/>
                    <a:pt x="616" y="185"/>
                  </a:cubicBezTo>
                  <a:cubicBezTo>
                    <a:pt x="614" y="182"/>
                    <a:pt x="611" y="178"/>
                    <a:pt x="609" y="174"/>
                  </a:cubicBezTo>
                  <a:cubicBezTo>
                    <a:pt x="608" y="171"/>
                    <a:pt x="610" y="167"/>
                    <a:pt x="613" y="166"/>
                  </a:cubicBezTo>
                  <a:cubicBezTo>
                    <a:pt x="616" y="165"/>
                    <a:pt x="619" y="166"/>
                    <a:pt x="621" y="169"/>
                  </a:cubicBezTo>
                  <a:cubicBezTo>
                    <a:pt x="622" y="172"/>
                    <a:pt x="624" y="176"/>
                    <a:pt x="626" y="179"/>
                  </a:cubicBezTo>
                  <a:cubicBezTo>
                    <a:pt x="629" y="183"/>
                    <a:pt x="632" y="186"/>
                    <a:pt x="633" y="191"/>
                  </a:cubicBezTo>
                  <a:cubicBezTo>
                    <a:pt x="633" y="194"/>
                    <a:pt x="631" y="197"/>
                    <a:pt x="628" y="198"/>
                  </a:cubicBezTo>
                  <a:cubicBezTo>
                    <a:pt x="628" y="198"/>
                    <a:pt x="627" y="198"/>
                    <a:pt x="627" y="198"/>
                  </a:cubicBezTo>
                  <a:close/>
                  <a:moveTo>
                    <a:pt x="1023" y="189"/>
                  </a:moveTo>
                  <a:cubicBezTo>
                    <a:pt x="1023" y="189"/>
                    <a:pt x="1023" y="189"/>
                    <a:pt x="1023" y="189"/>
                  </a:cubicBezTo>
                  <a:cubicBezTo>
                    <a:pt x="1019" y="189"/>
                    <a:pt x="1017" y="186"/>
                    <a:pt x="1017" y="182"/>
                  </a:cubicBezTo>
                  <a:cubicBezTo>
                    <a:pt x="1019" y="171"/>
                    <a:pt x="1019" y="171"/>
                    <a:pt x="1019" y="171"/>
                  </a:cubicBezTo>
                  <a:cubicBezTo>
                    <a:pt x="1019" y="167"/>
                    <a:pt x="1019" y="163"/>
                    <a:pt x="1020" y="158"/>
                  </a:cubicBezTo>
                  <a:cubicBezTo>
                    <a:pt x="1020" y="155"/>
                    <a:pt x="1023" y="153"/>
                    <a:pt x="1027" y="153"/>
                  </a:cubicBezTo>
                  <a:cubicBezTo>
                    <a:pt x="1030" y="154"/>
                    <a:pt x="1032" y="157"/>
                    <a:pt x="1032" y="160"/>
                  </a:cubicBezTo>
                  <a:cubicBezTo>
                    <a:pt x="1031" y="165"/>
                    <a:pt x="1031" y="168"/>
                    <a:pt x="1030" y="172"/>
                  </a:cubicBezTo>
                  <a:cubicBezTo>
                    <a:pt x="1029" y="184"/>
                    <a:pt x="1029" y="184"/>
                    <a:pt x="1029" y="184"/>
                  </a:cubicBezTo>
                  <a:cubicBezTo>
                    <a:pt x="1029" y="187"/>
                    <a:pt x="1026" y="189"/>
                    <a:pt x="1023" y="189"/>
                  </a:cubicBezTo>
                  <a:close/>
                  <a:moveTo>
                    <a:pt x="618" y="146"/>
                  </a:moveTo>
                  <a:cubicBezTo>
                    <a:pt x="617" y="146"/>
                    <a:pt x="617" y="146"/>
                    <a:pt x="616" y="146"/>
                  </a:cubicBezTo>
                  <a:cubicBezTo>
                    <a:pt x="613" y="145"/>
                    <a:pt x="611" y="141"/>
                    <a:pt x="612" y="138"/>
                  </a:cubicBezTo>
                  <a:cubicBezTo>
                    <a:pt x="615" y="131"/>
                    <a:pt x="618" y="122"/>
                    <a:pt x="621" y="115"/>
                  </a:cubicBezTo>
                  <a:cubicBezTo>
                    <a:pt x="623" y="112"/>
                    <a:pt x="626" y="111"/>
                    <a:pt x="629" y="112"/>
                  </a:cubicBezTo>
                  <a:cubicBezTo>
                    <a:pt x="632" y="114"/>
                    <a:pt x="633" y="117"/>
                    <a:pt x="632" y="120"/>
                  </a:cubicBezTo>
                  <a:cubicBezTo>
                    <a:pt x="629" y="127"/>
                    <a:pt x="626" y="135"/>
                    <a:pt x="624" y="142"/>
                  </a:cubicBezTo>
                  <a:cubicBezTo>
                    <a:pt x="623" y="144"/>
                    <a:pt x="621" y="146"/>
                    <a:pt x="618" y="146"/>
                  </a:cubicBezTo>
                  <a:close/>
                  <a:moveTo>
                    <a:pt x="1030" y="133"/>
                  </a:moveTo>
                  <a:cubicBezTo>
                    <a:pt x="1030" y="133"/>
                    <a:pt x="1030" y="133"/>
                    <a:pt x="1030" y="133"/>
                  </a:cubicBezTo>
                  <a:cubicBezTo>
                    <a:pt x="1026" y="133"/>
                    <a:pt x="1024" y="130"/>
                    <a:pt x="1024" y="127"/>
                  </a:cubicBezTo>
                  <a:cubicBezTo>
                    <a:pt x="1024" y="126"/>
                    <a:pt x="1024" y="124"/>
                    <a:pt x="1024" y="123"/>
                  </a:cubicBezTo>
                  <a:cubicBezTo>
                    <a:pt x="1024" y="118"/>
                    <a:pt x="1023" y="114"/>
                    <a:pt x="1022" y="111"/>
                  </a:cubicBezTo>
                  <a:cubicBezTo>
                    <a:pt x="1020" y="107"/>
                    <a:pt x="1020" y="107"/>
                    <a:pt x="1020" y="107"/>
                  </a:cubicBezTo>
                  <a:cubicBezTo>
                    <a:pt x="1019" y="104"/>
                    <a:pt x="1020" y="100"/>
                    <a:pt x="1023" y="99"/>
                  </a:cubicBezTo>
                  <a:cubicBezTo>
                    <a:pt x="1026" y="97"/>
                    <a:pt x="1030" y="99"/>
                    <a:pt x="1031" y="102"/>
                  </a:cubicBezTo>
                  <a:cubicBezTo>
                    <a:pt x="1033" y="106"/>
                    <a:pt x="1033" y="106"/>
                    <a:pt x="1033" y="106"/>
                  </a:cubicBezTo>
                  <a:cubicBezTo>
                    <a:pt x="1035" y="110"/>
                    <a:pt x="1036" y="116"/>
                    <a:pt x="1036" y="123"/>
                  </a:cubicBezTo>
                  <a:cubicBezTo>
                    <a:pt x="1036" y="124"/>
                    <a:pt x="1036" y="126"/>
                    <a:pt x="1036" y="128"/>
                  </a:cubicBezTo>
                  <a:cubicBezTo>
                    <a:pt x="1036" y="131"/>
                    <a:pt x="1033" y="133"/>
                    <a:pt x="1030" y="133"/>
                  </a:cubicBezTo>
                  <a:close/>
                  <a:moveTo>
                    <a:pt x="647" y="100"/>
                  </a:moveTo>
                  <a:cubicBezTo>
                    <a:pt x="645" y="100"/>
                    <a:pt x="643" y="99"/>
                    <a:pt x="642" y="98"/>
                  </a:cubicBezTo>
                  <a:cubicBezTo>
                    <a:pt x="640" y="95"/>
                    <a:pt x="641" y="91"/>
                    <a:pt x="644" y="89"/>
                  </a:cubicBezTo>
                  <a:cubicBezTo>
                    <a:pt x="663" y="76"/>
                    <a:pt x="663" y="76"/>
                    <a:pt x="663" y="76"/>
                  </a:cubicBezTo>
                  <a:cubicBezTo>
                    <a:pt x="666" y="74"/>
                    <a:pt x="670" y="75"/>
                    <a:pt x="672" y="77"/>
                  </a:cubicBezTo>
                  <a:cubicBezTo>
                    <a:pt x="674" y="80"/>
                    <a:pt x="673" y="84"/>
                    <a:pt x="670" y="86"/>
                  </a:cubicBezTo>
                  <a:cubicBezTo>
                    <a:pt x="650" y="99"/>
                    <a:pt x="650" y="99"/>
                    <a:pt x="650" y="99"/>
                  </a:cubicBezTo>
                  <a:cubicBezTo>
                    <a:pt x="649" y="100"/>
                    <a:pt x="648" y="100"/>
                    <a:pt x="647" y="100"/>
                  </a:cubicBezTo>
                  <a:close/>
                  <a:moveTo>
                    <a:pt x="1012" y="81"/>
                  </a:moveTo>
                  <a:cubicBezTo>
                    <a:pt x="1010" y="81"/>
                    <a:pt x="1008" y="80"/>
                    <a:pt x="1007" y="78"/>
                  </a:cubicBezTo>
                  <a:cubicBezTo>
                    <a:pt x="1004" y="70"/>
                    <a:pt x="1004" y="70"/>
                    <a:pt x="1004" y="70"/>
                  </a:cubicBezTo>
                  <a:cubicBezTo>
                    <a:pt x="1002" y="66"/>
                    <a:pt x="999" y="62"/>
                    <a:pt x="996" y="57"/>
                  </a:cubicBezTo>
                  <a:cubicBezTo>
                    <a:pt x="995" y="54"/>
                    <a:pt x="995" y="50"/>
                    <a:pt x="998" y="48"/>
                  </a:cubicBezTo>
                  <a:cubicBezTo>
                    <a:pt x="1001" y="47"/>
                    <a:pt x="1005" y="48"/>
                    <a:pt x="1007" y="51"/>
                  </a:cubicBezTo>
                  <a:cubicBezTo>
                    <a:pt x="1010" y="56"/>
                    <a:pt x="1012" y="61"/>
                    <a:pt x="1014" y="65"/>
                  </a:cubicBezTo>
                  <a:cubicBezTo>
                    <a:pt x="1018" y="73"/>
                    <a:pt x="1018" y="73"/>
                    <a:pt x="1018" y="73"/>
                  </a:cubicBezTo>
                  <a:cubicBezTo>
                    <a:pt x="1019" y="76"/>
                    <a:pt x="1018" y="79"/>
                    <a:pt x="1015" y="80"/>
                  </a:cubicBezTo>
                  <a:cubicBezTo>
                    <a:pt x="1014" y="81"/>
                    <a:pt x="1013" y="81"/>
                    <a:pt x="1012" y="81"/>
                  </a:cubicBezTo>
                  <a:close/>
                  <a:moveTo>
                    <a:pt x="692" y="67"/>
                  </a:moveTo>
                  <a:cubicBezTo>
                    <a:pt x="690" y="67"/>
                    <a:pt x="688" y="66"/>
                    <a:pt x="687" y="65"/>
                  </a:cubicBezTo>
                  <a:cubicBezTo>
                    <a:pt x="685" y="62"/>
                    <a:pt x="686" y="58"/>
                    <a:pt x="689" y="56"/>
                  </a:cubicBezTo>
                  <a:cubicBezTo>
                    <a:pt x="694" y="53"/>
                    <a:pt x="699" y="50"/>
                    <a:pt x="705" y="48"/>
                  </a:cubicBezTo>
                  <a:cubicBezTo>
                    <a:pt x="707" y="47"/>
                    <a:pt x="710" y="47"/>
                    <a:pt x="713" y="46"/>
                  </a:cubicBezTo>
                  <a:cubicBezTo>
                    <a:pt x="716" y="45"/>
                    <a:pt x="719" y="47"/>
                    <a:pt x="720" y="51"/>
                  </a:cubicBezTo>
                  <a:cubicBezTo>
                    <a:pt x="721" y="54"/>
                    <a:pt x="718" y="57"/>
                    <a:pt x="715" y="58"/>
                  </a:cubicBezTo>
                  <a:cubicBezTo>
                    <a:pt x="713" y="58"/>
                    <a:pt x="710" y="59"/>
                    <a:pt x="708" y="59"/>
                  </a:cubicBezTo>
                  <a:cubicBezTo>
                    <a:pt x="704" y="61"/>
                    <a:pt x="700" y="63"/>
                    <a:pt x="696" y="66"/>
                  </a:cubicBezTo>
                  <a:cubicBezTo>
                    <a:pt x="695" y="67"/>
                    <a:pt x="693" y="67"/>
                    <a:pt x="692" y="67"/>
                  </a:cubicBezTo>
                  <a:close/>
                  <a:moveTo>
                    <a:pt x="746" y="55"/>
                  </a:moveTo>
                  <a:cubicBezTo>
                    <a:pt x="743" y="55"/>
                    <a:pt x="740" y="52"/>
                    <a:pt x="740" y="49"/>
                  </a:cubicBezTo>
                  <a:cubicBezTo>
                    <a:pt x="740" y="46"/>
                    <a:pt x="742" y="43"/>
                    <a:pt x="745" y="43"/>
                  </a:cubicBezTo>
                  <a:cubicBezTo>
                    <a:pt x="751" y="42"/>
                    <a:pt x="756" y="42"/>
                    <a:pt x="762" y="41"/>
                  </a:cubicBezTo>
                  <a:cubicBezTo>
                    <a:pt x="768" y="39"/>
                    <a:pt x="768" y="39"/>
                    <a:pt x="768" y="39"/>
                  </a:cubicBezTo>
                  <a:cubicBezTo>
                    <a:pt x="771" y="38"/>
                    <a:pt x="774" y="40"/>
                    <a:pt x="775" y="43"/>
                  </a:cubicBezTo>
                  <a:cubicBezTo>
                    <a:pt x="776" y="46"/>
                    <a:pt x="774" y="49"/>
                    <a:pt x="771" y="50"/>
                  </a:cubicBezTo>
                  <a:cubicBezTo>
                    <a:pt x="765" y="52"/>
                    <a:pt x="765" y="52"/>
                    <a:pt x="765" y="52"/>
                  </a:cubicBezTo>
                  <a:cubicBezTo>
                    <a:pt x="765" y="52"/>
                    <a:pt x="765" y="52"/>
                    <a:pt x="764" y="52"/>
                  </a:cubicBezTo>
                  <a:cubicBezTo>
                    <a:pt x="758" y="54"/>
                    <a:pt x="752" y="54"/>
                    <a:pt x="746" y="55"/>
                  </a:cubicBezTo>
                  <a:cubicBezTo>
                    <a:pt x="746" y="55"/>
                    <a:pt x="746" y="55"/>
                    <a:pt x="746" y="55"/>
                  </a:cubicBezTo>
                  <a:close/>
                  <a:moveTo>
                    <a:pt x="800" y="41"/>
                  </a:moveTo>
                  <a:cubicBezTo>
                    <a:pt x="797" y="41"/>
                    <a:pt x="795" y="39"/>
                    <a:pt x="794" y="37"/>
                  </a:cubicBezTo>
                  <a:cubicBezTo>
                    <a:pt x="793" y="34"/>
                    <a:pt x="795" y="30"/>
                    <a:pt x="798" y="29"/>
                  </a:cubicBezTo>
                  <a:cubicBezTo>
                    <a:pt x="807" y="26"/>
                    <a:pt x="807" y="26"/>
                    <a:pt x="807" y="26"/>
                  </a:cubicBezTo>
                  <a:cubicBezTo>
                    <a:pt x="811" y="25"/>
                    <a:pt x="816" y="23"/>
                    <a:pt x="820" y="21"/>
                  </a:cubicBezTo>
                  <a:cubicBezTo>
                    <a:pt x="823" y="19"/>
                    <a:pt x="826" y="20"/>
                    <a:pt x="828" y="23"/>
                  </a:cubicBezTo>
                  <a:cubicBezTo>
                    <a:pt x="829" y="26"/>
                    <a:pt x="828" y="30"/>
                    <a:pt x="825" y="31"/>
                  </a:cubicBezTo>
                  <a:cubicBezTo>
                    <a:pt x="821" y="33"/>
                    <a:pt x="815" y="36"/>
                    <a:pt x="810" y="38"/>
                  </a:cubicBezTo>
                  <a:cubicBezTo>
                    <a:pt x="802" y="41"/>
                    <a:pt x="802" y="41"/>
                    <a:pt x="802" y="41"/>
                  </a:cubicBezTo>
                  <a:cubicBezTo>
                    <a:pt x="801" y="41"/>
                    <a:pt x="801" y="41"/>
                    <a:pt x="800" y="41"/>
                  </a:cubicBezTo>
                  <a:close/>
                  <a:moveTo>
                    <a:pt x="983" y="34"/>
                  </a:moveTo>
                  <a:cubicBezTo>
                    <a:pt x="981" y="34"/>
                    <a:pt x="980" y="33"/>
                    <a:pt x="978" y="32"/>
                  </a:cubicBezTo>
                  <a:cubicBezTo>
                    <a:pt x="978" y="31"/>
                    <a:pt x="977" y="30"/>
                    <a:pt x="976" y="29"/>
                  </a:cubicBezTo>
                  <a:cubicBezTo>
                    <a:pt x="959" y="24"/>
                    <a:pt x="959" y="24"/>
                    <a:pt x="959" y="24"/>
                  </a:cubicBezTo>
                  <a:cubicBezTo>
                    <a:pt x="956" y="23"/>
                    <a:pt x="954" y="20"/>
                    <a:pt x="955" y="17"/>
                  </a:cubicBezTo>
                  <a:cubicBezTo>
                    <a:pt x="956" y="13"/>
                    <a:pt x="960" y="12"/>
                    <a:pt x="963" y="13"/>
                  </a:cubicBezTo>
                  <a:cubicBezTo>
                    <a:pt x="981" y="18"/>
                    <a:pt x="981" y="18"/>
                    <a:pt x="981" y="18"/>
                  </a:cubicBezTo>
                  <a:cubicBezTo>
                    <a:pt x="982" y="19"/>
                    <a:pt x="982" y="19"/>
                    <a:pt x="983" y="20"/>
                  </a:cubicBezTo>
                  <a:cubicBezTo>
                    <a:pt x="984" y="21"/>
                    <a:pt x="986" y="22"/>
                    <a:pt x="987" y="24"/>
                  </a:cubicBezTo>
                  <a:cubicBezTo>
                    <a:pt x="989" y="26"/>
                    <a:pt x="989" y="30"/>
                    <a:pt x="987" y="32"/>
                  </a:cubicBezTo>
                  <a:cubicBezTo>
                    <a:pt x="986" y="33"/>
                    <a:pt x="984" y="34"/>
                    <a:pt x="983" y="34"/>
                  </a:cubicBezTo>
                  <a:close/>
                  <a:moveTo>
                    <a:pt x="851" y="18"/>
                  </a:moveTo>
                  <a:cubicBezTo>
                    <a:pt x="849" y="18"/>
                    <a:pt x="846" y="17"/>
                    <a:pt x="846" y="15"/>
                  </a:cubicBezTo>
                  <a:cubicBezTo>
                    <a:pt x="844" y="11"/>
                    <a:pt x="846" y="8"/>
                    <a:pt x="849" y="7"/>
                  </a:cubicBezTo>
                  <a:cubicBezTo>
                    <a:pt x="857" y="4"/>
                    <a:pt x="865" y="2"/>
                    <a:pt x="872" y="1"/>
                  </a:cubicBezTo>
                  <a:cubicBezTo>
                    <a:pt x="872" y="1"/>
                    <a:pt x="873" y="0"/>
                    <a:pt x="874" y="0"/>
                  </a:cubicBezTo>
                  <a:cubicBezTo>
                    <a:pt x="877" y="0"/>
                    <a:pt x="880" y="2"/>
                    <a:pt x="880" y="6"/>
                  </a:cubicBezTo>
                  <a:cubicBezTo>
                    <a:pt x="881" y="9"/>
                    <a:pt x="878" y="12"/>
                    <a:pt x="875" y="12"/>
                  </a:cubicBezTo>
                  <a:cubicBezTo>
                    <a:pt x="874" y="12"/>
                    <a:pt x="874" y="12"/>
                    <a:pt x="873" y="13"/>
                  </a:cubicBezTo>
                  <a:cubicBezTo>
                    <a:pt x="867" y="13"/>
                    <a:pt x="861" y="15"/>
                    <a:pt x="853" y="18"/>
                  </a:cubicBezTo>
                  <a:cubicBezTo>
                    <a:pt x="853" y="18"/>
                    <a:pt x="852" y="18"/>
                    <a:pt x="851" y="18"/>
                  </a:cubicBezTo>
                  <a:close/>
                  <a:moveTo>
                    <a:pt x="930" y="18"/>
                  </a:moveTo>
                  <a:cubicBezTo>
                    <a:pt x="930" y="18"/>
                    <a:pt x="929" y="18"/>
                    <a:pt x="929" y="18"/>
                  </a:cubicBezTo>
                  <a:cubicBezTo>
                    <a:pt x="926" y="17"/>
                    <a:pt x="926" y="17"/>
                    <a:pt x="926" y="17"/>
                  </a:cubicBezTo>
                  <a:cubicBezTo>
                    <a:pt x="919" y="16"/>
                    <a:pt x="912" y="15"/>
                    <a:pt x="905" y="14"/>
                  </a:cubicBezTo>
                  <a:cubicBezTo>
                    <a:pt x="902" y="13"/>
                    <a:pt x="900" y="10"/>
                    <a:pt x="900" y="7"/>
                  </a:cubicBezTo>
                  <a:cubicBezTo>
                    <a:pt x="901" y="4"/>
                    <a:pt x="904" y="1"/>
                    <a:pt x="907" y="2"/>
                  </a:cubicBezTo>
                  <a:cubicBezTo>
                    <a:pt x="914" y="3"/>
                    <a:pt x="921" y="4"/>
                    <a:pt x="928" y="5"/>
                  </a:cubicBezTo>
                  <a:cubicBezTo>
                    <a:pt x="931" y="6"/>
                    <a:pt x="931" y="6"/>
                    <a:pt x="931" y="6"/>
                  </a:cubicBezTo>
                  <a:cubicBezTo>
                    <a:pt x="934" y="6"/>
                    <a:pt x="936" y="9"/>
                    <a:pt x="936" y="13"/>
                  </a:cubicBezTo>
                  <a:cubicBezTo>
                    <a:pt x="935" y="16"/>
                    <a:pt x="933" y="18"/>
                    <a:pt x="9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E30BCE3F-72AA-4AFC-9EE0-0C61FC477527}"/>
                </a:ext>
              </a:extLst>
            </p:cNvPr>
            <p:cNvSpPr>
              <a:spLocks noEditPoints="1"/>
            </p:cNvSpPr>
            <p:nvPr/>
          </p:nvSpPr>
          <p:spPr bwMode="auto">
            <a:xfrm>
              <a:off x="6815138" y="2236788"/>
              <a:ext cx="3281362" cy="3225800"/>
            </a:xfrm>
            <a:custGeom>
              <a:avLst/>
              <a:gdLst>
                <a:gd name="T0" fmla="*/ 778 w 791"/>
                <a:gd name="T1" fmla="*/ 763 h 776"/>
                <a:gd name="T2" fmla="*/ 787 w 791"/>
                <a:gd name="T3" fmla="*/ 776 h 776"/>
                <a:gd name="T4" fmla="*/ 755 w 791"/>
                <a:gd name="T5" fmla="*/ 741 h 776"/>
                <a:gd name="T6" fmla="*/ 764 w 791"/>
                <a:gd name="T7" fmla="*/ 753 h 776"/>
                <a:gd name="T8" fmla="*/ 732 w 791"/>
                <a:gd name="T9" fmla="*/ 718 h 776"/>
                <a:gd name="T10" fmla="*/ 741 w 791"/>
                <a:gd name="T11" fmla="*/ 731 h 776"/>
                <a:gd name="T12" fmla="*/ 710 w 791"/>
                <a:gd name="T13" fmla="*/ 696 h 776"/>
                <a:gd name="T14" fmla="*/ 718 w 791"/>
                <a:gd name="T15" fmla="*/ 708 h 776"/>
                <a:gd name="T16" fmla="*/ 687 w 791"/>
                <a:gd name="T17" fmla="*/ 674 h 776"/>
                <a:gd name="T18" fmla="*/ 695 w 791"/>
                <a:gd name="T19" fmla="*/ 686 h 776"/>
                <a:gd name="T20" fmla="*/ 664 w 791"/>
                <a:gd name="T21" fmla="*/ 651 h 776"/>
                <a:gd name="T22" fmla="*/ 672 w 791"/>
                <a:gd name="T23" fmla="*/ 664 h 776"/>
                <a:gd name="T24" fmla="*/ 641 w 791"/>
                <a:gd name="T25" fmla="*/ 629 h 776"/>
                <a:gd name="T26" fmla="*/ 650 w 791"/>
                <a:gd name="T27" fmla="*/ 641 h 776"/>
                <a:gd name="T28" fmla="*/ 618 w 791"/>
                <a:gd name="T29" fmla="*/ 606 h 776"/>
                <a:gd name="T30" fmla="*/ 627 w 791"/>
                <a:gd name="T31" fmla="*/ 619 h 776"/>
                <a:gd name="T32" fmla="*/ 595 w 791"/>
                <a:gd name="T33" fmla="*/ 584 h 776"/>
                <a:gd name="T34" fmla="*/ 604 w 791"/>
                <a:gd name="T35" fmla="*/ 596 h 776"/>
                <a:gd name="T36" fmla="*/ 573 w 791"/>
                <a:gd name="T37" fmla="*/ 562 h 776"/>
                <a:gd name="T38" fmla="*/ 581 w 791"/>
                <a:gd name="T39" fmla="*/ 574 h 776"/>
                <a:gd name="T40" fmla="*/ 550 w 791"/>
                <a:gd name="T41" fmla="*/ 539 h 776"/>
                <a:gd name="T42" fmla="*/ 558 w 791"/>
                <a:gd name="T43" fmla="*/ 552 h 776"/>
                <a:gd name="T44" fmla="*/ 527 w 791"/>
                <a:gd name="T45" fmla="*/ 517 h 776"/>
                <a:gd name="T46" fmla="*/ 535 w 791"/>
                <a:gd name="T47" fmla="*/ 529 h 776"/>
                <a:gd name="T48" fmla="*/ 504 w 791"/>
                <a:gd name="T49" fmla="*/ 494 h 776"/>
                <a:gd name="T50" fmla="*/ 513 w 791"/>
                <a:gd name="T51" fmla="*/ 507 h 776"/>
                <a:gd name="T52" fmla="*/ 481 w 791"/>
                <a:gd name="T53" fmla="*/ 472 h 776"/>
                <a:gd name="T54" fmla="*/ 490 w 791"/>
                <a:gd name="T55" fmla="*/ 484 h 776"/>
                <a:gd name="T56" fmla="*/ 458 w 791"/>
                <a:gd name="T57" fmla="*/ 450 h 776"/>
                <a:gd name="T58" fmla="*/ 467 w 791"/>
                <a:gd name="T59" fmla="*/ 462 h 776"/>
                <a:gd name="T60" fmla="*/ 435 w 791"/>
                <a:gd name="T61" fmla="*/ 427 h 776"/>
                <a:gd name="T62" fmla="*/ 444 w 791"/>
                <a:gd name="T63" fmla="*/ 440 h 776"/>
                <a:gd name="T64" fmla="*/ 413 w 791"/>
                <a:gd name="T65" fmla="*/ 405 h 776"/>
                <a:gd name="T66" fmla="*/ 421 w 791"/>
                <a:gd name="T67" fmla="*/ 417 h 776"/>
                <a:gd name="T68" fmla="*/ 390 w 791"/>
                <a:gd name="T69" fmla="*/ 382 h 776"/>
                <a:gd name="T70" fmla="*/ 398 w 791"/>
                <a:gd name="T71" fmla="*/ 395 h 776"/>
                <a:gd name="T72" fmla="*/ 367 w 791"/>
                <a:gd name="T73" fmla="*/ 360 h 776"/>
                <a:gd name="T74" fmla="*/ 375 w 791"/>
                <a:gd name="T75" fmla="*/ 372 h 776"/>
                <a:gd name="T76" fmla="*/ 344 w 791"/>
                <a:gd name="T77" fmla="*/ 338 h 776"/>
                <a:gd name="T78" fmla="*/ 353 w 791"/>
                <a:gd name="T79" fmla="*/ 350 h 776"/>
                <a:gd name="T80" fmla="*/ 321 w 791"/>
                <a:gd name="T81" fmla="*/ 315 h 776"/>
                <a:gd name="T82" fmla="*/ 330 w 791"/>
                <a:gd name="T83" fmla="*/ 328 h 776"/>
                <a:gd name="T84" fmla="*/ 207 w 791"/>
                <a:gd name="T85" fmla="*/ 203 h 776"/>
                <a:gd name="T86" fmla="*/ 215 w 791"/>
                <a:gd name="T87" fmla="*/ 216 h 776"/>
                <a:gd name="T88" fmla="*/ 184 w 791"/>
                <a:gd name="T89" fmla="*/ 181 h 776"/>
                <a:gd name="T90" fmla="*/ 193 w 791"/>
                <a:gd name="T91" fmla="*/ 193 h 776"/>
                <a:gd name="T92" fmla="*/ 161 w 791"/>
                <a:gd name="T93" fmla="*/ 158 h 776"/>
                <a:gd name="T94" fmla="*/ 170 w 791"/>
                <a:gd name="T95" fmla="*/ 171 h 776"/>
                <a:gd name="T96" fmla="*/ 138 w 791"/>
                <a:gd name="T97" fmla="*/ 136 h 776"/>
                <a:gd name="T98" fmla="*/ 147 w 791"/>
                <a:gd name="T99" fmla="*/ 148 h 776"/>
                <a:gd name="T100" fmla="*/ 115 w 791"/>
                <a:gd name="T101" fmla="*/ 114 h 776"/>
                <a:gd name="T102" fmla="*/ 124 w 791"/>
                <a:gd name="T103" fmla="*/ 126 h 776"/>
                <a:gd name="T104" fmla="*/ 93 w 791"/>
                <a:gd name="T105" fmla="*/ 91 h 776"/>
                <a:gd name="T106" fmla="*/ 101 w 791"/>
                <a:gd name="T107" fmla="*/ 104 h 776"/>
                <a:gd name="T108" fmla="*/ 70 w 791"/>
                <a:gd name="T109" fmla="*/ 69 h 776"/>
                <a:gd name="T110" fmla="*/ 78 w 791"/>
                <a:gd name="T111" fmla="*/ 81 h 776"/>
                <a:gd name="T112" fmla="*/ 47 w 791"/>
                <a:gd name="T113" fmla="*/ 46 h 776"/>
                <a:gd name="T114" fmla="*/ 56 w 791"/>
                <a:gd name="T115" fmla="*/ 59 h 776"/>
                <a:gd name="T116" fmla="*/ 24 w 791"/>
                <a:gd name="T117" fmla="*/ 24 h 776"/>
                <a:gd name="T118" fmla="*/ 33 w 791"/>
                <a:gd name="T119" fmla="*/ 36 h 776"/>
                <a:gd name="T120" fmla="*/ 1 w 791"/>
                <a:gd name="T121" fmla="*/ 2 h 776"/>
                <a:gd name="T122" fmla="*/ 10 w 791"/>
                <a:gd name="T123" fmla="*/ 14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776">
                  <a:moveTo>
                    <a:pt x="787" y="776"/>
                  </a:moveTo>
                  <a:cubicBezTo>
                    <a:pt x="786" y="776"/>
                    <a:pt x="785" y="775"/>
                    <a:pt x="784" y="774"/>
                  </a:cubicBezTo>
                  <a:cubicBezTo>
                    <a:pt x="778" y="769"/>
                    <a:pt x="778" y="769"/>
                    <a:pt x="778" y="769"/>
                  </a:cubicBezTo>
                  <a:cubicBezTo>
                    <a:pt x="777" y="767"/>
                    <a:pt x="777" y="765"/>
                    <a:pt x="778" y="763"/>
                  </a:cubicBezTo>
                  <a:cubicBezTo>
                    <a:pt x="780" y="762"/>
                    <a:pt x="782" y="762"/>
                    <a:pt x="784" y="763"/>
                  </a:cubicBezTo>
                  <a:cubicBezTo>
                    <a:pt x="790" y="769"/>
                    <a:pt x="790" y="769"/>
                    <a:pt x="790" y="769"/>
                  </a:cubicBezTo>
                  <a:cubicBezTo>
                    <a:pt x="791" y="770"/>
                    <a:pt x="791" y="773"/>
                    <a:pt x="790" y="774"/>
                  </a:cubicBezTo>
                  <a:cubicBezTo>
                    <a:pt x="789" y="775"/>
                    <a:pt x="788" y="776"/>
                    <a:pt x="787" y="776"/>
                  </a:cubicBezTo>
                  <a:close/>
                  <a:moveTo>
                    <a:pt x="764" y="753"/>
                  </a:moveTo>
                  <a:cubicBezTo>
                    <a:pt x="763" y="753"/>
                    <a:pt x="762" y="753"/>
                    <a:pt x="761" y="752"/>
                  </a:cubicBezTo>
                  <a:cubicBezTo>
                    <a:pt x="755" y="746"/>
                    <a:pt x="755" y="746"/>
                    <a:pt x="755" y="746"/>
                  </a:cubicBezTo>
                  <a:cubicBezTo>
                    <a:pt x="754" y="745"/>
                    <a:pt x="754" y="742"/>
                    <a:pt x="755" y="741"/>
                  </a:cubicBezTo>
                  <a:cubicBezTo>
                    <a:pt x="757" y="739"/>
                    <a:pt x="759" y="739"/>
                    <a:pt x="761" y="741"/>
                  </a:cubicBezTo>
                  <a:cubicBezTo>
                    <a:pt x="767" y="746"/>
                    <a:pt x="767" y="746"/>
                    <a:pt x="767" y="746"/>
                  </a:cubicBezTo>
                  <a:cubicBezTo>
                    <a:pt x="768" y="748"/>
                    <a:pt x="768" y="750"/>
                    <a:pt x="767" y="752"/>
                  </a:cubicBezTo>
                  <a:cubicBezTo>
                    <a:pt x="766" y="753"/>
                    <a:pt x="765" y="753"/>
                    <a:pt x="764" y="753"/>
                  </a:cubicBezTo>
                  <a:close/>
                  <a:moveTo>
                    <a:pt x="741" y="731"/>
                  </a:moveTo>
                  <a:cubicBezTo>
                    <a:pt x="740" y="731"/>
                    <a:pt x="739" y="730"/>
                    <a:pt x="738" y="730"/>
                  </a:cubicBezTo>
                  <a:cubicBezTo>
                    <a:pt x="733" y="724"/>
                    <a:pt x="733" y="724"/>
                    <a:pt x="733" y="724"/>
                  </a:cubicBezTo>
                  <a:cubicBezTo>
                    <a:pt x="731" y="723"/>
                    <a:pt x="731" y="720"/>
                    <a:pt x="732" y="718"/>
                  </a:cubicBezTo>
                  <a:cubicBezTo>
                    <a:pt x="734" y="717"/>
                    <a:pt x="737" y="717"/>
                    <a:pt x="738" y="718"/>
                  </a:cubicBezTo>
                  <a:cubicBezTo>
                    <a:pt x="744" y="724"/>
                    <a:pt x="744" y="724"/>
                    <a:pt x="744" y="724"/>
                  </a:cubicBezTo>
                  <a:cubicBezTo>
                    <a:pt x="745" y="726"/>
                    <a:pt x="745" y="728"/>
                    <a:pt x="744" y="730"/>
                  </a:cubicBezTo>
                  <a:cubicBezTo>
                    <a:pt x="743" y="730"/>
                    <a:pt x="742" y="731"/>
                    <a:pt x="741" y="731"/>
                  </a:cubicBezTo>
                  <a:close/>
                  <a:moveTo>
                    <a:pt x="718" y="708"/>
                  </a:moveTo>
                  <a:cubicBezTo>
                    <a:pt x="717" y="708"/>
                    <a:pt x="716" y="708"/>
                    <a:pt x="715" y="707"/>
                  </a:cubicBezTo>
                  <a:cubicBezTo>
                    <a:pt x="710" y="702"/>
                    <a:pt x="710" y="702"/>
                    <a:pt x="710" y="702"/>
                  </a:cubicBezTo>
                  <a:cubicBezTo>
                    <a:pt x="708" y="700"/>
                    <a:pt x="708" y="698"/>
                    <a:pt x="710" y="696"/>
                  </a:cubicBezTo>
                  <a:cubicBezTo>
                    <a:pt x="711" y="694"/>
                    <a:pt x="714" y="694"/>
                    <a:pt x="715" y="696"/>
                  </a:cubicBezTo>
                  <a:cubicBezTo>
                    <a:pt x="721" y="702"/>
                    <a:pt x="721" y="702"/>
                    <a:pt x="721" y="702"/>
                  </a:cubicBezTo>
                  <a:cubicBezTo>
                    <a:pt x="723" y="703"/>
                    <a:pt x="723" y="706"/>
                    <a:pt x="721" y="707"/>
                  </a:cubicBezTo>
                  <a:cubicBezTo>
                    <a:pt x="720" y="708"/>
                    <a:pt x="719" y="708"/>
                    <a:pt x="718" y="708"/>
                  </a:cubicBezTo>
                  <a:close/>
                  <a:moveTo>
                    <a:pt x="695" y="686"/>
                  </a:moveTo>
                  <a:cubicBezTo>
                    <a:pt x="694" y="686"/>
                    <a:pt x="693" y="686"/>
                    <a:pt x="693" y="685"/>
                  </a:cubicBezTo>
                  <a:cubicBezTo>
                    <a:pt x="687" y="679"/>
                    <a:pt x="687" y="679"/>
                    <a:pt x="687" y="679"/>
                  </a:cubicBezTo>
                  <a:cubicBezTo>
                    <a:pt x="685" y="678"/>
                    <a:pt x="685" y="675"/>
                    <a:pt x="687" y="674"/>
                  </a:cubicBezTo>
                  <a:cubicBezTo>
                    <a:pt x="688" y="672"/>
                    <a:pt x="691" y="672"/>
                    <a:pt x="692" y="674"/>
                  </a:cubicBezTo>
                  <a:cubicBezTo>
                    <a:pt x="698" y="679"/>
                    <a:pt x="698" y="679"/>
                    <a:pt x="698" y="679"/>
                  </a:cubicBezTo>
                  <a:cubicBezTo>
                    <a:pt x="700" y="681"/>
                    <a:pt x="700" y="683"/>
                    <a:pt x="698" y="685"/>
                  </a:cubicBezTo>
                  <a:cubicBezTo>
                    <a:pt x="697" y="686"/>
                    <a:pt x="696" y="686"/>
                    <a:pt x="695" y="686"/>
                  </a:cubicBezTo>
                  <a:close/>
                  <a:moveTo>
                    <a:pt x="672" y="664"/>
                  </a:moveTo>
                  <a:cubicBezTo>
                    <a:pt x="671" y="664"/>
                    <a:pt x="670" y="663"/>
                    <a:pt x="670" y="662"/>
                  </a:cubicBezTo>
                  <a:cubicBezTo>
                    <a:pt x="664" y="657"/>
                    <a:pt x="664" y="657"/>
                    <a:pt x="664" y="657"/>
                  </a:cubicBezTo>
                  <a:cubicBezTo>
                    <a:pt x="662" y="655"/>
                    <a:pt x="662" y="653"/>
                    <a:pt x="664" y="651"/>
                  </a:cubicBezTo>
                  <a:cubicBezTo>
                    <a:pt x="665" y="650"/>
                    <a:pt x="668" y="650"/>
                    <a:pt x="670" y="651"/>
                  </a:cubicBezTo>
                  <a:cubicBezTo>
                    <a:pt x="675" y="657"/>
                    <a:pt x="675" y="657"/>
                    <a:pt x="675" y="657"/>
                  </a:cubicBezTo>
                  <a:cubicBezTo>
                    <a:pt x="677" y="658"/>
                    <a:pt x="677" y="661"/>
                    <a:pt x="675" y="662"/>
                  </a:cubicBezTo>
                  <a:cubicBezTo>
                    <a:pt x="675" y="663"/>
                    <a:pt x="674" y="664"/>
                    <a:pt x="672" y="664"/>
                  </a:cubicBezTo>
                  <a:close/>
                  <a:moveTo>
                    <a:pt x="650" y="641"/>
                  </a:moveTo>
                  <a:cubicBezTo>
                    <a:pt x="649" y="641"/>
                    <a:pt x="648" y="641"/>
                    <a:pt x="647" y="640"/>
                  </a:cubicBezTo>
                  <a:cubicBezTo>
                    <a:pt x="641" y="634"/>
                    <a:pt x="641" y="634"/>
                    <a:pt x="641" y="634"/>
                  </a:cubicBezTo>
                  <a:cubicBezTo>
                    <a:pt x="640" y="633"/>
                    <a:pt x="640" y="630"/>
                    <a:pt x="641" y="629"/>
                  </a:cubicBezTo>
                  <a:cubicBezTo>
                    <a:pt x="643" y="627"/>
                    <a:pt x="645" y="627"/>
                    <a:pt x="647" y="629"/>
                  </a:cubicBezTo>
                  <a:cubicBezTo>
                    <a:pt x="652" y="634"/>
                    <a:pt x="652" y="634"/>
                    <a:pt x="652" y="634"/>
                  </a:cubicBezTo>
                  <a:cubicBezTo>
                    <a:pt x="654" y="636"/>
                    <a:pt x="654" y="638"/>
                    <a:pt x="652" y="640"/>
                  </a:cubicBezTo>
                  <a:cubicBezTo>
                    <a:pt x="652" y="641"/>
                    <a:pt x="651" y="641"/>
                    <a:pt x="650" y="641"/>
                  </a:cubicBezTo>
                  <a:close/>
                  <a:moveTo>
                    <a:pt x="627" y="619"/>
                  </a:moveTo>
                  <a:cubicBezTo>
                    <a:pt x="626" y="619"/>
                    <a:pt x="625" y="618"/>
                    <a:pt x="624" y="618"/>
                  </a:cubicBezTo>
                  <a:cubicBezTo>
                    <a:pt x="618" y="612"/>
                    <a:pt x="618" y="612"/>
                    <a:pt x="618" y="612"/>
                  </a:cubicBezTo>
                  <a:cubicBezTo>
                    <a:pt x="617" y="611"/>
                    <a:pt x="617" y="608"/>
                    <a:pt x="618" y="606"/>
                  </a:cubicBezTo>
                  <a:cubicBezTo>
                    <a:pt x="620" y="605"/>
                    <a:pt x="622" y="605"/>
                    <a:pt x="624" y="606"/>
                  </a:cubicBezTo>
                  <a:cubicBezTo>
                    <a:pt x="630" y="612"/>
                    <a:pt x="630" y="612"/>
                    <a:pt x="630" y="612"/>
                  </a:cubicBezTo>
                  <a:cubicBezTo>
                    <a:pt x="631" y="613"/>
                    <a:pt x="631" y="616"/>
                    <a:pt x="630" y="618"/>
                  </a:cubicBezTo>
                  <a:cubicBezTo>
                    <a:pt x="629" y="618"/>
                    <a:pt x="628" y="619"/>
                    <a:pt x="627" y="619"/>
                  </a:cubicBezTo>
                  <a:close/>
                  <a:moveTo>
                    <a:pt x="604" y="596"/>
                  </a:moveTo>
                  <a:cubicBezTo>
                    <a:pt x="603" y="596"/>
                    <a:pt x="602" y="596"/>
                    <a:pt x="601" y="595"/>
                  </a:cubicBezTo>
                  <a:cubicBezTo>
                    <a:pt x="595" y="590"/>
                    <a:pt x="595" y="590"/>
                    <a:pt x="595" y="590"/>
                  </a:cubicBezTo>
                  <a:cubicBezTo>
                    <a:pt x="594" y="588"/>
                    <a:pt x="594" y="586"/>
                    <a:pt x="595" y="584"/>
                  </a:cubicBezTo>
                  <a:cubicBezTo>
                    <a:pt x="597" y="582"/>
                    <a:pt x="599" y="582"/>
                    <a:pt x="601" y="584"/>
                  </a:cubicBezTo>
                  <a:cubicBezTo>
                    <a:pt x="607" y="590"/>
                    <a:pt x="607" y="590"/>
                    <a:pt x="607" y="590"/>
                  </a:cubicBezTo>
                  <a:cubicBezTo>
                    <a:pt x="608" y="591"/>
                    <a:pt x="608" y="594"/>
                    <a:pt x="607" y="595"/>
                  </a:cubicBezTo>
                  <a:cubicBezTo>
                    <a:pt x="606" y="596"/>
                    <a:pt x="605" y="596"/>
                    <a:pt x="604" y="596"/>
                  </a:cubicBezTo>
                  <a:close/>
                  <a:moveTo>
                    <a:pt x="581" y="574"/>
                  </a:moveTo>
                  <a:cubicBezTo>
                    <a:pt x="580" y="574"/>
                    <a:pt x="579" y="574"/>
                    <a:pt x="578" y="573"/>
                  </a:cubicBezTo>
                  <a:cubicBezTo>
                    <a:pt x="573" y="567"/>
                    <a:pt x="573" y="567"/>
                    <a:pt x="573" y="567"/>
                  </a:cubicBezTo>
                  <a:cubicBezTo>
                    <a:pt x="571" y="566"/>
                    <a:pt x="571" y="563"/>
                    <a:pt x="573" y="562"/>
                  </a:cubicBezTo>
                  <a:cubicBezTo>
                    <a:pt x="574" y="560"/>
                    <a:pt x="577" y="560"/>
                    <a:pt x="578" y="562"/>
                  </a:cubicBezTo>
                  <a:cubicBezTo>
                    <a:pt x="584" y="567"/>
                    <a:pt x="584" y="567"/>
                    <a:pt x="584" y="567"/>
                  </a:cubicBezTo>
                  <a:cubicBezTo>
                    <a:pt x="585" y="569"/>
                    <a:pt x="585" y="571"/>
                    <a:pt x="584" y="573"/>
                  </a:cubicBezTo>
                  <a:cubicBezTo>
                    <a:pt x="583" y="574"/>
                    <a:pt x="582" y="574"/>
                    <a:pt x="581" y="574"/>
                  </a:cubicBezTo>
                  <a:close/>
                  <a:moveTo>
                    <a:pt x="558" y="552"/>
                  </a:moveTo>
                  <a:cubicBezTo>
                    <a:pt x="557" y="552"/>
                    <a:pt x="556" y="551"/>
                    <a:pt x="555" y="550"/>
                  </a:cubicBezTo>
                  <a:cubicBezTo>
                    <a:pt x="550" y="545"/>
                    <a:pt x="550" y="545"/>
                    <a:pt x="550" y="545"/>
                  </a:cubicBezTo>
                  <a:cubicBezTo>
                    <a:pt x="548" y="543"/>
                    <a:pt x="548" y="541"/>
                    <a:pt x="550" y="539"/>
                  </a:cubicBezTo>
                  <a:cubicBezTo>
                    <a:pt x="551" y="538"/>
                    <a:pt x="554" y="538"/>
                    <a:pt x="555" y="539"/>
                  </a:cubicBezTo>
                  <a:cubicBezTo>
                    <a:pt x="561" y="545"/>
                    <a:pt x="561" y="545"/>
                    <a:pt x="561" y="545"/>
                  </a:cubicBezTo>
                  <a:cubicBezTo>
                    <a:pt x="563" y="546"/>
                    <a:pt x="563" y="549"/>
                    <a:pt x="561" y="550"/>
                  </a:cubicBezTo>
                  <a:cubicBezTo>
                    <a:pt x="560" y="551"/>
                    <a:pt x="559" y="552"/>
                    <a:pt x="558" y="552"/>
                  </a:cubicBezTo>
                  <a:close/>
                  <a:moveTo>
                    <a:pt x="535" y="529"/>
                  </a:moveTo>
                  <a:cubicBezTo>
                    <a:pt x="534" y="529"/>
                    <a:pt x="533" y="529"/>
                    <a:pt x="533" y="528"/>
                  </a:cubicBezTo>
                  <a:cubicBezTo>
                    <a:pt x="527" y="522"/>
                    <a:pt x="527" y="522"/>
                    <a:pt x="527" y="522"/>
                  </a:cubicBezTo>
                  <a:cubicBezTo>
                    <a:pt x="525" y="521"/>
                    <a:pt x="525" y="518"/>
                    <a:pt x="527" y="517"/>
                  </a:cubicBezTo>
                  <a:cubicBezTo>
                    <a:pt x="528" y="515"/>
                    <a:pt x="531" y="515"/>
                    <a:pt x="532" y="517"/>
                  </a:cubicBezTo>
                  <a:cubicBezTo>
                    <a:pt x="538" y="522"/>
                    <a:pt x="538" y="522"/>
                    <a:pt x="538" y="522"/>
                  </a:cubicBezTo>
                  <a:cubicBezTo>
                    <a:pt x="540" y="524"/>
                    <a:pt x="540" y="526"/>
                    <a:pt x="538" y="528"/>
                  </a:cubicBezTo>
                  <a:cubicBezTo>
                    <a:pt x="537" y="529"/>
                    <a:pt x="536" y="529"/>
                    <a:pt x="535" y="529"/>
                  </a:cubicBezTo>
                  <a:close/>
                  <a:moveTo>
                    <a:pt x="513" y="507"/>
                  </a:moveTo>
                  <a:cubicBezTo>
                    <a:pt x="512" y="507"/>
                    <a:pt x="510" y="506"/>
                    <a:pt x="510" y="506"/>
                  </a:cubicBezTo>
                  <a:cubicBezTo>
                    <a:pt x="504" y="500"/>
                    <a:pt x="504" y="500"/>
                    <a:pt x="504" y="500"/>
                  </a:cubicBezTo>
                  <a:cubicBezTo>
                    <a:pt x="502" y="498"/>
                    <a:pt x="502" y="496"/>
                    <a:pt x="504" y="494"/>
                  </a:cubicBezTo>
                  <a:cubicBezTo>
                    <a:pt x="505" y="493"/>
                    <a:pt x="508" y="493"/>
                    <a:pt x="510" y="494"/>
                  </a:cubicBezTo>
                  <a:cubicBezTo>
                    <a:pt x="515" y="500"/>
                    <a:pt x="515" y="500"/>
                    <a:pt x="515" y="500"/>
                  </a:cubicBezTo>
                  <a:cubicBezTo>
                    <a:pt x="517" y="501"/>
                    <a:pt x="517" y="504"/>
                    <a:pt x="515" y="506"/>
                  </a:cubicBezTo>
                  <a:cubicBezTo>
                    <a:pt x="515" y="506"/>
                    <a:pt x="514" y="507"/>
                    <a:pt x="513" y="507"/>
                  </a:cubicBezTo>
                  <a:close/>
                  <a:moveTo>
                    <a:pt x="490" y="484"/>
                  </a:moveTo>
                  <a:cubicBezTo>
                    <a:pt x="489" y="484"/>
                    <a:pt x="488" y="484"/>
                    <a:pt x="487" y="483"/>
                  </a:cubicBezTo>
                  <a:cubicBezTo>
                    <a:pt x="481" y="478"/>
                    <a:pt x="481" y="478"/>
                    <a:pt x="481" y="478"/>
                  </a:cubicBezTo>
                  <a:cubicBezTo>
                    <a:pt x="480" y="476"/>
                    <a:pt x="480" y="474"/>
                    <a:pt x="481" y="472"/>
                  </a:cubicBezTo>
                  <a:cubicBezTo>
                    <a:pt x="483" y="470"/>
                    <a:pt x="485" y="470"/>
                    <a:pt x="487" y="472"/>
                  </a:cubicBezTo>
                  <a:cubicBezTo>
                    <a:pt x="492" y="478"/>
                    <a:pt x="492" y="478"/>
                    <a:pt x="492" y="478"/>
                  </a:cubicBezTo>
                  <a:cubicBezTo>
                    <a:pt x="494" y="479"/>
                    <a:pt x="494" y="482"/>
                    <a:pt x="493" y="483"/>
                  </a:cubicBezTo>
                  <a:cubicBezTo>
                    <a:pt x="492" y="484"/>
                    <a:pt x="491" y="484"/>
                    <a:pt x="490" y="484"/>
                  </a:cubicBezTo>
                  <a:close/>
                  <a:moveTo>
                    <a:pt x="467" y="462"/>
                  </a:moveTo>
                  <a:cubicBezTo>
                    <a:pt x="466" y="462"/>
                    <a:pt x="465" y="462"/>
                    <a:pt x="464" y="461"/>
                  </a:cubicBezTo>
                  <a:cubicBezTo>
                    <a:pt x="458" y="455"/>
                    <a:pt x="458" y="455"/>
                    <a:pt x="458" y="455"/>
                  </a:cubicBezTo>
                  <a:cubicBezTo>
                    <a:pt x="457" y="454"/>
                    <a:pt x="457" y="451"/>
                    <a:pt x="458" y="450"/>
                  </a:cubicBezTo>
                  <a:cubicBezTo>
                    <a:pt x="460" y="448"/>
                    <a:pt x="462" y="448"/>
                    <a:pt x="464" y="450"/>
                  </a:cubicBezTo>
                  <a:cubicBezTo>
                    <a:pt x="470" y="455"/>
                    <a:pt x="470" y="455"/>
                    <a:pt x="470" y="455"/>
                  </a:cubicBezTo>
                  <a:cubicBezTo>
                    <a:pt x="471" y="457"/>
                    <a:pt x="471" y="459"/>
                    <a:pt x="470" y="461"/>
                  </a:cubicBezTo>
                  <a:cubicBezTo>
                    <a:pt x="469" y="462"/>
                    <a:pt x="468" y="462"/>
                    <a:pt x="467" y="462"/>
                  </a:cubicBezTo>
                  <a:close/>
                  <a:moveTo>
                    <a:pt x="444" y="440"/>
                  </a:moveTo>
                  <a:cubicBezTo>
                    <a:pt x="443" y="440"/>
                    <a:pt x="442" y="439"/>
                    <a:pt x="441" y="438"/>
                  </a:cubicBezTo>
                  <a:cubicBezTo>
                    <a:pt x="435" y="433"/>
                    <a:pt x="435" y="433"/>
                    <a:pt x="435" y="433"/>
                  </a:cubicBezTo>
                  <a:cubicBezTo>
                    <a:pt x="434" y="431"/>
                    <a:pt x="434" y="429"/>
                    <a:pt x="435" y="427"/>
                  </a:cubicBezTo>
                  <a:cubicBezTo>
                    <a:pt x="437" y="426"/>
                    <a:pt x="439" y="426"/>
                    <a:pt x="441" y="427"/>
                  </a:cubicBezTo>
                  <a:cubicBezTo>
                    <a:pt x="447" y="433"/>
                    <a:pt x="447" y="433"/>
                    <a:pt x="447" y="433"/>
                  </a:cubicBezTo>
                  <a:cubicBezTo>
                    <a:pt x="448" y="434"/>
                    <a:pt x="448" y="437"/>
                    <a:pt x="447" y="438"/>
                  </a:cubicBezTo>
                  <a:cubicBezTo>
                    <a:pt x="446" y="439"/>
                    <a:pt x="445" y="440"/>
                    <a:pt x="444" y="440"/>
                  </a:cubicBezTo>
                  <a:close/>
                  <a:moveTo>
                    <a:pt x="421" y="417"/>
                  </a:moveTo>
                  <a:cubicBezTo>
                    <a:pt x="420" y="417"/>
                    <a:pt x="419" y="417"/>
                    <a:pt x="418" y="416"/>
                  </a:cubicBezTo>
                  <a:cubicBezTo>
                    <a:pt x="413" y="410"/>
                    <a:pt x="413" y="410"/>
                    <a:pt x="413" y="410"/>
                  </a:cubicBezTo>
                  <a:cubicBezTo>
                    <a:pt x="411" y="409"/>
                    <a:pt x="411" y="406"/>
                    <a:pt x="413" y="405"/>
                  </a:cubicBezTo>
                  <a:cubicBezTo>
                    <a:pt x="414" y="403"/>
                    <a:pt x="417" y="403"/>
                    <a:pt x="418" y="405"/>
                  </a:cubicBezTo>
                  <a:cubicBezTo>
                    <a:pt x="424" y="410"/>
                    <a:pt x="424" y="410"/>
                    <a:pt x="424" y="410"/>
                  </a:cubicBezTo>
                  <a:cubicBezTo>
                    <a:pt x="425" y="412"/>
                    <a:pt x="426" y="414"/>
                    <a:pt x="424" y="416"/>
                  </a:cubicBezTo>
                  <a:cubicBezTo>
                    <a:pt x="423" y="417"/>
                    <a:pt x="422" y="417"/>
                    <a:pt x="421" y="417"/>
                  </a:cubicBezTo>
                  <a:close/>
                  <a:moveTo>
                    <a:pt x="398" y="395"/>
                  </a:moveTo>
                  <a:cubicBezTo>
                    <a:pt x="397" y="395"/>
                    <a:pt x="396" y="394"/>
                    <a:pt x="395" y="394"/>
                  </a:cubicBezTo>
                  <a:cubicBezTo>
                    <a:pt x="390" y="388"/>
                    <a:pt x="390" y="388"/>
                    <a:pt x="390" y="388"/>
                  </a:cubicBezTo>
                  <a:cubicBezTo>
                    <a:pt x="388" y="386"/>
                    <a:pt x="388" y="384"/>
                    <a:pt x="390" y="382"/>
                  </a:cubicBezTo>
                  <a:cubicBezTo>
                    <a:pt x="391" y="381"/>
                    <a:pt x="394" y="381"/>
                    <a:pt x="395" y="382"/>
                  </a:cubicBezTo>
                  <a:cubicBezTo>
                    <a:pt x="401" y="388"/>
                    <a:pt x="401" y="388"/>
                    <a:pt x="401" y="388"/>
                  </a:cubicBezTo>
                  <a:cubicBezTo>
                    <a:pt x="403" y="389"/>
                    <a:pt x="403" y="392"/>
                    <a:pt x="401" y="394"/>
                  </a:cubicBezTo>
                  <a:cubicBezTo>
                    <a:pt x="400" y="394"/>
                    <a:pt x="399" y="395"/>
                    <a:pt x="398" y="395"/>
                  </a:cubicBezTo>
                  <a:close/>
                  <a:moveTo>
                    <a:pt x="375" y="372"/>
                  </a:moveTo>
                  <a:cubicBezTo>
                    <a:pt x="374" y="372"/>
                    <a:pt x="373" y="372"/>
                    <a:pt x="373" y="371"/>
                  </a:cubicBezTo>
                  <a:cubicBezTo>
                    <a:pt x="367" y="366"/>
                    <a:pt x="367" y="366"/>
                    <a:pt x="367" y="366"/>
                  </a:cubicBezTo>
                  <a:cubicBezTo>
                    <a:pt x="365" y="364"/>
                    <a:pt x="365" y="362"/>
                    <a:pt x="367" y="360"/>
                  </a:cubicBezTo>
                  <a:cubicBezTo>
                    <a:pt x="368" y="358"/>
                    <a:pt x="371" y="358"/>
                    <a:pt x="373" y="360"/>
                  </a:cubicBezTo>
                  <a:cubicBezTo>
                    <a:pt x="378" y="366"/>
                    <a:pt x="378" y="366"/>
                    <a:pt x="378" y="366"/>
                  </a:cubicBezTo>
                  <a:cubicBezTo>
                    <a:pt x="380" y="367"/>
                    <a:pt x="380" y="370"/>
                    <a:pt x="378" y="371"/>
                  </a:cubicBezTo>
                  <a:cubicBezTo>
                    <a:pt x="377" y="372"/>
                    <a:pt x="376" y="372"/>
                    <a:pt x="375" y="372"/>
                  </a:cubicBezTo>
                  <a:close/>
                  <a:moveTo>
                    <a:pt x="353" y="350"/>
                  </a:moveTo>
                  <a:cubicBezTo>
                    <a:pt x="352" y="350"/>
                    <a:pt x="351" y="350"/>
                    <a:pt x="350" y="349"/>
                  </a:cubicBezTo>
                  <a:cubicBezTo>
                    <a:pt x="344" y="343"/>
                    <a:pt x="344" y="343"/>
                    <a:pt x="344" y="343"/>
                  </a:cubicBezTo>
                  <a:cubicBezTo>
                    <a:pt x="342" y="342"/>
                    <a:pt x="342" y="339"/>
                    <a:pt x="344" y="338"/>
                  </a:cubicBezTo>
                  <a:cubicBezTo>
                    <a:pt x="346" y="336"/>
                    <a:pt x="348" y="336"/>
                    <a:pt x="350" y="338"/>
                  </a:cubicBezTo>
                  <a:cubicBezTo>
                    <a:pt x="355" y="343"/>
                    <a:pt x="355" y="343"/>
                    <a:pt x="355" y="343"/>
                  </a:cubicBezTo>
                  <a:cubicBezTo>
                    <a:pt x="357" y="345"/>
                    <a:pt x="357" y="347"/>
                    <a:pt x="355" y="349"/>
                  </a:cubicBezTo>
                  <a:cubicBezTo>
                    <a:pt x="355" y="350"/>
                    <a:pt x="354" y="350"/>
                    <a:pt x="353" y="350"/>
                  </a:cubicBezTo>
                  <a:close/>
                  <a:moveTo>
                    <a:pt x="330" y="328"/>
                  </a:moveTo>
                  <a:cubicBezTo>
                    <a:pt x="329" y="328"/>
                    <a:pt x="328" y="327"/>
                    <a:pt x="327" y="326"/>
                  </a:cubicBezTo>
                  <a:cubicBezTo>
                    <a:pt x="321" y="321"/>
                    <a:pt x="321" y="321"/>
                    <a:pt x="321" y="321"/>
                  </a:cubicBezTo>
                  <a:cubicBezTo>
                    <a:pt x="320" y="319"/>
                    <a:pt x="320" y="317"/>
                    <a:pt x="321" y="315"/>
                  </a:cubicBezTo>
                  <a:cubicBezTo>
                    <a:pt x="323" y="314"/>
                    <a:pt x="325" y="314"/>
                    <a:pt x="327" y="315"/>
                  </a:cubicBezTo>
                  <a:cubicBezTo>
                    <a:pt x="333" y="321"/>
                    <a:pt x="333" y="321"/>
                    <a:pt x="333" y="321"/>
                  </a:cubicBezTo>
                  <a:cubicBezTo>
                    <a:pt x="334" y="322"/>
                    <a:pt x="334" y="325"/>
                    <a:pt x="333" y="326"/>
                  </a:cubicBezTo>
                  <a:cubicBezTo>
                    <a:pt x="332" y="327"/>
                    <a:pt x="331" y="328"/>
                    <a:pt x="330" y="328"/>
                  </a:cubicBezTo>
                  <a:close/>
                  <a:moveTo>
                    <a:pt x="215" y="216"/>
                  </a:moveTo>
                  <a:cubicBezTo>
                    <a:pt x="214" y="216"/>
                    <a:pt x="213" y="215"/>
                    <a:pt x="213" y="214"/>
                  </a:cubicBezTo>
                  <a:cubicBezTo>
                    <a:pt x="207" y="209"/>
                    <a:pt x="207" y="209"/>
                    <a:pt x="207" y="209"/>
                  </a:cubicBezTo>
                  <a:cubicBezTo>
                    <a:pt x="205" y="207"/>
                    <a:pt x="205" y="205"/>
                    <a:pt x="207" y="203"/>
                  </a:cubicBezTo>
                  <a:cubicBezTo>
                    <a:pt x="208" y="202"/>
                    <a:pt x="211" y="202"/>
                    <a:pt x="213" y="203"/>
                  </a:cubicBezTo>
                  <a:cubicBezTo>
                    <a:pt x="218" y="209"/>
                    <a:pt x="218" y="209"/>
                    <a:pt x="218" y="209"/>
                  </a:cubicBezTo>
                  <a:cubicBezTo>
                    <a:pt x="220" y="210"/>
                    <a:pt x="220" y="213"/>
                    <a:pt x="218" y="214"/>
                  </a:cubicBezTo>
                  <a:cubicBezTo>
                    <a:pt x="218" y="215"/>
                    <a:pt x="217" y="216"/>
                    <a:pt x="215" y="216"/>
                  </a:cubicBezTo>
                  <a:close/>
                  <a:moveTo>
                    <a:pt x="193" y="193"/>
                  </a:moveTo>
                  <a:cubicBezTo>
                    <a:pt x="192" y="193"/>
                    <a:pt x="191" y="193"/>
                    <a:pt x="190" y="192"/>
                  </a:cubicBezTo>
                  <a:cubicBezTo>
                    <a:pt x="184" y="186"/>
                    <a:pt x="184" y="186"/>
                    <a:pt x="184" y="186"/>
                  </a:cubicBezTo>
                  <a:cubicBezTo>
                    <a:pt x="183" y="185"/>
                    <a:pt x="183" y="182"/>
                    <a:pt x="184" y="181"/>
                  </a:cubicBezTo>
                  <a:cubicBezTo>
                    <a:pt x="186" y="179"/>
                    <a:pt x="188" y="179"/>
                    <a:pt x="190" y="181"/>
                  </a:cubicBezTo>
                  <a:cubicBezTo>
                    <a:pt x="195" y="186"/>
                    <a:pt x="195" y="186"/>
                    <a:pt x="195" y="186"/>
                  </a:cubicBezTo>
                  <a:cubicBezTo>
                    <a:pt x="197" y="188"/>
                    <a:pt x="197" y="190"/>
                    <a:pt x="195" y="192"/>
                  </a:cubicBezTo>
                  <a:cubicBezTo>
                    <a:pt x="195" y="193"/>
                    <a:pt x="194" y="193"/>
                    <a:pt x="193" y="193"/>
                  </a:cubicBezTo>
                  <a:close/>
                  <a:moveTo>
                    <a:pt x="170" y="171"/>
                  </a:moveTo>
                  <a:cubicBezTo>
                    <a:pt x="169" y="171"/>
                    <a:pt x="168" y="170"/>
                    <a:pt x="167" y="170"/>
                  </a:cubicBezTo>
                  <a:cubicBezTo>
                    <a:pt x="161" y="164"/>
                    <a:pt x="161" y="164"/>
                    <a:pt x="161" y="164"/>
                  </a:cubicBezTo>
                  <a:cubicBezTo>
                    <a:pt x="160" y="162"/>
                    <a:pt x="160" y="160"/>
                    <a:pt x="161" y="158"/>
                  </a:cubicBezTo>
                  <a:cubicBezTo>
                    <a:pt x="163" y="157"/>
                    <a:pt x="165" y="157"/>
                    <a:pt x="167" y="158"/>
                  </a:cubicBezTo>
                  <a:cubicBezTo>
                    <a:pt x="173" y="164"/>
                    <a:pt x="173" y="164"/>
                    <a:pt x="173" y="164"/>
                  </a:cubicBezTo>
                  <a:cubicBezTo>
                    <a:pt x="174" y="165"/>
                    <a:pt x="174" y="168"/>
                    <a:pt x="173" y="170"/>
                  </a:cubicBezTo>
                  <a:cubicBezTo>
                    <a:pt x="172" y="170"/>
                    <a:pt x="171" y="171"/>
                    <a:pt x="170" y="171"/>
                  </a:cubicBezTo>
                  <a:close/>
                  <a:moveTo>
                    <a:pt x="147" y="148"/>
                  </a:moveTo>
                  <a:cubicBezTo>
                    <a:pt x="146" y="148"/>
                    <a:pt x="145" y="148"/>
                    <a:pt x="144" y="147"/>
                  </a:cubicBezTo>
                  <a:cubicBezTo>
                    <a:pt x="138" y="142"/>
                    <a:pt x="138" y="142"/>
                    <a:pt x="138" y="142"/>
                  </a:cubicBezTo>
                  <a:cubicBezTo>
                    <a:pt x="137" y="140"/>
                    <a:pt x="137" y="138"/>
                    <a:pt x="138" y="136"/>
                  </a:cubicBezTo>
                  <a:cubicBezTo>
                    <a:pt x="140" y="134"/>
                    <a:pt x="142" y="134"/>
                    <a:pt x="144" y="136"/>
                  </a:cubicBezTo>
                  <a:cubicBezTo>
                    <a:pt x="150" y="141"/>
                    <a:pt x="150" y="141"/>
                    <a:pt x="150" y="141"/>
                  </a:cubicBezTo>
                  <a:cubicBezTo>
                    <a:pt x="151" y="143"/>
                    <a:pt x="151" y="146"/>
                    <a:pt x="150" y="147"/>
                  </a:cubicBezTo>
                  <a:cubicBezTo>
                    <a:pt x="149" y="148"/>
                    <a:pt x="148" y="148"/>
                    <a:pt x="147" y="148"/>
                  </a:cubicBezTo>
                  <a:close/>
                  <a:moveTo>
                    <a:pt x="124" y="126"/>
                  </a:moveTo>
                  <a:cubicBezTo>
                    <a:pt x="123" y="126"/>
                    <a:pt x="122" y="126"/>
                    <a:pt x="121" y="125"/>
                  </a:cubicBezTo>
                  <a:cubicBezTo>
                    <a:pt x="116" y="119"/>
                    <a:pt x="116" y="119"/>
                    <a:pt x="116" y="119"/>
                  </a:cubicBezTo>
                  <a:cubicBezTo>
                    <a:pt x="114" y="118"/>
                    <a:pt x="114" y="115"/>
                    <a:pt x="115" y="114"/>
                  </a:cubicBezTo>
                  <a:cubicBezTo>
                    <a:pt x="117" y="112"/>
                    <a:pt x="120" y="112"/>
                    <a:pt x="121" y="113"/>
                  </a:cubicBezTo>
                  <a:cubicBezTo>
                    <a:pt x="127" y="119"/>
                    <a:pt x="127" y="119"/>
                    <a:pt x="127" y="119"/>
                  </a:cubicBezTo>
                  <a:cubicBezTo>
                    <a:pt x="128" y="121"/>
                    <a:pt x="128" y="123"/>
                    <a:pt x="127" y="125"/>
                  </a:cubicBezTo>
                  <a:cubicBezTo>
                    <a:pt x="126" y="126"/>
                    <a:pt x="125" y="126"/>
                    <a:pt x="124" y="126"/>
                  </a:cubicBezTo>
                  <a:close/>
                  <a:moveTo>
                    <a:pt x="101" y="104"/>
                  </a:moveTo>
                  <a:cubicBezTo>
                    <a:pt x="100" y="104"/>
                    <a:pt x="99" y="103"/>
                    <a:pt x="98" y="102"/>
                  </a:cubicBezTo>
                  <a:cubicBezTo>
                    <a:pt x="93" y="97"/>
                    <a:pt x="93" y="97"/>
                    <a:pt x="93" y="97"/>
                  </a:cubicBezTo>
                  <a:cubicBezTo>
                    <a:pt x="91" y="95"/>
                    <a:pt x="91" y="93"/>
                    <a:pt x="93" y="91"/>
                  </a:cubicBezTo>
                  <a:cubicBezTo>
                    <a:pt x="94" y="90"/>
                    <a:pt x="97" y="90"/>
                    <a:pt x="98" y="91"/>
                  </a:cubicBezTo>
                  <a:cubicBezTo>
                    <a:pt x="104" y="97"/>
                    <a:pt x="104" y="97"/>
                    <a:pt x="104" y="97"/>
                  </a:cubicBezTo>
                  <a:cubicBezTo>
                    <a:pt x="106" y="98"/>
                    <a:pt x="106" y="101"/>
                    <a:pt x="104" y="102"/>
                  </a:cubicBezTo>
                  <a:cubicBezTo>
                    <a:pt x="103" y="103"/>
                    <a:pt x="102" y="104"/>
                    <a:pt x="101" y="104"/>
                  </a:cubicBezTo>
                  <a:close/>
                  <a:moveTo>
                    <a:pt x="78" y="81"/>
                  </a:moveTo>
                  <a:cubicBezTo>
                    <a:pt x="77" y="81"/>
                    <a:pt x="76" y="81"/>
                    <a:pt x="76" y="80"/>
                  </a:cubicBezTo>
                  <a:cubicBezTo>
                    <a:pt x="70" y="74"/>
                    <a:pt x="70" y="74"/>
                    <a:pt x="70" y="74"/>
                  </a:cubicBezTo>
                  <a:cubicBezTo>
                    <a:pt x="68" y="73"/>
                    <a:pt x="68" y="70"/>
                    <a:pt x="70" y="69"/>
                  </a:cubicBezTo>
                  <a:cubicBezTo>
                    <a:pt x="71" y="67"/>
                    <a:pt x="74" y="67"/>
                    <a:pt x="75" y="69"/>
                  </a:cubicBezTo>
                  <a:cubicBezTo>
                    <a:pt x="81" y="74"/>
                    <a:pt x="81" y="74"/>
                    <a:pt x="81" y="74"/>
                  </a:cubicBezTo>
                  <a:cubicBezTo>
                    <a:pt x="83" y="76"/>
                    <a:pt x="83" y="78"/>
                    <a:pt x="81" y="80"/>
                  </a:cubicBezTo>
                  <a:cubicBezTo>
                    <a:pt x="80" y="81"/>
                    <a:pt x="79" y="81"/>
                    <a:pt x="78" y="81"/>
                  </a:cubicBezTo>
                  <a:close/>
                  <a:moveTo>
                    <a:pt x="56" y="59"/>
                  </a:moveTo>
                  <a:cubicBezTo>
                    <a:pt x="55" y="59"/>
                    <a:pt x="53" y="58"/>
                    <a:pt x="53" y="58"/>
                  </a:cubicBezTo>
                  <a:cubicBezTo>
                    <a:pt x="47" y="52"/>
                    <a:pt x="47" y="52"/>
                    <a:pt x="47" y="52"/>
                  </a:cubicBezTo>
                  <a:cubicBezTo>
                    <a:pt x="45" y="50"/>
                    <a:pt x="45" y="48"/>
                    <a:pt x="47" y="46"/>
                  </a:cubicBezTo>
                  <a:cubicBezTo>
                    <a:pt x="48" y="45"/>
                    <a:pt x="51" y="45"/>
                    <a:pt x="53" y="46"/>
                  </a:cubicBezTo>
                  <a:cubicBezTo>
                    <a:pt x="58" y="52"/>
                    <a:pt x="58" y="52"/>
                    <a:pt x="58" y="52"/>
                  </a:cubicBezTo>
                  <a:cubicBezTo>
                    <a:pt x="60" y="53"/>
                    <a:pt x="60" y="56"/>
                    <a:pt x="58" y="58"/>
                  </a:cubicBezTo>
                  <a:cubicBezTo>
                    <a:pt x="58" y="58"/>
                    <a:pt x="57" y="59"/>
                    <a:pt x="56" y="59"/>
                  </a:cubicBezTo>
                  <a:close/>
                  <a:moveTo>
                    <a:pt x="33" y="36"/>
                  </a:moveTo>
                  <a:cubicBezTo>
                    <a:pt x="32" y="36"/>
                    <a:pt x="31" y="36"/>
                    <a:pt x="30" y="35"/>
                  </a:cubicBezTo>
                  <a:cubicBezTo>
                    <a:pt x="24" y="30"/>
                    <a:pt x="24" y="30"/>
                    <a:pt x="24" y="30"/>
                  </a:cubicBezTo>
                  <a:cubicBezTo>
                    <a:pt x="23" y="28"/>
                    <a:pt x="23" y="26"/>
                    <a:pt x="24" y="24"/>
                  </a:cubicBezTo>
                  <a:cubicBezTo>
                    <a:pt x="26" y="22"/>
                    <a:pt x="28" y="22"/>
                    <a:pt x="30" y="24"/>
                  </a:cubicBezTo>
                  <a:cubicBezTo>
                    <a:pt x="35" y="29"/>
                    <a:pt x="35" y="29"/>
                    <a:pt x="35" y="29"/>
                  </a:cubicBezTo>
                  <a:cubicBezTo>
                    <a:pt x="37" y="31"/>
                    <a:pt x="37" y="34"/>
                    <a:pt x="36" y="35"/>
                  </a:cubicBezTo>
                  <a:cubicBezTo>
                    <a:pt x="35" y="36"/>
                    <a:pt x="34" y="36"/>
                    <a:pt x="33" y="36"/>
                  </a:cubicBezTo>
                  <a:close/>
                  <a:moveTo>
                    <a:pt x="10" y="14"/>
                  </a:moveTo>
                  <a:cubicBezTo>
                    <a:pt x="9" y="14"/>
                    <a:pt x="8" y="14"/>
                    <a:pt x="7" y="13"/>
                  </a:cubicBezTo>
                  <a:cubicBezTo>
                    <a:pt x="1" y="7"/>
                    <a:pt x="1" y="7"/>
                    <a:pt x="1" y="7"/>
                  </a:cubicBezTo>
                  <a:cubicBezTo>
                    <a:pt x="0" y="6"/>
                    <a:pt x="0" y="3"/>
                    <a:pt x="1" y="2"/>
                  </a:cubicBezTo>
                  <a:cubicBezTo>
                    <a:pt x="3" y="0"/>
                    <a:pt x="5" y="0"/>
                    <a:pt x="7" y="1"/>
                  </a:cubicBezTo>
                  <a:cubicBezTo>
                    <a:pt x="13" y="7"/>
                    <a:pt x="13" y="7"/>
                    <a:pt x="13" y="7"/>
                  </a:cubicBezTo>
                  <a:cubicBezTo>
                    <a:pt x="14" y="9"/>
                    <a:pt x="14" y="11"/>
                    <a:pt x="13" y="13"/>
                  </a:cubicBezTo>
                  <a:cubicBezTo>
                    <a:pt x="12" y="14"/>
                    <a:pt x="11" y="14"/>
                    <a:pt x="1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5A32947-8B61-4200-919E-973A1F2EA41C}"/>
                </a:ext>
              </a:extLst>
            </p:cNvPr>
            <p:cNvSpPr>
              <a:spLocks noEditPoints="1"/>
            </p:cNvSpPr>
            <p:nvPr/>
          </p:nvSpPr>
          <p:spPr bwMode="auto">
            <a:xfrm>
              <a:off x="6773863" y="1887538"/>
              <a:ext cx="136525" cy="341313"/>
            </a:xfrm>
            <a:custGeom>
              <a:avLst/>
              <a:gdLst>
                <a:gd name="T0" fmla="*/ 4 w 33"/>
                <a:gd name="T1" fmla="*/ 82 h 82"/>
                <a:gd name="T2" fmla="*/ 0 w 33"/>
                <a:gd name="T3" fmla="*/ 78 h 82"/>
                <a:gd name="T4" fmla="*/ 0 w 33"/>
                <a:gd name="T5" fmla="*/ 26 h 82"/>
                <a:gd name="T6" fmla="*/ 0 w 33"/>
                <a:gd name="T7" fmla="*/ 26 h 82"/>
                <a:gd name="T8" fmla="*/ 0 w 33"/>
                <a:gd name="T9" fmla="*/ 4 h 82"/>
                <a:gd name="T10" fmla="*/ 2 w 33"/>
                <a:gd name="T11" fmla="*/ 1 h 82"/>
                <a:gd name="T12" fmla="*/ 6 w 33"/>
                <a:gd name="T13" fmla="*/ 1 h 82"/>
                <a:gd name="T14" fmla="*/ 30 w 33"/>
                <a:gd name="T15" fmla="*/ 12 h 82"/>
                <a:gd name="T16" fmla="*/ 33 w 33"/>
                <a:gd name="T17" fmla="*/ 15 h 82"/>
                <a:gd name="T18" fmla="*/ 30 w 33"/>
                <a:gd name="T19" fmla="*/ 19 h 82"/>
                <a:gd name="T20" fmla="*/ 8 w 33"/>
                <a:gd name="T21" fmla="*/ 29 h 82"/>
                <a:gd name="T22" fmla="*/ 8 w 33"/>
                <a:gd name="T23" fmla="*/ 78 h 82"/>
                <a:gd name="T24" fmla="*/ 4 w 33"/>
                <a:gd name="T25" fmla="*/ 82 h 82"/>
                <a:gd name="T26" fmla="*/ 8 w 33"/>
                <a:gd name="T27" fmla="*/ 10 h 82"/>
                <a:gd name="T28" fmla="*/ 8 w 33"/>
                <a:gd name="T29" fmla="*/ 20 h 82"/>
                <a:gd name="T30" fmla="*/ 19 w 33"/>
                <a:gd name="T31" fmla="*/ 15 h 82"/>
                <a:gd name="T32" fmla="*/ 8 w 33"/>
                <a:gd name="T33" fmla="*/ 1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82">
                  <a:moveTo>
                    <a:pt x="4" y="82"/>
                  </a:moveTo>
                  <a:cubicBezTo>
                    <a:pt x="2" y="82"/>
                    <a:pt x="0" y="80"/>
                    <a:pt x="0" y="78"/>
                  </a:cubicBezTo>
                  <a:cubicBezTo>
                    <a:pt x="0" y="26"/>
                    <a:pt x="0" y="26"/>
                    <a:pt x="0" y="26"/>
                  </a:cubicBezTo>
                  <a:cubicBezTo>
                    <a:pt x="0" y="26"/>
                    <a:pt x="0" y="26"/>
                    <a:pt x="0" y="26"/>
                  </a:cubicBezTo>
                  <a:cubicBezTo>
                    <a:pt x="0" y="4"/>
                    <a:pt x="0" y="4"/>
                    <a:pt x="0" y="4"/>
                  </a:cubicBezTo>
                  <a:cubicBezTo>
                    <a:pt x="0" y="3"/>
                    <a:pt x="1" y="2"/>
                    <a:pt x="2" y="1"/>
                  </a:cubicBezTo>
                  <a:cubicBezTo>
                    <a:pt x="3" y="0"/>
                    <a:pt x="5" y="0"/>
                    <a:pt x="6" y="1"/>
                  </a:cubicBezTo>
                  <a:cubicBezTo>
                    <a:pt x="30" y="12"/>
                    <a:pt x="30" y="12"/>
                    <a:pt x="30" y="12"/>
                  </a:cubicBezTo>
                  <a:cubicBezTo>
                    <a:pt x="32" y="12"/>
                    <a:pt x="33" y="14"/>
                    <a:pt x="33" y="15"/>
                  </a:cubicBezTo>
                  <a:cubicBezTo>
                    <a:pt x="33" y="17"/>
                    <a:pt x="32" y="18"/>
                    <a:pt x="30" y="19"/>
                  </a:cubicBezTo>
                  <a:cubicBezTo>
                    <a:pt x="8" y="29"/>
                    <a:pt x="8" y="29"/>
                    <a:pt x="8" y="29"/>
                  </a:cubicBezTo>
                  <a:cubicBezTo>
                    <a:pt x="8" y="78"/>
                    <a:pt x="8" y="78"/>
                    <a:pt x="8" y="78"/>
                  </a:cubicBezTo>
                  <a:cubicBezTo>
                    <a:pt x="8" y="80"/>
                    <a:pt x="6" y="82"/>
                    <a:pt x="4" y="82"/>
                  </a:cubicBezTo>
                  <a:close/>
                  <a:moveTo>
                    <a:pt x="8" y="10"/>
                  </a:moveTo>
                  <a:cubicBezTo>
                    <a:pt x="8" y="20"/>
                    <a:pt x="8" y="20"/>
                    <a:pt x="8" y="20"/>
                  </a:cubicBezTo>
                  <a:cubicBezTo>
                    <a:pt x="19" y="15"/>
                    <a:pt x="19" y="15"/>
                    <a:pt x="19" y="15"/>
                  </a:cubicBezTo>
                  <a:lnTo>
                    <a:pt x="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a:extLst>
                <a:ext uri="{FF2B5EF4-FFF2-40B4-BE49-F238E27FC236}">
                  <a16:creationId xmlns:a16="http://schemas.microsoft.com/office/drawing/2014/main" id="{893121B3-508A-4CEE-9CE6-057ADA7C6A42}"/>
                </a:ext>
              </a:extLst>
            </p:cNvPr>
            <p:cNvSpPr>
              <a:spLocks noEditPoints="1"/>
            </p:cNvSpPr>
            <p:nvPr/>
          </p:nvSpPr>
          <p:spPr bwMode="auto">
            <a:xfrm>
              <a:off x="10112375" y="5022850"/>
              <a:ext cx="182562" cy="481013"/>
            </a:xfrm>
            <a:custGeom>
              <a:avLst/>
              <a:gdLst>
                <a:gd name="T0" fmla="*/ 4 w 44"/>
                <a:gd name="T1" fmla="*/ 116 h 116"/>
                <a:gd name="T2" fmla="*/ 0 w 44"/>
                <a:gd name="T3" fmla="*/ 112 h 116"/>
                <a:gd name="T4" fmla="*/ 0 w 44"/>
                <a:gd name="T5" fmla="*/ 36 h 116"/>
                <a:gd name="T6" fmla="*/ 0 w 44"/>
                <a:gd name="T7" fmla="*/ 36 h 116"/>
                <a:gd name="T8" fmla="*/ 0 w 44"/>
                <a:gd name="T9" fmla="*/ 4 h 116"/>
                <a:gd name="T10" fmla="*/ 2 w 44"/>
                <a:gd name="T11" fmla="*/ 0 h 116"/>
                <a:gd name="T12" fmla="*/ 5 w 44"/>
                <a:gd name="T13" fmla="*/ 0 h 116"/>
                <a:gd name="T14" fmla="*/ 41 w 44"/>
                <a:gd name="T15" fmla="*/ 16 h 116"/>
                <a:gd name="T16" fmla="*/ 44 w 44"/>
                <a:gd name="T17" fmla="*/ 20 h 116"/>
                <a:gd name="T18" fmla="*/ 41 w 44"/>
                <a:gd name="T19" fmla="*/ 23 h 116"/>
                <a:gd name="T20" fmla="*/ 8 w 44"/>
                <a:gd name="T21" fmla="*/ 38 h 116"/>
                <a:gd name="T22" fmla="*/ 8 w 44"/>
                <a:gd name="T23" fmla="*/ 112 h 116"/>
                <a:gd name="T24" fmla="*/ 4 w 44"/>
                <a:gd name="T25" fmla="*/ 116 h 116"/>
                <a:gd name="T26" fmla="*/ 8 w 44"/>
                <a:gd name="T27" fmla="*/ 10 h 116"/>
                <a:gd name="T28" fmla="*/ 8 w 44"/>
                <a:gd name="T29" fmla="*/ 30 h 116"/>
                <a:gd name="T30" fmla="*/ 30 w 44"/>
                <a:gd name="T31" fmla="*/ 20 h 116"/>
                <a:gd name="T32" fmla="*/ 8 w 44"/>
                <a:gd name="T33" fmla="*/ 1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16">
                  <a:moveTo>
                    <a:pt x="4" y="116"/>
                  </a:moveTo>
                  <a:cubicBezTo>
                    <a:pt x="2" y="116"/>
                    <a:pt x="0" y="114"/>
                    <a:pt x="0" y="112"/>
                  </a:cubicBezTo>
                  <a:cubicBezTo>
                    <a:pt x="0" y="36"/>
                    <a:pt x="0" y="36"/>
                    <a:pt x="0" y="36"/>
                  </a:cubicBezTo>
                  <a:cubicBezTo>
                    <a:pt x="0" y="36"/>
                    <a:pt x="0" y="36"/>
                    <a:pt x="0" y="36"/>
                  </a:cubicBezTo>
                  <a:cubicBezTo>
                    <a:pt x="0" y="4"/>
                    <a:pt x="0" y="4"/>
                    <a:pt x="0" y="4"/>
                  </a:cubicBezTo>
                  <a:cubicBezTo>
                    <a:pt x="0" y="2"/>
                    <a:pt x="0" y="1"/>
                    <a:pt x="2" y="0"/>
                  </a:cubicBezTo>
                  <a:cubicBezTo>
                    <a:pt x="3" y="0"/>
                    <a:pt x="4" y="0"/>
                    <a:pt x="5" y="0"/>
                  </a:cubicBezTo>
                  <a:cubicBezTo>
                    <a:pt x="41" y="16"/>
                    <a:pt x="41" y="16"/>
                    <a:pt x="41" y="16"/>
                  </a:cubicBezTo>
                  <a:cubicBezTo>
                    <a:pt x="43" y="17"/>
                    <a:pt x="44" y="18"/>
                    <a:pt x="44" y="20"/>
                  </a:cubicBezTo>
                  <a:cubicBezTo>
                    <a:pt x="44" y="21"/>
                    <a:pt x="43" y="23"/>
                    <a:pt x="41" y="23"/>
                  </a:cubicBezTo>
                  <a:cubicBezTo>
                    <a:pt x="8" y="38"/>
                    <a:pt x="8" y="38"/>
                    <a:pt x="8" y="38"/>
                  </a:cubicBezTo>
                  <a:cubicBezTo>
                    <a:pt x="8" y="112"/>
                    <a:pt x="8" y="112"/>
                    <a:pt x="8" y="112"/>
                  </a:cubicBezTo>
                  <a:cubicBezTo>
                    <a:pt x="8" y="114"/>
                    <a:pt x="6" y="116"/>
                    <a:pt x="4" y="116"/>
                  </a:cubicBezTo>
                  <a:close/>
                  <a:moveTo>
                    <a:pt x="8" y="10"/>
                  </a:moveTo>
                  <a:cubicBezTo>
                    <a:pt x="8" y="30"/>
                    <a:pt x="8" y="30"/>
                    <a:pt x="8" y="30"/>
                  </a:cubicBezTo>
                  <a:cubicBezTo>
                    <a:pt x="30" y="20"/>
                    <a:pt x="30" y="20"/>
                    <a:pt x="30" y="20"/>
                  </a:cubicBezTo>
                  <a:lnTo>
                    <a:pt x="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a:extLst>
                <a:ext uri="{FF2B5EF4-FFF2-40B4-BE49-F238E27FC236}">
                  <a16:creationId xmlns:a16="http://schemas.microsoft.com/office/drawing/2014/main" id="{DDA1E389-0E72-4010-BBE7-51AF4423C0D7}"/>
                </a:ext>
              </a:extLst>
            </p:cNvPr>
            <p:cNvSpPr>
              <a:spLocks noEditPoints="1"/>
            </p:cNvSpPr>
            <p:nvPr/>
          </p:nvSpPr>
          <p:spPr bwMode="auto">
            <a:xfrm>
              <a:off x="1443038" y="5462588"/>
              <a:ext cx="9191625" cy="50800"/>
            </a:xfrm>
            <a:custGeom>
              <a:avLst/>
              <a:gdLst>
                <a:gd name="T0" fmla="*/ 2210 w 2216"/>
                <a:gd name="T1" fmla="*/ 0 h 12"/>
                <a:gd name="T2" fmla="*/ 2124 w 2216"/>
                <a:gd name="T3" fmla="*/ 6 h 12"/>
                <a:gd name="T4" fmla="*/ 2098 w 2216"/>
                <a:gd name="T5" fmla="*/ 12 h 12"/>
                <a:gd name="T6" fmla="*/ 2104 w 2216"/>
                <a:gd name="T7" fmla="*/ 6 h 12"/>
                <a:gd name="T8" fmla="*/ 2018 w 2216"/>
                <a:gd name="T9" fmla="*/ 0 h 12"/>
                <a:gd name="T10" fmla="*/ 1962 w 2216"/>
                <a:gd name="T11" fmla="*/ 12 h 12"/>
                <a:gd name="T12" fmla="*/ 1986 w 2216"/>
                <a:gd name="T13" fmla="*/ 12 h 12"/>
                <a:gd name="T14" fmla="*/ 1930 w 2216"/>
                <a:gd name="T15" fmla="*/ 0 h 12"/>
                <a:gd name="T16" fmla="*/ 1844 w 2216"/>
                <a:gd name="T17" fmla="*/ 6 h 12"/>
                <a:gd name="T18" fmla="*/ 1818 w 2216"/>
                <a:gd name="T19" fmla="*/ 12 h 12"/>
                <a:gd name="T20" fmla="*/ 1824 w 2216"/>
                <a:gd name="T21" fmla="*/ 6 h 12"/>
                <a:gd name="T22" fmla="*/ 1738 w 2216"/>
                <a:gd name="T23" fmla="*/ 0 h 12"/>
                <a:gd name="T24" fmla="*/ 1682 w 2216"/>
                <a:gd name="T25" fmla="*/ 12 h 12"/>
                <a:gd name="T26" fmla="*/ 1706 w 2216"/>
                <a:gd name="T27" fmla="*/ 12 h 12"/>
                <a:gd name="T28" fmla="*/ 1650 w 2216"/>
                <a:gd name="T29" fmla="*/ 0 h 12"/>
                <a:gd name="T30" fmla="*/ 1564 w 2216"/>
                <a:gd name="T31" fmla="*/ 6 h 12"/>
                <a:gd name="T32" fmla="*/ 1538 w 2216"/>
                <a:gd name="T33" fmla="*/ 12 h 12"/>
                <a:gd name="T34" fmla="*/ 1544 w 2216"/>
                <a:gd name="T35" fmla="*/ 6 h 12"/>
                <a:gd name="T36" fmla="*/ 1458 w 2216"/>
                <a:gd name="T37" fmla="*/ 0 h 12"/>
                <a:gd name="T38" fmla="*/ 1402 w 2216"/>
                <a:gd name="T39" fmla="*/ 12 h 12"/>
                <a:gd name="T40" fmla="*/ 1426 w 2216"/>
                <a:gd name="T41" fmla="*/ 12 h 12"/>
                <a:gd name="T42" fmla="*/ 1370 w 2216"/>
                <a:gd name="T43" fmla="*/ 0 h 12"/>
                <a:gd name="T44" fmla="*/ 1284 w 2216"/>
                <a:gd name="T45" fmla="*/ 6 h 12"/>
                <a:gd name="T46" fmla="*/ 1258 w 2216"/>
                <a:gd name="T47" fmla="*/ 12 h 12"/>
                <a:gd name="T48" fmla="*/ 1264 w 2216"/>
                <a:gd name="T49" fmla="*/ 6 h 12"/>
                <a:gd name="T50" fmla="*/ 1178 w 2216"/>
                <a:gd name="T51" fmla="*/ 0 h 12"/>
                <a:gd name="T52" fmla="*/ 1122 w 2216"/>
                <a:gd name="T53" fmla="*/ 12 h 12"/>
                <a:gd name="T54" fmla="*/ 1146 w 2216"/>
                <a:gd name="T55" fmla="*/ 12 h 12"/>
                <a:gd name="T56" fmla="*/ 1090 w 2216"/>
                <a:gd name="T57" fmla="*/ 0 h 12"/>
                <a:gd name="T58" fmla="*/ 1004 w 2216"/>
                <a:gd name="T59" fmla="*/ 6 h 12"/>
                <a:gd name="T60" fmla="*/ 978 w 2216"/>
                <a:gd name="T61" fmla="*/ 12 h 12"/>
                <a:gd name="T62" fmla="*/ 984 w 2216"/>
                <a:gd name="T63" fmla="*/ 6 h 12"/>
                <a:gd name="T64" fmla="*/ 898 w 2216"/>
                <a:gd name="T65" fmla="*/ 0 h 12"/>
                <a:gd name="T66" fmla="*/ 842 w 2216"/>
                <a:gd name="T67" fmla="*/ 12 h 12"/>
                <a:gd name="T68" fmla="*/ 866 w 2216"/>
                <a:gd name="T69" fmla="*/ 12 h 12"/>
                <a:gd name="T70" fmla="*/ 810 w 2216"/>
                <a:gd name="T71" fmla="*/ 0 h 12"/>
                <a:gd name="T72" fmla="*/ 724 w 2216"/>
                <a:gd name="T73" fmla="*/ 6 h 12"/>
                <a:gd name="T74" fmla="*/ 698 w 2216"/>
                <a:gd name="T75" fmla="*/ 12 h 12"/>
                <a:gd name="T76" fmla="*/ 704 w 2216"/>
                <a:gd name="T77" fmla="*/ 6 h 12"/>
                <a:gd name="T78" fmla="*/ 618 w 2216"/>
                <a:gd name="T79" fmla="*/ 0 h 12"/>
                <a:gd name="T80" fmla="*/ 562 w 2216"/>
                <a:gd name="T81" fmla="*/ 12 h 12"/>
                <a:gd name="T82" fmla="*/ 586 w 2216"/>
                <a:gd name="T83" fmla="*/ 12 h 12"/>
                <a:gd name="T84" fmla="*/ 530 w 2216"/>
                <a:gd name="T85" fmla="*/ 0 h 12"/>
                <a:gd name="T86" fmla="*/ 444 w 2216"/>
                <a:gd name="T87" fmla="*/ 6 h 12"/>
                <a:gd name="T88" fmla="*/ 418 w 2216"/>
                <a:gd name="T89" fmla="*/ 12 h 12"/>
                <a:gd name="T90" fmla="*/ 424 w 2216"/>
                <a:gd name="T91" fmla="*/ 6 h 12"/>
                <a:gd name="T92" fmla="*/ 338 w 2216"/>
                <a:gd name="T93" fmla="*/ 0 h 12"/>
                <a:gd name="T94" fmla="*/ 282 w 2216"/>
                <a:gd name="T95" fmla="*/ 12 h 12"/>
                <a:gd name="T96" fmla="*/ 306 w 2216"/>
                <a:gd name="T97" fmla="*/ 12 h 12"/>
                <a:gd name="T98" fmla="*/ 250 w 2216"/>
                <a:gd name="T99" fmla="*/ 0 h 12"/>
                <a:gd name="T100" fmla="*/ 164 w 2216"/>
                <a:gd name="T101" fmla="*/ 6 h 12"/>
                <a:gd name="T102" fmla="*/ 138 w 2216"/>
                <a:gd name="T103" fmla="*/ 12 h 12"/>
                <a:gd name="T104" fmla="*/ 144 w 2216"/>
                <a:gd name="T105" fmla="*/ 6 h 12"/>
                <a:gd name="T106" fmla="*/ 58 w 2216"/>
                <a:gd name="T107" fmla="*/ 0 h 12"/>
                <a:gd name="T108" fmla="*/ 6 w 2216"/>
                <a:gd name="T109" fmla="*/ 12 h 12"/>
                <a:gd name="T110" fmla="*/ 26 w 2216"/>
                <a:gd name="T11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16" h="12">
                  <a:moveTo>
                    <a:pt x="2210" y="12"/>
                  </a:moveTo>
                  <a:cubicBezTo>
                    <a:pt x="2186" y="12"/>
                    <a:pt x="2186" y="12"/>
                    <a:pt x="2186" y="12"/>
                  </a:cubicBezTo>
                  <a:cubicBezTo>
                    <a:pt x="2183" y="12"/>
                    <a:pt x="2180" y="9"/>
                    <a:pt x="2180" y="6"/>
                  </a:cubicBezTo>
                  <a:cubicBezTo>
                    <a:pt x="2180" y="2"/>
                    <a:pt x="2183" y="0"/>
                    <a:pt x="2186" y="0"/>
                  </a:cubicBezTo>
                  <a:cubicBezTo>
                    <a:pt x="2210" y="0"/>
                    <a:pt x="2210" y="0"/>
                    <a:pt x="2210" y="0"/>
                  </a:cubicBezTo>
                  <a:cubicBezTo>
                    <a:pt x="2214" y="0"/>
                    <a:pt x="2216" y="2"/>
                    <a:pt x="2216" y="6"/>
                  </a:cubicBezTo>
                  <a:cubicBezTo>
                    <a:pt x="2216" y="9"/>
                    <a:pt x="2214" y="12"/>
                    <a:pt x="2210" y="12"/>
                  </a:cubicBezTo>
                  <a:close/>
                  <a:moveTo>
                    <a:pt x="2154" y="12"/>
                  </a:moveTo>
                  <a:cubicBezTo>
                    <a:pt x="2130" y="12"/>
                    <a:pt x="2130" y="12"/>
                    <a:pt x="2130" y="12"/>
                  </a:cubicBezTo>
                  <a:cubicBezTo>
                    <a:pt x="2127" y="12"/>
                    <a:pt x="2124" y="9"/>
                    <a:pt x="2124" y="6"/>
                  </a:cubicBezTo>
                  <a:cubicBezTo>
                    <a:pt x="2124" y="2"/>
                    <a:pt x="2127" y="0"/>
                    <a:pt x="2130" y="0"/>
                  </a:cubicBezTo>
                  <a:cubicBezTo>
                    <a:pt x="2154" y="0"/>
                    <a:pt x="2154" y="0"/>
                    <a:pt x="2154" y="0"/>
                  </a:cubicBezTo>
                  <a:cubicBezTo>
                    <a:pt x="2158" y="0"/>
                    <a:pt x="2160" y="2"/>
                    <a:pt x="2160" y="6"/>
                  </a:cubicBezTo>
                  <a:cubicBezTo>
                    <a:pt x="2160" y="9"/>
                    <a:pt x="2158" y="12"/>
                    <a:pt x="2154" y="12"/>
                  </a:cubicBezTo>
                  <a:close/>
                  <a:moveTo>
                    <a:pt x="2098" y="12"/>
                  </a:moveTo>
                  <a:cubicBezTo>
                    <a:pt x="2074" y="12"/>
                    <a:pt x="2074" y="12"/>
                    <a:pt x="2074" y="12"/>
                  </a:cubicBezTo>
                  <a:cubicBezTo>
                    <a:pt x="2071" y="12"/>
                    <a:pt x="2068" y="9"/>
                    <a:pt x="2068" y="6"/>
                  </a:cubicBezTo>
                  <a:cubicBezTo>
                    <a:pt x="2068" y="2"/>
                    <a:pt x="2071" y="0"/>
                    <a:pt x="2074" y="0"/>
                  </a:cubicBezTo>
                  <a:cubicBezTo>
                    <a:pt x="2098" y="0"/>
                    <a:pt x="2098" y="0"/>
                    <a:pt x="2098" y="0"/>
                  </a:cubicBezTo>
                  <a:cubicBezTo>
                    <a:pt x="2102" y="0"/>
                    <a:pt x="2104" y="2"/>
                    <a:pt x="2104" y="6"/>
                  </a:cubicBezTo>
                  <a:cubicBezTo>
                    <a:pt x="2104" y="9"/>
                    <a:pt x="2102" y="12"/>
                    <a:pt x="2098" y="12"/>
                  </a:cubicBezTo>
                  <a:close/>
                  <a:moveTo>
                    <a:pt x="2042" y="12"/>
                  </a:moveTo>
                  <a:cubicBezTo>
                    <a:pt x="2018" y="12"/>
                    <a:pt x="2018" y="12"/>
                    <a:pt x="2018" y="12"/>
                  </a:cubicBezTo>
                  <a:cubicBezTo>
                    <a:pt x="2015" y="12"/>
                    <a:pt x="2012" y="9"/>
                    <a:pt x="2012" y="6"/>
                  </a:cubicBezTo>
                  <a:cubicBezTo>
                    <a:pt x="2012" y="2"/>
                    <a:pt x="2015" y="0"/>
                    <a:pt x="2018" y="0"/>
                  </a:cubicBezTo>
                  <a:cubicBezTo>
                    <a:pt x="2042" y="0"/>
                    <a:pt x="2042" y="0"/>
                    <a:pt x="2042" y="0"/>
                  </a:cubicBezTo>
                  <a:cubicBezTo>
                    <a:pt x="2046" y="0"/>
                    <a:pt x="2048" y="2"/>
                    <a:pt x="2048" y="6"/>
                  </a:cubicBezTo>
                  <a:cubicBezTo>
                    <a:pt x="2048" y="9"/>
                    <a:pt x="2046" y="12"/>
                    <a:pt x="2042" y="12"/>
                  </a:cubicBezTo>
                  <a:close/>
                  <a:moveTo>
                    <a:pt x="1986" y="12"/>
                  </a:moveTo>
                  <a:cubicBezTo>
                    <a:pt x="1962" y="12"/>
                    <a:pt x="1962" y="12"/>
                    <a:pt x="1962" y="12"/>
                  </a:cubicBezTo>
                  <a:cubicBezTo>
                    <a:pt x="1959" y="12"/>
                    <a:pt x="1956" y="9"/>
                    <a:pt x="1956" y="6"/>
                  </a:cubicBezTo>
                  <a:cubicBezTo>
                    <a:pt x="1956" y="2"/>
                    <a:pt x="1959" y="0"/>
                    <a:pt x="1962" y="0"/>
                  </a:cubicBezTo>
                  <a:cubicBezTo>
                    <a:pt x="1986" y="0"/>
                    <a:pt x="1986" y="0"/>
                    <a:pt x="1986" y="0"/>
                  </a:cubicBezTo>
                  <a:cubicBezTo>
                    <a:pt x="1990" y="0"/>
                    <a:pt x="1992" y="2"/>
                    <a:pt x="1992" y="6"/>
                  </a:cubicBezTo>
                  <a:cubicBezTo>
                    <a:pt x="1992" y="9"/>
                    <a:pt x="1990" y="12"/>
                    <a:pt x="1986" y="12"/>
                  </a:cubicBezTo>
                  <a:close/>
                  <a:moveTo>
                    <a:pt x="1930" y="12"/>
                  </a:moveTo>
                  <a:cubicBezTo>
                    <a:pt x="1906" y="12"/>
                    <a:pt x="1906" y="12"/>
                    <a:pt x="1906" y="12"/>
                  </a:cubicBezTo>
                  <a:cubicBezTo>
                    <a:pt x="1903" y="12"/>
                    <a:pt x="1900" y="9"/>
                    <a:pt x="1900" y="6"/>
                  </a:cubicBezTo>
                  <a:cubicBezTo>
                    <a:pt x="1900" y="2"/>
                    <a:pt x="1903" y="0"/>
                    <a:pt x="1906" y="0"/>
                  </a:cubicBezTo>
                  <a:cubicBezTo>
                    <a:pt x="1930" y="0"/>
                    <a:pt x="1930" y="0"/>
                    <a:pt x="1930" y="0"/>
                  </a:cubicBezTo>
                  <a:cubicBezTo>
                    <a:pt x="1934" y="0"/>
                    <a:pt x="1936" y="2"/>
                    <a:pt x="1936" y="6"/>
                  </a:cubicBezTo>
                  <a:cubicBezTo>
                    <a:pt x="1936" y="9"/>
                    <a:pt x="1934" y="12"/>
                    <a:pt x="1930" y="12"/>
                  </a:cubicBezTo>
                  <a:close/>
                  <a:moveTo>
                    <a:pt x="1874" y="12"/>
                  </a:moveTo>
                  <a:cubicBezTo>
                    <a:pt x="1850" y="12"/>
                    <a:pt x="1850" y="12"/>
                    <a:pt x="1850" y="12"/>
                  </a:cubicBezTo>
                  <a:cubicBezTo>
                    <a:pt x="1847" y="12"/>
                    <a:pt x="1844" y="9"/>
                    <a:pt x="1844" y="6"/>
                  </a:cubicBezTo>
                  <a:cubicBezTo>
                    <a:pt x="1844" y="2"/>
                    <a:pt x="1847" y="0"/>
                    <a:pt x="1850" y="0"/>
                  </a:cubicBezTo>
                  <a:cubicBezTo>
                    <a:pt x="1874" y="0"/>
                    <a:pt x="1874" y="0"/>
                    <a:pt x="1874" y="0"/>
                  </a:cubicBezTo>
                  <a:cubicBezTo>
                    <a:pt x="1878" y="0"/>
                    <a:pt x="1880" y="2"/>
                    <a:pt x="1880" y="6"/>
                  </a:cubicBezTo>
                  <a:cubicBezTo>
                    <a:pt x="1880" y="9"/>
                    <a:pt x="1878" y="12"/>
                    <a:pt x="1874" y="12"/>
                  </a:cubicBezTo>
                  <a:close/>
                  <a:moveTo>
                    <a:pt x="1818" y="12"/>
                  </a:moveTo>
                  <a:cubicBezTo>
                    <a:pt x="1794" y="12"/>
                    <a:pt x="1794" y="12"/>
                    <a:pt x="1794" y="12"/>
                  </a:cubicBezTo>
                  <a:cubicBezTo>
                    <a:pt x="1791" y="12"/>
                    <a:pt x="1788" y="9"/>
                    <a:pt x="1788" y="6"/>
                  </a:cubicBezTo>
                  <a:cubicBezTo>
                    <a:pt x="1788" y="2"/>
                    <a:pt x="1791" y="0"/>
                    <a:pt x="1794" y="0"/>
                  </a:cubicBezTo>
                  <a:cubicBezTo>
                    <a:pt x="1818" y="0"/>
                    <a:pt x="1818" y="0"/>
                    <a:pt x="1818" y="0"/>
                  </a:cubicBezTo>
                  <a:cubicBezTo>
                    <a:pt x="1822" y="0"/>
                    <a:pt x="1824" y="2"/>
                    <a:pt x="1824" y="6"/>
                  </a:cubicBezTo>
                  <a:cubicBezTo>
                    <a:pt x="1824" y="9"/>
                    <a:pt x="1822" y="12"/>
                    <a:pt x="1818" y="12"/>
                  </a:cubicBezTo>
                  <a:close/>
                  <a:moveTo>
                    <a:pt x="1762" y="12"/>
                  </a:moveTo>
                  <a:cubicBezTo>
                    <a:pt x="1738" y="12"/>
                    <a:pt x="1738" y="12"/>
                    <a:pt x="1738" y="12"/>
                  </a:cubicBezTo>
                  <a:cubicBezTo>
                    <a:pt x="1735" y="12"/>
                    <a:pt x="1732" y="9"/>
                    <a:pt x="1732" y="6"/>
                  </a:cubicBezTo>
                  <a:cubicBezTo>
                    <a:pt x="1732" y="2"/>
                    <a:pt x="1735" y="0"/>
                    <a:pt x="1738" y="0"/>
                  </a:cubicBezTo>
                  <a:cubicBezTo>
                    <a:pt x="1762" y="0"/>
                    <a:pt x="1762" y="0"/>
                    <a:pt x="1762" y="0"/>
                  </a:cubicBezTo>
                  <a:cubicBezTo>
                    <a:pt x="1766" y="0"/>
                    <a:pt x="1768" y="2"/>
                    <a:pt x="1768" y="6"/>
                  </a:cubicBezTo>
                  <a:cubicBezTo>
                    <a:pt x="1768" y="9"/>
                    <a:pt x="1766" y="12"/>
                    <a:pt x="1762" y="12"/>
                  </a:cubicBezTo>
                  <a:close/>
                  <a:moveTo>
                    <a:pt x="1706" y="12"/>
                  </a:moveTo>
                  <a:cubicBezTo>
                    <a:pt x="1682" y="12"/>
                    <a:pt x="1682" y="12"/>
                    <a:pt x="1682" y="12"/>
                  </a:cubicBezTo>
                  <a:cubicBezTo>
                    <a:pt x="1679" y="12"/>
                    <a:pt x="1676" y="9"/>
                    <a:pt x="1676" y="6"/>
                  </a:cubicBezTo>
                  <a:cubicBezTo>
                    <a:pt x="1676" y="2"/>
                    <a:pt x="1679" y="0"/>
                    <a:pt x="1682" y="0"/>
                  </a:cubicBezTo>
                  <a:cubicBezTo>
                    <a:pt x="1706" y="0"/>
                    <a:pt x="1706" y="0"/>
                    <a:pt x="1706" y="0"/>
                  </a:cubicBezTo>
                  <a:cubicBezTo>
                    <a:pt x="1710" y="0"/>
                    <a:pt x="1712" y="2"/>
                    <a:pt x="1712" y="6"/>
                  </a:cubicBezTo>
                  <a:cubicBezTo>
                    <a:pt x="1712" y="9"/>
                    <a:pt x="1710" y="12"/>
                    <a:pt x="1706" y="12"/>
                  </a:cubicBezTo>
                  <a:close/>
                  <a:moveTo>
                    <a:pt x="1650" y="12"/>
                  </a:moveTo>
                  <a:cubicBezTo>
                    <a:pt x="1626" y="12"/>
                    <a:pt x="1626" y="12"/>
                    <a:pt x="1626" y="12"/>
                  </a:cubicBezTo>
                  <a:cubicBezTo>
                    <a:pt x="1623" y="12"/>
                    <a:pt x="1620" y="9"/>
                    <a:pt x="1620" y="6"/>
                  </a:cubicBezTo>
                  <a:cubicBezTo>
                    <a:pt x="1620" y="2"/>
                    <a:pt x="1623" y="0"/>
                    <a:pt x="1626" y="0"/>
                  </a:cubicBezTo>
                  <a:cubicBezTo>
                    <a:pt x="1650" y="0"/>
                    <a:pt x="1650" y="0"/>
                    <a:pt x="1650" y="0"/>
                  </a:cubicBezTo>
                  <a:cubicBezTo>
                    <a:pt x="1654" y="0"/>
                    <a:pt x="1656" y="2"/>
                    <a:pt x="1656" y="6"/>
                  </a:cubicBezTo>
                  <a:cubicBezTo>
                    <a:pt x="1656" y="9"/>
                    <a:pt x="1654" y="12"/>
                    <a:pt x="1650" y="12"/>
                  </a:cubicBezTo>
                  <a:close/>
                  <a:moveTo>
                    <a:pt x="1594" y="12"/>
                  </a:moveTo>
                  <a:cubicBezTo>
                    <a:pt x="1570" y="12"/>
                    <a:pt x="1570" y="12"/>
                    <a:pt x="1570" y="12"/>
                  </a:cubicBezTo>
                  <a:cubicBezTo>
                    <a:pt x="1567" y="12"/>
                    <a:pt x="1564" y="9"/>
                    <a:pt x="1564" y="6"/>
                  </a:cubicBezTo>
                  <a:cubicBezTo>
                    <a:pt x="1564" y="2"/>
                    <a:pt x="1567" y="0"/>
                    <a:pt x="1570" y="0"/>
                  </a:cubicBezTo>
                  <a:cubicBezTo>
                    <a:pt x="1594" y="0"/>
                    <a:pt x="1594" y="0"/>
                    <a:pt x="1594" y="0"/>
                  </a:cubicBezTo>
                  <a:cubicBezTo>
                    <a:pt x="1598" y="0"/>
                    <a:pt x="1600" y="2"/>
                    <a:pt x="1600" y="6"/>
                  </a:cubicBezTo>
                  <a:cubicBezTo>
                    <a:pt x="1600" y="9"/>
                    <a:pt x="1598" y="12"/>
                    <a:pt x="1594" y="12"/>
                  </a:cubicBezTo>
                  <a:close/>
                  <a:moveTo>
                    <a:pt x="1538" y="12"/>
                  </a:moveTo>
                  <a:cubicBezTo>
                    <a:pt x="1514" y="12"/>
                    <a:pt x="1514" y="12"/>
                    <a:pt x="1514" y="12"/>
                  </a:cubicBezTo>
                  <a:cubicBezTo>
                    <a:pt x="1511" y="12"/>
                    <a:pt x="1508" y="9"/>
                    <a:pt x="1508" y="6"/>
                  </a:cubicBezTo>
                  <a:cubicBezTo>
                    <a:pt x="1508" y="2"/>
                    <a:pt x="1511" y="0"/>
                    <a:pt x="1514" y="0"/>
                  </a:cubicBezTo>
                  <a:cubicBezTo>
                    <a:pt x="1538" y="0"/>
                    <a:pt x="1538" y="0"/>
                    <a:pt x="1538" y="0"/>
                  </a:cubicBezTo>
                  <a:cubicBezTo>
                    <a:pt x="1542" y="0"/>
                    <a:pt x="1544" y="2"/>
                    <a:pt x="1544" y="6"/>
                  </a:cubicBezTo>
                  <a:cubicBezTo>
                    <a:pt x="1544" y="9"/>
                    <a:pt x="1542" y="12"/>
                    <a:pt x="1538" y="12"/>
                  </a:cubicBezTo>
                  <a:close/>
                  <a:moveTo>
                    <a:pt x="1482" y="12"/>
                  </a:moveTo>
                  <a:cubicBezTo>
                    <a:pt x="1458" y="12"/>
                    <a:pt x="1458" y="12"/>
                    <a:pt x="1458" y="12"/>
                  </a:cubicBezTo>
                  <a:cubicBezTo>
                    <a:pt x="1455" y="12"/>
                    <a:pt x="1452" y="9"/>
                    <a:pt x="1452" y="6"/>
                  </a:cubicBezTo>
                  <a:cubicBezTo>
                    <a:pt x="1452" y="2"/>
                    <a:pt x="1455" y="0"/>
                    <a:pt x="1458" y="0"/>
                  </a:cubicBezTo>
                  <a:cubicBezTo>
                    <a:pt x="1482" y="0"/>
                    <a:pt x="1482" y="0"/>
                    <a:pt x="1482" y="0"/>
                  </a:cubicBezTo>
                  <a:cubicBezTo>
                    <a:pt x="1486" y="0"/>
                    <a:pt x="1488" y="2"/>
                    <a:pt x="1488" y="6"/>
                  </a:cubicBezTo>
                  <a:cubicBezTo>
                    <a:pt x="1488" y="9"/>
                    <a:pt x="1486" y="12"/>
                    <a:pt x="1482" y="12"/>
                  </a:cubicBezTo>
                  <a:close/>
                  <a:moveTo>
                    <a:pt x="1426" y="12"/>
                  </a:moveTo>
                  <a:cubicBezTo>
                    <a:pt x="1402" y="12"/>
                    <a:pt x="1402" y="12"/>
                    <a:pt x="1402" y="12"/>
                  </a:cubicBezTo>
                  <a:cubicBezTo>
                    <a:pt x="1399" y="12"/>
                    <a:pt x="1396" y="9"/>
                    <a:pt x="1396" y="6"/>
                  </a:cubicBezTo>
                  <a:cubicBezTo>
                    <a:pt x="1396" y="2"/>
                    <a:pt x="1399" y="0"/>
                    <a:pt x="1402" y="0"/>
                  </a:cubicBezTo>
                  <a:cubicBezTo>
                    <a:pt x="1426" y="0"/>
                    <a:pt x="1426" y="0"/>
                    <a:pt x="1426" y="0"/>
                  </a:cubicBezTo>
                  <a:cubicBezTo>
                    <a:pt x="1430" y="0"/>
                    <a:pt x="1432" y="2"/>
                    <a:pt x="1432" y="6"/>
                  </a:cubicBezTo>
                  <a:cubicBezTo>
                    <a:pt x="1432" y="9"/>
                    <a:pt x="1430" y="12"/>
                    <a:pt x="1426" y="12"/>
                  </a:cubicBezTo>
                  <a:close/>
                  <a:moveTo>
                    <a:pt x="1370" y="12"/>
                  </a:moveTo>
                  <a:cubicBezTo>
                    <a:pt x="1346" y="12"/>
                    <a:pt x="1346" y="12"/>
                    <a:pt x="1346" y="12"/>
                  </a:cubicBezTo>
                  <a:cubicBezTo>
                    <a:pt x="1343" y="12"/>
                    <a:pt x="1340" y="9"/>
                    <a:pt x="1340" y="6"/>
                  </a:cubicBezTo>
                  <a:cubicBezTo>
                    <a:pt x="1340" y="2"/>
                    <a:pt x="1343" y="0"/>
                    <a:pt x="1346" y="0"/>
                  </a:cubicBezTo>
                  <a:cubicBezTo>
                    <a:pt x="1370" y="0"/>
                    <a:pt x="1370" y="0"/>
                    <a:pt x="1370" y="0"/>
                  </a:cubicBezTo>
                  <a:cubicBezTo>
                    <a:pt x="1374" y="0"/>
                    <a:pt x="1376" y="2"/>
                    <a:pt x="1376" y="6"/>
                  </a:cubicBezTo>
                  <a:cubicBezTo>
                    <a:pt x="1376" y="9"/>
                    <a:pt x="1374" y="12"/>
                    <a:pt x="1370" y="12"/>
                  </a:cubicBezTo>
                  <a:close/>
                  <a:moveTo>
                    <a:pt x="1314" y="12"/>
                  </a:moveTo>
                  <a:cubicBezTo>
                    <a:pt x="1290" y="12"/>
                    <a:pt x="1290" y="12"/>
                    <a:pt x="1290" y="12"/>
                  </a:cubicBezTo>
                  <a:cubicBezTo>
                    <a:pt x="1287" y="12"/>
                    <a:pt x="1284" y="9"/>
                    <a:pt x="1284" y="6"/>
                  </a:cubicBezTo>
                  <a:cubicBezTo>
                    <a:pt x="1284" y="2"/>
                    <a:pt x="1287" y="0"/>
                    <a:pt x="1290" y="0"/>
                  </a:cubicBezTo>
                  <a:cubicBezTo>
                    <a:pt x="1314" y="0"/>
                    <a:pt x="1314" y="0"/>
                    <a:pt x="1314" y="0"/>
                  </a:cubicBezTo>
                  <a:cubicBezTo>
                    <a:pt x="1318" y="0"/>
                    <a:pt x="1320" y="2"/>
                    <a:pt x="1320" y="6"/>
                  </a:cubicBezTo>
                  <a:cubicBezTo>
                    <a:pt x="1320" y="9"/>
                    <a:pt x="1318" y="12"/>
                    <a:pt x="1314" y="12"/>
                  </a:cubicBezTo>
                  <a:close/>
                  <a:moveTo>
                    <a:pt x="1258" y="12"/>
                  </a:moveTo>
                  <a:cubicBezTo>
                    <a:pt x="1234" y="12"/>
                    <a:pt x="1234" y="12"/>
                    <a:pt x="1234" y="12"/>
                  </a:cubicBezTo>
                  <a:cubicBezTo>
                    <a:pt x="1231" y="12"/>
                    <a:pt x="1228" y="9"/>
                    <a:pt x="1228" y="6"/>
                  </a:cubicBezTo>
                  <a:cubicBezTo>
                    <a:pt x="1228" y="2"/>
                    <a:pt x="1231" y="0"/>
                    <a:pt x="1234" y="0"/>
                  </a:cubicBezTo>
                  <a:cubicBezTo>
                    <a:pt x="1258" y="0"/>
                    <a:pt x="1258" y="0"/>
                    <a:pt x="1258" y="0"/>
                  </a:cubicBezTo>
                  <a:cubicBezTo>
                    <a:pt x="1262" y="0"/>
                    <a:pt x="1264" y="2"/>
                    <a:pt x="1264" y="6"/>
                  </a:cubicBezTo>
                  <a:cubicBezTo>
                    <a:pt x="1264" y="9"/>
                    <a:pt x="1262" y="12"/>
                    <a:pt x="1258" y="12"/>
                  </a:cubicBezTo>
                  <a:close/>
                  <a:moveTo>
                    <a:pt x="1202" y="12"/>
                  </a:moveTo>
                  <a:cubicBezTo>
                    <a:pt x="1178" y="12"/>
                    <a:pt x="1178" y="12"/>
                    <a:pt x="1178" y="12"/>
                  </a:cubicBezTo>
                  <a:cubicBezTo>
                    <a:pt x="1175" y="12"/>
                    <a:pt x="1172" y="9"/>
                    <a:pt x="1172" y="6"/>
                  </a:cubicBezTo>
                  <a:cubicBezTo>
                    <a:pt x="1172" y="2"/>
                    <a:pt x="1175" y="0"/>
                    <a:pt x="1178" y="0"/>
                  </a:cubicBezTo>
                  <a:cubicBezTo>
                    <a:pt x="1202" y="0"/>
                    <a:pt x="1202" y="0"/>
                    <a:pt x="1202" y="0"/>
                  </a:cubicBezTo>
                  <a:cubicBezTo>
                    <a:pt x="1206" y="0"/>
                    <a:pt x="1208" y="2"/>
                    <a:pt x="1208" y="6"/>
                  </a:cubicBezTo>
                  <a:cubicBezTo>
                    <a:pt x="1208" y="9"/>
                    <a:pt x="1206" y="12"/>
                    <a:pt x="1202" y="12"/>
                  </a:cubicBezTo>
                  <a:close/>
                  <a:moveTo>
                    <a:pt x="1146" y="12"/>
                  </a:moveTo>
                  <a:cubicBezTo>
                    <a:pt x="1122" y="12"/>
                    <a:pt x="1122" y="12"/>
                    <a:pt x="1122" y="12"/>
                  </a:cubicBezTo>
                  <a:cubicBezTo>
                    <a:pt x="1119" y="12"/>
                    <a:pt x="1116" y="9"/>
                    <a:pt x="1116" y="6"/>
                  </a:cubicBezTo>
                  <a:cubicBezTo>
                    <a:pt x="1116" y="2"/>
                    <a:pt x="1119" y="0"/>
                    <a:pt x="1122" y="0"/>
                  </a:cubicBezTo>
                  <a:cubicBezTo>
                    <a:pt x="1146" y="0"/>
                    <a:pt x="1146" y="0"/>
                    <a:pt x="1146" y="0"/>
                  </a:cubicBezTo>
                  <a:cubicBezTo>
                    <a:pt x="1150" y="0"/>
                    <a:pt x="1152" y="2"/>
                    <a:pt x="1152" y="6"/>
                  </a:cubicBezTo>
                  <a:cubicBezTo>
                    <a:pt x="1152" y="9"/>
                    <a:pt x="1150" y="12"/>
                    <a:pt x="1146" y="12"/>
                  </a:cubicBezTo>
                  <a:close/>
                  <a:moveTo>
                    <a:pt x="1090" y="12"/>
                  </a:moveTo>
                  <a:cubicBezTo>
                    <a:pt x="1066" y="12"/>
                    <a:pt x="1066" y="12"/>
                    <a:pt x="1066" y="12"/>
                  </a:cubicBezTo>
                  <a:cubicBezTo>
                    <a:pt x="1063" y="12"/>
                    <a:pt x="1060" y="9"/>
                    <a:pt x="1060" y="6"/>
                  </a:cubicBezTo>
                  <a:cubicBezTo>
                    <a:pt x="1060" y="2"/>
                    <a:pt x="1063" y="0"/>
                    <a:pt x="1066" y="0"/>
                  </a:cubicBezTo>
                  <a:cubicBezTo>
                    <a:pt x="1090" y="0"/>
                    <a:pt x="1090" y="0"/>
                    <a:pt x="1090" y="0"/>
                  </a:cubicBezTo>
                  <a:cubicBezTo>
                    <a:pt x="1094" y="0"/>
                    <a:pt x="1096" y="2"/>
                    <a:pt x="1096" y="6"/>
                  </a:cubicBezTo>
                  <a:cubicBezTo>
                    <a:pt x="1096" y="9"/>
                    <a:pt x="1094" y="12"/>
                    <a:pt x="1090" y="12"/>
                  </a:cubicBezTo>
                  <a:close/>
                  <a:moveTo>
                    <a:pt x="1034" y="12"/>
                  </a:moveTo>
                  <a:cubicBezTo>
                    <a:pt x="1010" y="12"/>
                    <a:pt x="1010" y="12"/>
                    <a:pt x="1010" y="12"/>
                  </a:cubicBezTo>
                  <a:cubicBezTo>
                    <a:pt x="1007" y="12"/>
                    <a:pt x="1004" y="9"/>
                    <a:pt x="1004" y="6"/>
                  </a:cubicBezTo>
                  <a:cubicBezTo>
                    <a:pt x="1004" y="2"/>
                    <a:pt x="1007" y="0"/>
                    <a:pt x="1010" y="0"/>
                  </a:cubicBezTo>
                  <a:cubicBezTo>
                    <a:pt x="1034" y="0"/>
                    <a:pt x="1034" y="0"/>
                    <a:pt x="1034" y="0"/>
                  </a:cubicBezTo>
                  <a:cubicBezTo>
                    <a:pt x="1038" y="0"/>
                    <a:pt x="1040" y="2"/>
                    <a:pt x="1040" y="6"/>
                  </a:cubicBezTo>
                  <a:cubicBezTo>
                    <a:pt x="1040" y="9"/>
                    <a:pt x="1038" y="12"/>
                    <a:pt x="1034" y="12"/>
                  </a:cubicBezTo>
                  <a:close/>
                  <a:moveTo>
                    <a:pt x="978" y="12"/>
                  </a:moveTo>
                  <a:cubicBezTo>
                    <a:pt x="954" y="12"/>
                    <a:pt x="954" y="12"/>
                    <a:pt x="954" y="12"/>
                  </a:cubicBezTo>
                  <a:cubicBezTo>
                    <a:pt x="951" y="12"/>
                    <a:pt x="948" y="9"/>
                    <a:pt x="948" y="6"/>
                  </a:cubicBezTo>
                  <a:cubicBezTo>
                    <a:pt x="948" y="2"/>
                    <a:pt x="951" y="0"/>
                    <a:pt x="954" y="0"/>
                  </a:cubicBezTo>
                  <a:cubicBezTo>
                    <a:pt x="978" y="0"/>
                    <a:pt x="978" y="0"/>
                    <a:pt x="978" y="0"/>
                  </a:cubicBezTo>
                  <a:cubicBezTo>
                    <a:pt x="982" y="0"/>
                    <a:pt x="984" y="2"/>
                    <a:pt x="984" y="6"/>
                  </a:cubicBezTo>
                  <a:cubicBezTo>
                    <a:pt x="984" y="9"/>
                    <a:pt x="982" y="12"/>
                    <a:pt x="978" y="12"/>
                  </a:cubicBezTo>
                  <a:close/>
                  <a:moveTo>
                    <a:pt x="922" y="12"/>
                  </a:moveTo>
                  <a:cubicBezTo>
                    <a:pt x="898" y="12"/>
                    <a:pt x="898" y="12"/>
                    <a:pt x="898" y="12"/>
                  </a:cubicBezTo>
                  <a:cubicBezTo>
                    <a:pt x="895" y="12"/>
                    <a:pt x="892" y="9"/>
                    <a:pt x="892" y="6"/>
                  </a:cubicBezTo>
                  <a:cubicBezTo>
                    <a:pt x="892" y="2"/>
                    <a:pt x="895" y="0"/>
                    <a:pt x="898" y="0"/>
                  </a:cubicBezTo>
                  <a:cubicBezTo>
                    <a:pt x="922" y="0"/>
                    <a:pt x="922" y="0"/>
                    <a:pt x="922" y="0"/>
                  </a:cubicBezTo>
                  <a:cubicBezTo>
                    <a:pt x="926" y="0"/>
                    <a:pt x="928" y="2"/>
                    <a:pt x="928" y="6"/>
                  </a:cubicBezTo>
                  <a:cubicBezTo>
                    <a:pt x="928" y="9"/>
                    <a:pt x="926" y="12"/>
                    <a:pt x="922" y="12"/>
                  </a:cubicBezTo>
                  <a:close/>
                  <a:moveTo>
                    <a:pt x="866" y="12"/>
                  </a:moveTo>
                  <a:cubicBezTo>
                    <a:pt x="842" y="12"/>
                    <a:pt x="842" y="12"/>
                    <a:pt x="842" y="12"/>
                  </a:cubicBezTo>
                  <a:cubicBezTo>
                    <a:pt x="839" y="12"/>
                    <a:pt x="836" y="9"/>
                    <a:pt x="836" y="6"/>
                  </a:cubicBezTo>
                  <a:cubicBezTo>
                    <a:pt x="836" y="2"/>
                    <a:pt x="839" y="0"/>
                    <a:pt x="842" y="0"/>
                  </a:cubicBezTo>
                  <a:cubicBezTo>
                    <a:pt x="866" y="0"/>
                    <a:pt x="866" y="0"/>
                    <a:pt x="866" y="0"/>
                  </a:cubicBezTo>
                  <a:cubicBezTo>
                    <a:pt x="870" y="0"/>
                    <a:pt x="872" y="2"/>
                    <a:pt x="872" y="6"/>
                  </a:cubicBezTo>
                  <a:cubicBezTo>
                    <a:pt x="872" y="9"/>
                    <a:pt x="870" y="12"/>
                    <a:pt x="866" y="12"/>
                  </a:cubicBezTo>
                  <a:close/>
                  <a:moveTo>
                    <a:pt x="810" y="12"/>
                  </a:moveTo>
                  <a:cubicBezTo>
                    <a:pt x="786" y="12"/>
                    <a:pt x="786" y="12"/>
                    <a:pt x="786" y="12"/>
                  </a:cubicBezTo>
                  <a:cubicBezTo>
                    <a:pt x="783" y="12"/>
                    <a:pt x="780" y="9"/>
                    <a:pt x="780" y="6"/>
                  </a:cubicBezTo>
                  <a:cubicBezTo>
                    <a:pt x="780" y="2"/>
                    <a:pt x="783" y="0"/>
                    <a:pt x="786" y="0"/>
                  </a:cubicBezTo>
                  <a:cubicBezTo>
                    <a:pt x="810" y="0"/>
                    <a:pt x="810" y="0"/>
                    <a:pt x="810" y="0"/>
                  </a:cubicBezTo>
                  <a:cubicBezTo>
                    <a:pt x="814" y="0"/>
                    <a:pt x="816" y="2"/>
                    <a:pt x="816" y="6"/>
                  </a:cubicBezTo>
                  <a:cubicBezTo>
                    <a:pt x="816" y="9"/>
                    <a:pt x="814" y="12"/>
                    <a:pt x="810" y="12"/>
                  </a:cubicBezTo>
                  <a:close/>
                  <a:moveTo>
                    <a:pt x="754" y="12"/>
                  </a:moveTo>
                  <a:cubicBezTo>
                    <a:pt x="730" y="12"/>
                    <a:pt x="730" y="12"/>
                    <a:pt x="730" y="12"/>
                  </a:cubicBezTo>
                  <a:cubicBezTo>
                    <a:pt x="727" y="12"/>
                    <a:pt x="724" y="9"/>
                    <a:pt x="724" y="6"/>
                  </a:cubicBezTo>
                  <a:cubicBezTo>
                    <a:pt x="724" y="2"/>
                    <a:pt x="727" y="0"/>
                    <a:pt x="730" y="0"/>
                  </a:cubicBezTo>
                  <a:cubicBezTo>
                    <a:pt x="754" y="0"/>
                    <a:pt x="754" y="0"/>
                    <a:pt x="754" y="0"/>
                  </a:cubicBezTo>
                  <a:cubicBezTo>
                    <a:pt x="758" y="0"/>
                    <a:pt x="760" y="2"/>
                    <a:pt x="760" y="6"/>
                  </a:cubicBezTo>
                  <a:cubicBezTo>
                    <a:pt x="760" y="9"/>
                    <a:pt x="758" y="12"/>
                    <a:pt x="754" y="12"/>
                  </a:cubicBezTo>
                  <a:close/>
                  <a:moveTo>
                    <a:pt x="698" y="12"/>
                  </a:moveTo>
                  <a:cubicBezTo>
                    <a:pt x="674" y="12"/>
                    <a:pt x="674" y="12"/>
                    <a:pt x="674" y="12"/>
                  </a:cubicBezTo>
                  <a:cubicBezTo>
                    <a:pt x="671" y="12"/>
                    <a:pt x="668" y="9"/>
                    <a:pt x="668" y="6"/>
                  </a:cubicBezTo>
                  <a:cubicBezTo>
                    <a:pt x="668" y="2"/>
                    <a:pt x="671" y="0"/>
                    <a:pt x="674" y="0"/>
                  </a:cubicBezTo>
                  <a:cubicBezTo>
                    <a:pt x="698" y="0"/>
                    <a:pt x="698" y="0"/>
                    <a:pt x="698" y="0"/>
                  </a:cubicBezTo>
                  <a:cubicBezTo>
                    <a:pt x="702" y="0"/>
                    <a:pt x="704" y="2"/>
                    <a:pt x="704" y="6"/>
                  </a:cubicBezTo>
                  <a:cubicBezTo>
                    <a:pt x="704" y="9"/>
                    <a:pt x="702" y="12"/>
                    <a:pt x="698" y="12"/>
                  </a:cubicBezTo>
                  <a:close/>
                  <a:moveTo>
                    <a:pt x="642" y="12"/>
                  </a:moveTo>
                  <a:cubicBezTo>
                    <a:pt x="618" y="12"/>
                    <a:pt x="618" y="12"/>
                    <a:pt x="618" y="12"/>
                  </a:cubicBezTo>
                  <a:cubicBezTo>
                    <a:pt x="615" y="12"/>
                    <a:pt x="612" y="9"/>
                    <a:pt x="612" y="6"/>
                  </a:cubicBezTo>
                  <a:cubicBezTo>
                    <a:pt x="612" y="2"/>
                    <a:pt x="615" y="0"/>
                    <a:pt x="618" y="0"/>
                  </a:cubicBezTo>
                  <a:cubicBezTo>
                    <a:pt x="642" y="0"/>
                    <a:pt x="642" y="0"/>
                    <a:pt x="642" y="0"/>
                  </a:cubicBezTo>
                  <a:cubicBezTo>
                    <a:pt x="646" y="0"/>
                    <a:pt x="648" y="2"/>
                    <a:pt x="648" y="6"/>
                  </a:cubicBezTo>
                  <a:cubicBezTo>
                    <a:pt x="648" y="9"/>
                    <a:pt x="646" y="12"/>
                    <a:pt x="642" y="12"/>
                  </a:cubicBezTo>
                  <a:close/>
                  <a:moveTo>
                    <a:pt x="586" y="12"/>
                  </a:moveTo>
                  <a:cubicBezTo>
                    <a:pt x="562" y="12"/>
                    <a:pt x="562" y="12"/>
                    <a:pt x="562" y="12"/>
                  </a:cubicBezTo>
                  <a:cubicBezTo>
                    <a:pt x="559" y="12"/>
                    <a:pt x="556" y="9"/>
                    <a:pt x="556" y="6"/>
                  </a:cubicBezTo>
                  <a:cubicBezTo>
                    <a:pt x="556" y="2"/>
                    <a:pt x="559" y="0"/>
                    <a:pt x="562" y="0"/>
                  </a:cubicBezTo>
                  <a:cubicBezTo>
                    <a:pt x="586" y="0"/>
                    <a:pt x="586" y="0"/>
                    <a:pt x="586" y="0"/>
                  </a:cubicBezTo>
                  <a:cubicBezTo>
                    <a:pt x="590" y="0"/>
                    <a:pt x="592" y="2"/>
                    <a:pt x="592" y="6"/>
                  </a:cubicBezTo>
                  <a:cubicBezTo>
                    <a:pt x="592" y="9"/>
                    <a:pt x="590" y="12"/>
                    <a:pt x="586" y="12"/>
                  </a:cubicBezTo>
                  <a:close/>
                  <a:moveTo>
                    <a:pt x="530" y="12"/>
                  </a:moveTo>
                  <a:cubicBezTo>
                    <a:pt x="506" y="12"/>
                    <a:pt x="506" y="12"/>
                    <a:pt x="506" y="12"/>
                  </a:cubicBezTo>
                  <a:cubicBezTo>
                    <a:pt x="503" y="12"/>
                    <a:pt x="500" y="9"/>
                    <a:pt x="500" y="6"/>
                  </a:cubicBezTo>
                  <a:cubicBezTo>
                    <a:pt x="500" y="2"/>
                    <a:pt x="503" y="0"/>
                    <a:pt x="506" y="0"/>
                  </a:cubicBezTo>
                  <a:cubicBezTo>
                    <a:pt x="530" y="0"/>
                    <a:pt x="530" y="0"/>
                    <a:pt x="530" y="0"/>
                  </a:cubicBezTo>
                  <a:cubicBezTo>
                    <a:pt x="534" y="0"/>
                    <a:pt x="536" y="2"/>
                    <a:pt x="536" y="6"/>
                  </a:cubicBezTo>
                  <a:cubicBezTo>
                    <a:pt x="536" y="9"/>
                    <a:pt x="534" y="12"/>
                    <a:pt x="530" y="12"/>
                  </a:cubicBezTo>
                  <a:close/>
                  <a:moveTo>
                    <a:pt x="474" y="12"/>
                  </a:moveTo>
                  <a:cubicBezTo>
                    <a:pt x="450" y="12"/>
                    <a:pt x="450" y="12"/>
                    <a:pt x="450" y="12"/>
                  </a:cubicBezTo>
                  <a:cubicBezTo>
                    <a:pt x="447" y="12"/>
                    <a:pt x="444" y="9"/>
                    <a:pt x="444" y="6"/>
                  </a:cubicBezTo>
                  <a:cubicBezTo>
                    <a:pt x="444" y="2"/>
                    <a:pt x="447" y="0"/>
                    <a:pt x="450" y="0"/>
                  </a:cubicBezTo>
                  <a:cubicBezTo>
                    <a:pt x="474" y="0"/>
                    <a:pt x="474" y="0"/>
                    <a:pt x="474" y="0"/>
                  </a:cubicBezTo>
                  <a:cubicBezTo>
                    <a:pt x="478" y="0"/>
                    <a:pt x="480" y="2"/>
                    <a:pt x="480" y="6"/>
                  </a:cubicBezTo>
                  <a:cubicBezTo>
                    <a:pt x="480" y="9"/>
                    <a:pt x="478" y="12"/>
                    <a:pt x="474" y="12"/>
                  </a:cubicBezTo>
                  <a:close/>
                  <a:moveTo>
                    <a:pt x="418" y="12"/>
                  </a:moveTo>
                  <a:cubicBezTo>
                    <a:pt x="394" y="12"/>
                    <a:pt x="394" y="12"/>
                    <a:pt x="394" y="12"/>
                  </a:cubicBezTo>
                  <a:cubicBezTo>
                    <a:pt x="391" y="12"/>
                    <a:pt x="388" y="9"/>
                    <a:pt x="388" y="6"/>
                  </a:cubicBezTo>
                  <a:cubicBezTo>
                    <a:pt x="388" y="2"/>
                    <a:pt x="391" y="0"/>
                    <a:pt x="394" y="0"/>
                  </a:cubicBezTo>
                  <a:cubicBezTo>
                    <a:pt x="418" y="0"/>
                    <a:pt x="418" y="0"/>
                    <a:pt x="418" y="0"/>
                  </a:cubicBezTo>
                  <a:cubicBezTo>
                    <a:pt x="422" y="0"/>
                    <a:pt x="424" y="2"/>
                    <a:pt x="424" y="6"/>
                  </a:cubicBezTo>
                  <a:cubicBezTo>
                    <a:pt x="424" y="9"/>
                    <a:pt x="422" y="12"/>
                    <a:pt x="418" y="12"/>
                  </a:cubicBezTo>
                  <a:close/>
                  <a:moveTo>
                    <a:pt x="362" y="12"/>
                  </a:moveTo>
                  <a:cubicBezTo>
                    <a:pt x="338" y="12"/>
                    <a:pt x="338" y="12"/>
                    <a:pt x="338" y="12"/>
                  </a:cubicBezTo>
                  <a:cubicBezTo>
                    <a:pt x="335" y="12"/>
                    <a:pt x="332" y="9"/>
                    <a:pt x="332" y="6"/>
                  </a:cubicBezTo>
                  <a:cubicBezTo>
                    <a:pt x="332" y="2"/>
                    <a:pt x="335" y="0"/>
                    <a:pt x="338" y="0"/>
                  </a:cubicBezTo>
                  <a:cubicBezTo>
                    <a:pt x="362" y="0"/>
                    <a:pt x="362" y="0"/>
                    <a:pt x="362" y="0"/>
                  </a:cubicBezTo>
                  <a:cubicBezTo>
                    <a:pt x="366" y="0"/>
                    <a:pt x="368" y="2"/>
                    <a:pt x="368" y="6"/>
                  </a:cubicBezTo>
                  <a:cubicBezTo>
                    <a:pt x="368" y="9"/>
                    <a:pt x="366" y="12"/>
                    <a:pt x="362" y="12"/>
                  </a:cubicBezTo>
                  <a:close/>
                  <a:moveTo>
                    <a:pt x="306" y="12"/>
                  </a:moveTo>
                  <a:cubicBezTo>
                    <a:pt x="282" y="12"/>
                    <a:pt x="282" y="12"/>
                    <a:pt x="282" y="12"/>
                  </a:cubicBezTo>
                  <a:cubicBezTo>
                    <a:pt x="279" y="12"/>
                    <a:pt x="276" y="9"/>
                    <a:pt x="276" y="6"/>
                  </a:cubicBezTo>
                  <a:cubicBezTo>
                    <a:pt x="276" y="2"/>
                    <a:pt x="279" y="0"/>
                    <a:pt x="282" y="0"/>
                  </a:cubicBezTo>
                  <a:cubicBezTo>
                    <a:pt x="306" y="0"/>
                    <a:pt x="306" y="0"/>
                    <a:pt x="306" y="0"/>
                  </a:cubicBezTo>
                  <a:cubicBezTo>
                    <a:pt x="310" y="0"/>
                    <a:pt x="312" y="2"/>
                    <a:pt x="312" y="6"/>
                  </a:cubicBezTo>
                  <a:cubicBezTo>
                    <a:pt x="312" y="9"/>
                    <a:pt x="310" y="12"/>
                    <a:pt x="306" y="12"/>
                  </a:cubicBezTo>
                  <a:close/>
                  <a:moveTo>
                    <a:pt x="250" y="12"/>
                  </a:moveTo>
                  <a:cubicBezTo>
                    <a:pt x="226" y="12"/>
                    <a:pt x="226" y="12"/>
                    <a:pt x="226" y="12"/>
                  </a:cubicBezTo>
                  <a:cubicBezTo>
                    <a:pt x="223" y="12"/>
                    <a:pt x="220" y="9"/>
                    <a:pt x="220" y="6"/>
                  </a:cubicBezTo>
                  <a:cubicBezTo>
                    <a:pt x="220" y="2"/>
                    <a:pt x="223" y="0"/>
                    <a:pt x="226" y="0"/>
                  </a:cubicBezTo>
                  <a:cubicBezTo>
                    <a:pt x="250" y="0"/>
                    <a:pt x="250" y="0"/>
                    <a:pt x="250" y="0"/>
                  </a:cubicBezTo>
                  <a:cubicBezTo>
                    <a:pt x="254" y="0"/>
                    <a:pt x="256" y="2"/>
                    <a:pt x="256" y="6"/>
                  </a:cubicBezTo>
                  <a:cubicBezTo>
                    <a:pt x="256" y="9"/>
                    <a:pt x="254" y="12"/>
                    <a:pt x="250" y="12"/>
                  </a:cubicBezTo>
                  <a:close/>
                  <a:moveTo>
                    <a:pt x="194" y="12"/>
                  </a:moveTo>
                  <a:cubicBezTo>
                    <a:pt x="170" y="12"/>
                    <a:pt x="170" y="12"/>
                    <a:pt x="170" y="12"/>
                  </a:cubicBezTo>
                  <a:cubicBezTo>
                    <a:pt x="167" y="12"/>
                    <a:pt x="164" y="9"/>
                    <a:pt x="164" y="6"/>
                  </a:cubicBezTo>
                  <a:cubicBezTo>
                    <a:pt x="164" y="2"/>
                    <a:pt x="167" y="0"/>
                    <a:pt x="170" y="0"/>
                  </a:cubicBezTo>
                  <a:cubicBezTo>
                    <a:pt x="194" y="0"/>
                    <a:pt x="194" y="0"/>
                    <a:pt x="194" y="0"/>
                  </a:cubicBezTo>
                  <a:cubicBezTo>
                    <a:pt x="198" y="0"/>
                    <a:pt x="200" y="2"/>
                    <a:pt x="200" y="6"/>
                  </a:cubicBezTo>
                  <a:cubicBezTo>
                    <a:pt x="200" y="9"/>
                    <a:pt x="198" y="12"/>
                    <a:pt x="194" y="12"/>
                  </a:cubicBezTo>
                  <a:close/>
                  <a:moveTo>
                    <a:pt x="138" y="12"/>
                  </a:moveTo>
                  <a:cubicBezTo>
                    <a:pt x="114" y="12"/>
                    <a:pt x="114" y="12"/>
                    <a:pt x="114" y="12"/>
                  </a:cubicBezTo>
                  <a:cubicBezTo>
                    <a:pt x="111" y="12"/>
                    <a:pt x="108" y="9"/>
                    <a:pt x="108" y="6"/>
                  </a:cubicBezTo>
                  <a:cubicBezTo>
                    <a:pt x="108" y="2"/>
                    <a:pt x="111" y="0"/>
                    <a:pt x="114" y="0"/>
                  </a:cubicBezTo>
                  <a:cubicBezTo>
                    <a:pt x="138" y="0"/>
                    <a:pt x="138" y="0"/>
                    <a:pt x="138" y="0"/>
                  </a:cubicBezTo>
                  <a:cubicBezTo>
                    <a:pt x="142" y="0"/>
                    <a:pt x="144" y="2"/>
                    <a:pt x="144" y="6"/>
                  </a:cubicBezTo>
                  <a:cubicBezTo>
                    <a:pt x="144" y="9"/>
                    <a:pt x="142" y="12"/>
                    <a:pt x="138" y="12"/>
                  </a:cubicBezTo>
                  <a:close/>
                  <a:moveTo>
                    <a:pt x="82" y="12"/>
                  </a:moveTo>
                  <a:cubicBezTo>
                    <a:pt x="58" y="12"/>
                    <a:pt x="58" y="12"/>
                    <a:pt x="58" y="12"/>
                  </a:cubicBezTo>
                  <a:cubicBezTo>
                    <a:pt x="55" y="12"/>
                    <a:pt x="52" y="9"/>
                    <a:pt x="52" y="6"/>
                  </a:cubicBezTo>
                  <a:cubicBezTo>
                    <a:pt x="52" y="2"/>
                    <a:pt x="55" y="0"/>
                    <a:pt x="58" y="0"/>
                  </a:cubicBezTo>
                  <a:cubicBezTo>
                    <a:pt x="82" y="0"/>
                    <a:pt x="82" y="0"/>
                    <a:pt x="82" y="0"/>
                  </a:cubicBezTo>
                  <a:cubicBezTo>
                    <a:pt x="86" y="0"/>
                    <a:pt x="88" y="2"/>
                    <a:pt x="88" y="6"/>
                  </a:cubicBezTo>
                  <a:cubicBezTo>
                    <a:pt x="88" y="9"/>
                    <a:pt x="86" y="12"/>
                    <a:pt x="82" y="12"/>
                  </a:cubicBezTo>
                  <a:close/>
                  <a:moveTo>
                    <a:pt x="26" y="12"/>
                  </a:moveTo>
                  <a:cubicBezTo>
                    <a:pt x="6" y="12"/>
                    <a:pt x="6" y="12"/>
                    <a:pt x="6" y="12"/>
                  </a:cubicBezTo>
                  <a:cubicBezTo>
                    <a:pt x="3" y="12"/>
                    <a:pt x="0" y="9"/>
                    <a:pt x="0" y="6"/>
                  </a:cubicBezTo>
                  <a:cubicBezTo>
                    <a:pt x="0" y="2"/>
                    <a:pt x="3" y="0"/>
                    <a:pt x="6" y="0"/>
                  </a:cubicBezTo>
                  <a:cubicBezTo>
                    <a:pt x="26" y="0"/>
                    <a:pt x="26" y="0"/>
                    <a:pt x="26" y="0"/>
                  </a:cubicBezTo>
                  <a:cubicBezTo>
                    <a:pt x="30" y="0"/>
                    <a:pt x="32" y="2"/>
                    <a:pt x="32" y="6"/>
                  </a:cubicBezTo>
                  <a:cubicBezTo>
                    <a:pt x="32" y="9"/>
                    <a:pt x="30"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Freeform 13">
            <a:extLst>
              <a:ext uri="{FF2B5EF4-FFF2-40B4-BE49-F238E27FC236}">
                <a16:creationId xmlns:a16="http://schemas.microsoft.com/office/drawing/2014/main" id="{50E4C18D-E120-41F6-9E5A-44C715EA0246}"/>
              </a:ext>
            </a:extLst>
          </p:cNvPr>
          <p:cNvSpPr>
            <a:spLocks/>
          </p:cNvSpPr>
          <p:nvPr/>
        </p:nvSpPr>
        <p:spPr bwMode="auto">
          <a:xfrm>
            <a:off x="3453130" y="5085752"/>
            <a:ext cx="1814531" cy="209041"/>
          </a:xfrm>
          <a:custGeom>
            <a:avLst/>
            <a:gdLst>
              <a:gd name="T0" fmla="*/ 471 w 476"/>
              <a:gd name="T1" fmla="*/ 21 h 52"/>
              <a:gd name="T2" fmla="*/ 18 w 476"/>
              <a:gd name="T3" fmla="*/ 21 h 52"/>
              <a:gd name="T4" fmla="*/ 30 w 476"/>
              <a:gd name="T5" fmla="*/ 10 h 52"/>
              <a:gd name="T6" fmla="*/ 31 w 476"/>
              <a:gd name="T7" fmla="*/ 3 h 52"/>
              <a:gd name="T8" fmla="*/ 24 w 476"/>
              <a:gd name="T9" fmla="*/ 2 h 52"/>
              <a:gd name="T10" fmla="*/ 1 w 476"/>
              <a:gd name="T11" fmla="*/ 23 h 52"/>
              <a:gd name="T12" fmla="*/ 0 w 476"/>
              <a:gd name="T13" fmla="*/ 26 h 52"/>
              <a:gd name="T14" fmla="*/ 1 w 476"/>
              <a:gd name="T15" fmla="*/ 30 h 52"/>
              <a:gd name="T16" fmla="*/ 24 w 476"/>
              <a:gd name="T17" fmla="*/ 51 h 52"/>
              <a:gd name="T18" fmla="*/ 27 w 476"/>
              <a:gd name="T19" fmla="*/ 52 h 52"/>
              <a:gd name="T20" fmla="*/ 31 w 476"/>
              <a:gd name="T21" fmla="*/ 51 h 52"/>
              <a:gd name="T22" fmla="*/ 30 w 476"/>
              <a:gd name="T23" fmla="*/ 43 h 52"/>
              <a:gd name="T24" fmla="*/ 17 w 476"/>
              <a:gd name="T25" fmla="*/ 31 h 52"/>
              <a:gd name="T26" fmla="*/ 471 w 476"/>
              <a:gd name="T27" fmla="*/ 31 h 52"/>
              <a:gd name="T28" fmla="*/ 476 w 476"/>
              <a:gd name="T29" fmla="*/ 26 h 52"/>
              <a:gd name="T30" fmla="*/ 471 w 476"/>
              <a:gd name="T31"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6" h="52">
                <a:moveTo>
                  <a:pt x="471" y="21"/>
                </a:moveTo>
                <a:cubicBezTo>
                  <a:pt x="18" y="21"/>
                  <a:pt x="18" y="21"/>
                  <a:pt x="18" y="21"/>
                </a:cubicBezTo>
                <a:cubicBezTo>
                  <a:pt x="30" y="10"/>
                  <a:pt x="30" y="10"/>
                  <a:pt x="30" y="10"/>
                </a:cubicBezTo>
                <a:cubicBezTo>
                  <a:pt x="32" y="8"/>
                  <a:pt x="33" y="5"/>
                  <a:pt x="31" y="3"/>
                </a:cubicBezTo>
                <a:cubicBezTo>
                  <a:pt x="29" y="1"/>
                  <a:pt x="26" y="0"/>
                  <a:pt x="24" y="2"/>
                </a:cubicBezTo>
                <a:cubicBezTo>
                  <a:pt x="1" y="23"/>
                  <a:pt x="1" y="23"/>
                  <a:pt x="1" y="23"/>
                </a:cubicBezTo>
                <a:cubicBezTo>
                  <a:pt x="1" y="24"/>
                  <a:pt x="0" y="25"/>
                  <a:pt x="0" y="26"/>
                </a:cubicBezTo>
                <a:cubicBezTo>
                  <a:pt x="0" y="28"/>
                  <a:pt x="1" y="29"/>
                  <a:pt x="1" y="30"/>
                </a:cubicBezTo>
                <a:cubicBezTo>
                  <a:pt x="24" y="51"/>
                  <a:pt x="24" y="51"/>
                  <a:pt x="24" y="51"/>
                </a:cubicBezTo>
                <a:cubicBezTo>
                  <a:pt x="25" y="52"/>
                  <a:pt x="26" y="52"/>
                  <a:pt x="27" y="52"/>
                </a:cubicBezTo>
                <a:cubicBezTo>
                  <a:pt x="29" y="52"/>
                  <a:pt x="30" y="52"/>
                  <a:pt x="31" y="51"/>
                </a:cubicBezTo>
                <a:cubicBezTo>
                  <a:pt x="33" y="48"/>
                  <a:pt x="32" y="45"/>
                  <a:pt x="30" y="43"/>
                </a:cubicBezTo>
                <a:cubicBezTo>
                  <a:pt x="17" y="31"/>
                  <a:pt x="17" y="31"/>
                  <a:pt x="17" y="31"/>
                </a:cubicBezTo>
                <a:cubicBezTo>
                  <a:pt x="471" y="31"/>
                  <a:pt x="471" y="31"/>
                  <a:pt x="471" y="31"/>
                </a:cubicBezTo>
                <a:cubicBezTo>
                  <a:pt x="474" y="31"/>
                  <a:pt x="476" y="29"/>
                  <a:pt x="476" y="26"/>
                </a:cubicBezTo>
                <a:cubicBezTo>
                  <a:pt x="476" y="23"/>
                  <a:pt x="474" y="21"/>
                  <a:pt x="471"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TextBox 38">
            <a:extLst>
              <a:ext uri="{FF2B5EF4-FFF2-40B4-BE49-F238E27FC236}">
                <a16:creationId xmlns:a16="http://schemas.microsoft.com/office/drawing/2014/main" id="{5D1DCAF3-754F-4F8D-921D-8B63FBFB8F3C}"/>
              </a:ext>
            </a:extLst>
          </p:cNvPr>
          <p:cNvSpPr txBox="1"/>
          <p:nvPr/>
        </p:nvSpPr>
        <p:spPr>
          <a:xfrm>
            <a:off x="5239078" y="5035665"/>
            <a:ext cx="4501270"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spc="140">
                <a:solidFill>
                  <a:schemeClr val="bg1"/>
                </a:solidFill>
                <a:latin typeface="Arial Narrow" charset="0"/>
              </a:rPr>
              <a:t>DIRECTION OF TRAVEL DURING APPLICATION</a:t>
            </a:r>
          </a:p>
        </p:txBody>
      </p:sp>
      <p:grpSp>
        <p:nvGrpSpPr>
          <p:cNvPr id="55" name="Group 54">
            <a:extLst>
              <a:ext uri="{FF2B5EF4-FFF2-40B4-BE49-F238E27FC236}">
                <a16:creationId xmlns:a16="http://schemas.microsoft.com/office/drawing/2014/main" id="{B48C63D3-FC40-47DB-987C-2AEA87BAB979}"/>
              </a:ext>
            </a:extLst>
          </p:cNvPr>
          <p:cNvGrpSpPr/>
          <p:nvPr/>
        </p:nvGrpSpPr>
        <p:grpSpPr>
          <a:xfrm rot="19890228">
            <a:off x="1735509" y="2658237"/>
            <a:ext cx="2255034" cy="407988"/>
            <a:chOff x="7088737" y="2803923"/>
            <a:chExt cx="2255034" cy="407988"/>
          </a:xfrm>
        </p:grpSpPr>
        <p:sp>
          <p:nvSpPr>
            <p:cNvPr id="56" name="Rectangle 55">
              <a:extLst>
                <a:ext uri="{FF2B5EF4-FFF2-40B4-BE49-F238E27FC236}">
                  <a16:creationId xmlns:a16="http://schemas.microsoft.com/office/drawing/2014/main" id="{8F5F57D3-4437-4719-BA8D-3A41CB8D2F6A}"/>
                </a:ext>
              </a:extLst>
            </p:cNvPr>
            <p:cNvSpPr>
              <a:spLocks noChangeArrowheads="1"/>
            </p:cNvSpPr>
            <p:nvPr/>
          </p:nvSpPr>
          <p:spPr bwMode="auto">
            <a:xfrm>
              <a:off x="7088737" y="2909302"/>
              <a:ext cx="7075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eaLnBrk="1" fontAlgn="auto" hangingPunct="1">
                <a:spcBef>
                  <a:spcPts val="0"/>
                </a:spcBef>
                <a:spcAft>
                  <a:spcPts val="0"/>
                </a:spcAft>
                <a:defRPr/>
              </a:pPr>
              <a:r>
                <a:rPr lang="en-US" altLang="en-US" sz="1400" b="1" kern="0" spc="140">
                  <a:solidFill>
                    <a:schemeClr val="bg1"/>
                  </a:solidFill>
                  <a:latin typeface="Arial Narrow" charset="0"/>
                </a:rPr>
                <a:t>3-9 MPH</a:t>
              </a:r>
              <a:endParaRPr lang="en-US" altLang="en-US" sz="1400" b="1" kern="0" spc="140">
                <a:solidFill>
                  <a:schemeClr val="bg1"/>
                </a:solidFill>
                <a:latin typeface="+mj-lt"/>
              </a:endParaRPr>
            </a:p>
          </p:txBody>
        </p:sp>
        <p:grpSp>
          <p:nvGrpSpPr>
            <p:cNvPr id="57" name="Group 56">
              <a:extLst>
                <a:ext uri="{FF2B5EF4-FFF2-40B4-BE49-F238E27FC236}">
                  <a16:creationId xmlns:a16="http://schemas.microsoft.com/office/drawing/2014/main" id="{EC05137D-6DD4-4BC1-8EDE-7E4C9A845ECA}"/>
                </a:ext>
              </a:extLst>
            </p:cNvPr>
            <p:cNvGrpSpPr/>
            <p:nvPr/>
          </p:nvGrpSpPr>
          <p:grpSpPr>
            <a:xfrm flipH="1">
              <a:off x="7807071" y="2803923"/>
              <a:ext cx="1536700" cy="407988"/>
              <a:chOff x="9229726" y="4735513"/>
              <a:chExt cx="1536700" cy="407988"/>
            </a:xfrm>
          </p:grpSpPr>
          <p:sp>
            <p:nvSpPr>
              <p:cNvPr id="58" name="Freeform 97">
                <a:extLst>
                  <a:ext uri="{FF2B5EF4-FFF2-40B4-BE49-F238E27FC236}">
                    <a16:creationId xmlns:a16="http://schemas.microsoft.com/office/drawing/2014/main" id="{9E97B09E-F9E7-4C6F-9C08-AC455B2BDC93}"/>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98">
                <a:extLst>
                  <a:ext uri="{FF2B5EF4-FFF2-40B4-BE49-F238E27FC236}">
                    <a16:creationId xmlns:a16="http://schemas.microsoft.com/office/drawing/2014/main" id="{BEEF82C7-F01C-418E-A3DB-C8ED2B95D7B9}"/>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99">
                <a:extLst>
                  <a:ext uri="{FF2B5EF4-FFF2-40B4-BE49-F238E27FC236}">
                    <a16:creationId xmlns:a16="http://schemas.microsoft.com/office/drawing/2014/main" id="{1F2FFE03-1111-4CB5-A1F5-B1E17F39C9D8}"/>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00">
                <a:extLst>
                  <a:ext uri="{FF2B5EF4-FFF2-40B4-BE49-F238E27FC236}">
                    <a16:creationId xmlns:a16="http://schemas.microsoft.com/office/drawing/2014/main" id="{242BDDD1-D400-47CC-B7D9-86B7C7ABDFC1}"/>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01">
                <a:extLst>
                  <a:ext uri="{FF2B5EF4-FFF2-40B4-BE49-F238E27FC236}">
                    <a16:creationId xmlns:a16="http://schemas.microsoft.com/office/drawing/2014/main" id="{A2E7DC73-3718-4D78-9B42-FE5ABC4C4B14}"/>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2">
                <a:extLst>
                  <a:ext uri="{FF2B5EF4-FFF2-40B4-BE49-F238E27FC236}">
                    <a16:creationId xmlns:a16="http://schemas.microsoft.com/office/drawing/2014/main" id="{FDBAE5FB-6978-45D7-ADD7-EAB81ED1EC1F}"/>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03">
                <a:extLst>
                  <a:ext uri="{FF2B5EF4-FFF2-40B4-BE49-F238E27FC236}">
                    <a16:creationId xmlns:a16="http://schemas.microsoft.com/office/drawing/2014/main" id="{EA733483-57CD-441E-9C55-4616D3E44450}"/>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04">
                <a:extLst>
                  <a:ext uri="{FF2B5EF4-FFF2-40B4-BE49-F238E27FC236}">
                    <a16:creationId xmlns:a16="http://schemas.microsoft.com/office/drawing/2014/main" id="{A04243B7-BA0B-4434-9263-34E894DF8A1A}"/>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05">
                <a:extLst>
                  <a:ext uri="{FF2B5EF4-FFF2-40B4-BE49-F238E27FC236}">
                    <a16:creationId xmlns:a16="http://schemas.microsoft.com/office/drawing/2014/main" id="{419FFB76-7785-4632-8879-A7209D5E146C}"/>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06">
                <a:extLst>
                  <a:ext uri="{FF2B5EF4-FFF2-40B4-BE49-F238E27FC236}">
                    <a16:creationId xmlns:a16="http://schemas.microsoft.com/office/drawing/2014/main" id="{53BE6598-4933-4352-B007-B59ECA076C89}"/>
                  </a:ext>
                </a:extLst>
              </p:cNvPr>
              <p:cNvSpPr>
                <a:spLocks noChangeArrowheads="1"/>
              </p:cNvSpPr>
              <p:nvPr/>
            </p:nvSpPr>
            <p:spPr bwMode="auto">
              <a:xfrm>
                <a:off x="953667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grpSp>
      <p:pic>
        <p:nvPicPr>
          <p:cNvPr id="2" name="Picture 1">
            <a:extLst>
              <a:ext uri="{FF2B5EF4-FFF2-40B4-BE49-F238E27FC236}">
                <a16:creationId xmlns:a16="http://schemas.microsoft.com/office/drawing/2014/main" id="{CAC2256D-4D30-4F11-B303-4EA124297C31}"/>
              </a:ext>
            </a:extLst>
          </p:cNvPr>
          <p:cNvPicPr>
            <a:picLocks noChangeAspect="1"/>
          </p:cNvPicPr>
          <p:nvPr/>
        </p:nvPicPr>
        <p:blipFill>
          <a:blip r:embed="rId4"/>
          <a:stretch>
            <a:fillRect/>
          </a:stretch>
        </p:blipFill>
        <p:spPr>
          <a:xfrm>
            <a:off x="931862" y="6339308"/>
            <a:ext cx="1171575" cy="495300"/>
          </a:xfrm>
          <a:prstGeom prst="rect">
            <a:avLst/>
          </a:prstGeom>
        </p:spPr>
      </p:pic>
      <p:pic>
        <p:nvPicPr>
          <p:cNvPr id="40" name="Picture 39">
            <a:extLst>
              <a:ext uri="{FF2B5EF4-FFF2-40B4-BE49-F238E27FC236}">
                <a16:creationId xmlns:a16="http://schemas.microsoft.com/office/drawing/2014/main" id="{7E977B29-846B-4934-998F-898E1AF49CBA}"/>
              </a:ext>
            </a:extLst>
          </p:cNvPr>
          <p:cNvPicPr>
            <a:picLocks noChangeAspect="1"/>
          </p:cNvPicPr>
          <p:nvPr/>
        </p:nvPicPr>
        <p:blipFill>
          <a:blip r:embed="rId5"/>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83338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93FE0942-69C7-7641-9ADF-D9D80D01C66B}"/>
              </a:ext>
            </a:extLst>
          </p:cNvPr>
          <p:cNvSpPr/>
          <p:nvPr/>
        </p:nvSpPr>
        <p:spPr>
          <a:xfrm>
            <a:off x="9117672" y="1502333"/>
            <a:ext cx="2081774" cy="2430299"/>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Oval 29">
            <a:extLst>
              <a:ext uri="{FF2B5EF4-FFF2-40B4-BE49-F238E27FC236}">
                <a16:creationId xmlns:a16="http://schemas.microsoft.com/office/drawing/2014/main" id="{90C5E25F-2380-EF41-918E-760B7438C30D}"/>
              </a:ext>
            </a:extLst>
          </p:cNvPr>
          <p:cNvSpPr/>
          <p:nvPr/>
        </p:nvSpPr>
        <p:spPr>
          <a:xfrm>
            <a:off x="5050769" y="1502333"/>
            <a:ext cx="2081774" cy="2430299"/>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Oval 30">
            <a:extLst>
              <a:ext uri="{FF2B5EF4-FFF2-40B4-BE49-F238E27FC236}">
                <a16:creationId xmlns:a16="http://schemas.microsoft.com/office/drawing/2014/main" id="{9F0D5596-FABD-4846-B0AC-B4FF5A0C3239}"/>
              </a:ext>
            </a:extLst>
          </p:cNvPr>
          <p:cNvSpPr/>
          <p:nvPr/>
        </p:nvSpPr>
        <p:spPr>
          <a:xfrm>
            <a:off x="954290" y="1502333"/>
            <a:ext cx="2081774" cy="2430299"/>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8">
            <a:extLst>
              <a:ext uri="{FF2B5EF4-FFF2-40B4-BE49-F238E27FC236}">
                <a16:creationId xmlns:a16="http://schemas.microsoft.com/office/drawing/2014/main" id="{F42DCF38-B407-9044-A5FE-31A33BA88FBA}"/>
              </a:ext>
            </a:extLst>
          </p:cNvPr>
          <p:cNvSpPr/>
          <p:nvPr/>
        </p:nvSpPr>
        <p:spPr>
          <a:xfrm>
            <a:off x="0" y="3457247"/>
            <a:ext cx="12192000" cy="15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ooter Placeholder 5"/>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p:cNvSpPr>
            <a:spLocks noGrp="1"/>
          </p:cNvSpPr>
          <p:nvPr>
            <p:ph type="sldNum" sz="quarter" idx="16"/>
          </p:nvPr>
        </p:nvSpPr>
        <p:spPr/>
        <p:txBody>
          <a:bodyPr/>
          <a:lstStyle/>
          <a:p>
            <a:pPr lvl="0"/>
            <a:fld id="{5382645D-9DD6-408C-B0EA-C65795F9B1DE}" type="slidenum">
              <a:rPr lang="en-US" noProof="0" smtClean="0"/>
              <a:pPr lvl="0"/>
              <a:t>17</a:t>
            </a:fld>
            <a:endParaRPr lang="en-US" noProof="0"/>
          </a:p>
        </p:txBody>
      </p:sp>
      <p:sp>
        <p:nvSpPr>
          <p:cNvPr id="23" name="Rectangle 22">
            <a:extLst>
              <a:ext uri="{FF2B5EF4-FFF2-40B4-BE49-F238E27FC236}">
                <a16:creationId xmlns:a16="http://schemas.microsoft.com/office/drawing/2014/main" id="{8C7F1D2C-3727-7543-B388-4A4B8161AECA}"/>
              </a:ext>
            </a:extLst>
          </p:cNvPr>
          <p:cNvSpPr/>
          <p:nvPr/>
        </p:nvSpPr>
        <p:spPr>
          <a:xfrm flipV="1">
            <a:off x="0" y="2641718"/>
            <a:ext cx="12192000" cy="9869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4" name="Straight Connector 23">
            <a:extLst>
              <a:ext uri="{FF2B5EF4-FFF2-40B4-BE49-F238E27FC236}">
                <a16:creationId xmlns:a16="http://schemas.microsoft.com/office/drawing/2014/main" id="{E91025DF-7F50-F443-903C-0E13EFD8D27A}"/>
              </a:ext>
            </a:extLst>
          </p:cNvPr>
          <p:cNvCxnSpPr>
            <a:cxnSpLocks/>
          </p:cNvCxnSpPr>
          <p:nvPr/>
        </p:nvCxnSpPr>
        <p:spPr>
          <a:xfrm>
            <a:off x="4058745" y="2524781"/>
            <a:ext cx="0" cy="112674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id="{151595CB-3EB9-BD4D-A738-81970545A25C}"/>
              </a:ext>
            </a:extLst>
          </p:cNvPr>
          <p:cNvSpPr txBox="1">
            <a:spLocks/>
          </p:cNvSpPr>
          <p:nvPr/>
        </p:nvSpPr>
        <p:spPr>
          <a:xfrm>
            <a:off x="4081206" y="2842231"/>
            <a:ext cx="4020901" cy="6463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WIND</a:t>
            </a:r>
            <a:b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b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SPEED</a:t>
            </a:r>
          </a:p>
        </p:txBody>
      </p:sp>
      <p:sp>
        <p:nvSpPr>
          <p:cNvPr id="26" name="Title 1">
            <a:extLst>
              <a:ext uri="{FF2B5EF4-FFF2-40B4-BE49-F238E27FC236}">
                <a16:creationId xmlns:a16="http://schemas.microsoft.com/office/drawing/2014/main" id="{E3D3A8B7-9597-6B4A-93BD-516C8E7E5643}"/>
              </a:ext>
            </a:extLst>
          </p:cNvPr>
          <p:cNvSpPr txBox="1">
            <a:spLocks/>
          </p:cNvSpPr>
          <p:nvPr/>
        </p:nvSpPr>
        <p:spPr>
          <a:xfrm>
            <a:off x="8148109" y="2842231"/>
            <a:ext cx="4020901" cy="6463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GROUND</a:t>
            </a:r>
            <a:b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b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SPEED</a:t>
            </a:r>
          </a:p>
        </p:txBody>
      </p:sp>
      <p:sp>
        <p:nvSpPr>
          <p:cNvPr id="27" name="Title 1">
            <a:extLst>
              <a:ext uri="{FF2B5EF4-FFF2-40B4-BE49-F238E27FC236}">
                <a16:creationId xmlns:a16="http://schemas.microsoft.com/office/drawing/2014/main" id="{3E457AFC-1CDA-7F4C-B56C-8B1594260BD5}"/>
              </a:ext>
            </a:extLst>
          </p:cNvPr>
          <p:cNvSpPr txBox="1">
            <a:spLocks/>
          </p:cNvSpPr>
          <p:nvPr/>
        </p:nvSpPr>
        <p:spPr>
          <a:xfrm>
            <a:off x="-15764" y="2842231"/>
            <a:ext cx="4020901" cy="6463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SPRAY BOOM</a:t>
            </a:r>
            <a:b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b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HEIGHT</a:t>
            </a:r>
          </a:p>
        </p:txBody>
      </p:sp>
      <p:cxnSp>
        <p:nvCxnSpPr>
          <p:cNvPr id="28" name="Straight Connector 27">
            <a:extLst>
              <a:ext uri="{FF2B5EF4-FFF2-40B4-BE49-F238E27FC236}">
                <a16:creationId xmlns:a16="http://schemas.microsoft.com/office/drawing/2014/main" id="{CC448B18-05CE-7249-990F-1E501D2FDCBD}"/>
              </a:ext>
            </a:extLst>
          </p:cNvPr>
          <p:cNvCxnSpPr>
            <a:cxnSpLocks/>
          </p:cNvCxnSpPr>
          <p:nvPr/>
        </p:nvCxnSpPr>
        <p:spPr>
          <a:xfrm>
            <a:off x="8117490" y="2596474"/>
            <a:ext cx="0" cy="105505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8DA2398-F2A8-BD4C-BCCD-276207566F50}"/>
              </a:ext>
            </a:extLst>
          </p:cNvPr>
          <p:cNvSpPr txBox="1"/>
          <p:nvPr/>
        </p:nvSpPr>
        <p:spPr>
          <a:xfrm>
            <a:off x="8537902" y="3834852"/>
            <a:ext cx="3144761" cy="240065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Do not exceed a ground speed of 15 mph</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rPr>
              <a:t/>
            </a:r>
            <a:br>
              <a:rPr kumimoji="0" lang="en-US" sz="1600" b="0" i="0" u="none" strike="noStrike" kern="0" cap="none" spc="0" normalizeH="0" baseline="0" noProof="0">
                <a:ln>
                  <a:noFill/>
                </a:ln>
                <a:solidFill>
                  <a:sysClr val="windowText" lastClr="000000"/>
                </a:solidFill>
                <a:effectLst/>
                <a:uLnTx/>
                <a:uFillTx/>
              </a:rPr>
            </a:br>
            <a:r>
              <a:rPr kumimoji="0" lang="en-US" sz="1600" b="0" i="0" u="none" strike="noStrike" kern="0" cap="none" spc="0" normalizeH="0" baseline="0" noProof="0">
                <a:ln>
                  <a:noFill/>
                </a:ln>
                <a:solidFill>
                  <a:sysClr val="windowText" lastClr="000000"/>
                </a:solidFill>
                <a:effectLst/>
                <a:uLnTx/>
                <a:uFillTx/>
              </a:rPr>
              <a:t>Provided the applicator </a:t>
            </a:r>
            <a:br>
              <a:rPr kumimoji="0" lang="en-US" sz="1600" b="0" i="0" u="none" strike="noStrike" kern="0" cap="none" spc="0" normalizeH="0" baseline="0" noProof="0">
                <a:ln>
                  <a:noFill/>
                </a:ln>
                <a:solidFill>
                  <a:sysClr val="windowText" lastClr="000000"/>
                </a:solidFill>
                <a:effectLst/>
                <a:uLnTx/>
                <a:uFillTx/>
              </a:rPr>
            </a:br>
            <a:r>
              <a:rPr kumimoji="0" lang="en-US" sz="1600" b="0" i="0" u="none" strike="noStrike" kern="0" cap="none" spc="0" normalizeH="0" baseline="0" noProof="0">
                <a:ln>
                  <a:noFill/>
                </a:ln>
                <a:solidFill>
                  <a:sysClr val="windowText" lastClr="000000"/>
                </a:solidFill>
                <a:effectLst/>
                <a:uLnTx/>
                <a:uFillTx/>
              </a:rPr>
              <a:t>can maintain the required nozzle pressure, it is recommended that tractor speed is reduced to 5 </a:t>
            </a:r>
            <a:r>
              <a:rPr lang="en-US" sz="1600" kern="0">
                <a:solidFill>
                  <a:sysClr val="windowText" lastClr="000000"/>
                </a:solidFill>
              </a:rPr>
              <a:t>mph </a:t>
            </a:r>
            <a:r>
              <a:rPr kumimoji="0" lang="en-US" sz="1600" b="0" i="0" u="none" strike="noStrike" kern="0" cap="none" spc="0" normalizeH="0" baseline="0" noProof="0">
                <a:ln>
                  <a:noFill/>
                </a:ln>
                <a:solidFill>
                  <a:sysClr val="windowText" lastClr="000000"/>
                </a:solidFill>
                <a:effectLst/>
                <a:uLnTx/>
                <a:uFillTx/>
              </a:rPr>
              <a:t>at field edg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TextBox 32">
            <a:extLst>
              <a:ext uri="{FF2B5EF4-FFF2-40B4-BE49-F238E27FC236}">
                <a16:creationId xmlns:a16="http://schemas.microsoft.com/office/drawing/2014/main" id="{823814DB-3318-0A46-AEB2-E3EEBEEAD91E}"/>
              </a:ext>
            </a:extLst>
          </p:cNvPr>
          <p:cNvSpPr txBox="1"/>
          <p:nvPr/>
        </p:nvSpPr>
        <p:spPr>
          <a:xfrm>
            <a:off x="4470999" y="3834852"/>
            <a:ext cx="324131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Apply when wind speeds </a:t>
            </a:r>
            <a:br>
              <a:rPr kumimoji="0" lang="en-US" sz="1800" b="0" i="0" u="none" strike="noStrike" kern="0" cap="none" spc="0" normalizeH="0" baseline="0" noProof="0">
                <a:ln>
                  <a:noFill/>
                </a:ln>
                <a:solidFill>
                  <a:sysClr val="windowText" lastClr="000000"/>
                </a:solidFill>
                <a:effectLst/>
                <a:uLnTx/>
                <a:uFillTx/>
              </a:rPr>
            </a:br>
            <a:r>
              <a:rPr kumimoji="0" lang="en-US" sz="1800" b="0" i="0" u="none" strike="noStrike" kern="0" cap="none" spc="0" normalizeH="0" baseline="0" noProof="0">
                <a:ln>
                  <a:noFill/>
                </a:ln>
                <a:solidFill>
                  <a:sysClr val="windowText" lastClr="000000"/>
                </a:solidFill>
                <a:effectLst/>
                <a:uLnTx/>
                <a:uFillTx/>
              </a:rPr>
              <a:t>are between 3 - 10 mph</a:t>
            </a:r>
          </a:p>
        </p:txBody>
      </p:sp>
      <p:sp>
        <p:nvSpPr>
          <p:cNvPr id="34" name="TextBox 33">
            <a:extLst>
              <a:ext uri="{FF2B5EF4-FFF2-40B4-BE49-F238E27FC236}">
                <a16:creationId xmlns:a16="http://schemas.microsoft.com/office/drawing/2014/main" id="{0295DA8A-120F-BD45-9555-2835D113E6B7}"/>
              </a:ext>
            </a:extLst>
          </p:cNvPr>
          <p:cNvSpPr txBox="1"/>
          <p:nvPr/>
        </p:nvSpPr>
        <p:spPr>
          <a:xfrm>
            <a:off x="374029" y="3834852"/>
            <a:ext cx="3241315"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aximum boom height is 24 inches from target crop </a:t>
            </a:r>
            <a:br>
              <a:rPr kumimoji="0" lang="en-US" sz="1800" b="0" i="0" u="none" strike="noStrike" kern="0" cap="none" spc="0" normalizeH="0" baseline="0" noProof="0">
                <a:ln>
                  <a:noFill/>
                </a:ln>
                <a:solidFill>
                  <a:sysClr val="windowText" lastClr="000000"/>
                </a:solidFill>
                <a:effectLst/>
                <a:uLnTx/>
                <a:uFillTx/>
              </a:rPr>
            </a:br>
            <a:r>
              <a:rPr kumimoji="0" lang="en-US" sz="1800" b="0" i="0" u="none" strike="noStrike" kern="0" cap="none" spc="0" normalizeH="0" baseline="0" noProof="0">
                <a:ln>
                  <a:noFill/>
                </a:ln>
                <a:solidFill>
                  <a:sysClr val="windowText" lastClr="000000"/>
                </a:solidFill>
                <a:effectLst/>
                <a:uLnTx/>
                <a:uFillTx/>
              </a:rPr>
              <a:t>or pest canopy</a:t>
            </a:r>
          </a:p>
        </p:txBody>
      </p:sp>
      <p:cxnSp>
        <p:nvCxnSpPr>
          <p:cNvPr id="38" name="Straight Connector 37">
            <a:extLst>
              <a:ext uri="{FF2B5EF4-FFF2-40B4-BE49-F238E27FC236}">
                <a16:creationId xmlns:a16="http://schemas.microsoft.com/office/drawing/2014/main" id="{69ABFA6E-6363-6540-B817-6219C5E9458D}"/>
              </a:ext>
            </a:extLst>
          </p:cNvPr>
          <p:cNvCxnSpPr>
            <a:cxnSpLocks/>
          </p:cNvCxnSpPr>
          <p:nvPr/>
        </p:nvCxnSpPr>
        <p:spPr>
          <a:xfrm>
            <a:off x="8537902" y="4554527"/>
            <a:ext cx="3031857"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11DB3390-E388-490B-AC98-4FCA9EE18033}"/>
              </a:ext>
            </a:extLst>
          </p:cNvPr>
          <p:cNvGrpSpPr/>
          <p:nvPr/>
        </p:nvGrpSpPr>
        <p:grpSpPr>
          <a:xfrm>
            <a:off x="4058745" y="3618853"/>
            <a:ext cx="4057659" cy="2184396"/>
            <a:chOff x="4058745" y="3834852"/>
            <a:chExt cx="4057659" cy="2434175"/>
          </a:xfrm>
        </p:grpSpPr>
        <p:cxnSp>
          <p:nvCxnSpPr>
            <p:cNvPr id="37" name="Straight Connector 36">
              <a:extLst>
                <a:ext uri="{FF2B5EF4-FFF2-40B4-BE49-F238E27FC236}">
                  <a16:creationId xmlns:a16="http://schemas.microsoft.com/office/drawing/2014/main" id="{B09A6B88-4F5A-5446-B319-7104A283C943}"/>
                </a:ext>
              </a:extLst>
            </p:cNvPr>
            <p:cNvCxnSpPr>
              <a:cxnSpLocks/>
            </p:cNvCxnSpPr>
            <p:nvPr/>
          </p:nvCxnSpPr>
          <p:spPr>
            <a:xfrm>
              <a:off x="8116404" y="3834852"/>
              <a:ext cx="0" cy="2434175"/>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a:extLst>
                <a:ext uri="{FF2B5EF4-FFF2-40B4-BE49-F238E27FC236}">
                  <a16:creationId xmlns:a16="http://schemas.microsoft.com/office/drawing/2014/main" id="{E22668DB-1450-6243-8CB2-C340365372DF}"/>
                </a:ext>
              </a:extLst>
            </p:cNvPr>
            <p:cNvCxnSpPr>
              <a:cxnSpLocks/>
            </p:cNvCxnSpPr>
            <p:nvPr/>
          </p:nvCxnSpPr>
          <p:spPr>
            <a:xfrm>
              <a:off x="4058745" y="3834852"/>
              <a:ext cx="0" cy="2434175"/>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72" name="Group 71">
            <a:extLst>
              <a:ext uri="{FF2B5EF4-FFF2-40B4-BE49-F238E27FC236}">
                <a16:creationId xmlns:a16="http://schemas.microsoft.com/office/drawing/2014/main" id="{1B4CB73D-F3D5-4D74-BD43-B4C202FDE866}"/>
              </a:ext>
            </a:extLst>
          </p:cNvPr>
          <p:cNvGrpSpPr>
            <a:grpSpLocks noChangeAspect="1"/>
          </p:cNvGrpSpPr>
          <p:nvPr/>
        </p:nvGrpSpPr>
        <p:grpSpPr>
          <a:xfrm>
            <a:off x="1382113" y="1853952"/>
            <a:ext cx="1225146" cy="758952"/>
            <a:chOff x="-7148513" y="-4237038"/>
            <a:chExt cx="5786438" cy="3584575"/>
          </a:xfrm>
          <a:solidFill>
            <a:schemeClr val="accent6"/>
          </a:solidFill>
        </p:grpSpPr>
        <p:sp>
          <p:nvSpPr>
            <p:cNvPr id="73" name="Freeform 5">
              <a:extLst>
                <a:ext uri="{FF2B5EF4-FFF2-40B4-BE49-F238E27FC236}">
                  <a16:creationId xmlns:a16="http://schemas.microsoft.com/office/drawing/2014/main" id="{3016827A-9702-4031-B193-F31372A0972E}"/>
                </a:ext>
              </a:extLst>
            </p:cNvPr>
            <p:cNvSpPr>
              <a:spLocks noEditPoints="1"/>
            </p:cNvSpPr>
            <p:nvPr/>
          </p:nvSpPr>
          <p:spPr bwMode="auto">
            <a:xfrm>
              <a:off x="-6634163" y="-4237038"/>
              <a:ext cx="5213350" cy="677863"/>
            </a:xfrm>
            <a:custGeom>
              <a:avLst/>
              <a:gdLst>
                <a:gd name="T0" fmla="*/ 7234 w 7234"/>
                <a:gd name="T1" fmla="*/ 403 h 940"/>
                <a:gd name="T2" fmla="*/ 7234 w 7234"/>
                <a:gd name="T3" fmla="*/ 97 h 940"/>
                <a:gd name="T4" fmla="*/ 7137 w 7234"/>
                <a:gd name="T5" fmla="*/ 0 h 940"/>
                <a:gd name="T6" fmla="*/ 97 w 7234"/>
                <a:gd name="T7" fmla="*/ 0 h 940"/>
                <a:gd name="T8" fmla="*/ 0 w 7234"/>
                <a:gd name="T9" fmla="*/ 97 h 940"/>
                <a:gd name="T10" fmla="*/ 0 w 7234"/>
                <a:gd name="T11" fmla="*/ 403 h 940"/>
                <a:gd name="T12" fmla="*/ 0 w 7234"/>
                <a:gd name="T13" fmla="*/ 533 h 940"/>
                <a:gd name="T14" fmla="*/ 317 w 7234"/>
                <a:gd name="T15" fmla="*/ 935 h 940"/>
                <a:gd name="T16" fmla="*/ 317 w 7234"/>
                <a:gd name="T17" fmla="*/ 729 h 940"/>
                <a:gd name="T18" fmla="*/ 194 w 7234"/>
                <a:gd name="T19" fmla="*/ 533 h 940"/>
                <a:gd name="T20" fmla="*/ 194 w 7234"/>
                <a:gd name="T21" fmla="*/ 500 h 940"/>
                <a:gd name="T22" fmla="*/ 633 w 7234"/>
                <a:gd name="T23" fmla="*/ 500 h 940"/>
                <a:gd name="T24" fmla="*/ 633 w 7234"/>
                <a:gd name="T25" fmla="*/ 533 h 940"/>
                <a:gd name="T26" fmla="*/ 510 w 7234"/>
                <a:gd name="T27" fmla="*/ 729 h 940"/>
                <a:gd name="T28" fmla="*/ 510 w 7234"/>
                <a:gd name="T29" fmla="*/ 935 h 940"/>
                <a:gd name="T30" fmla="*/ 827 w 7234"/>
                <a:gd name="T31" fmla="*/ 533 h 940"/>
                <a:gd name="T32" fmla="*/ 827 w 7234"/>
                <a:gd name="T33" fmla="*/ 500 h 940"/>
                <a:gd name="T34" fmla="*/ 2046 w 7234"/>
                <a:gd name="T35" fmla="*/ 500 h 940"/>
                <a:gd name="T36" fmla="*/ 2046 w 7234"/>
                <a:gd name="T37" fmla="*/ 533 h 940"/>
                <a:gd name="T38" fmla="*/ 2384 w 7234"/>
                <a:gd name="T39" fmla="*/ 939 h 940"/>
                <a:gd name="T40" fmla="*/ 2384 w 7234"/>
                <a:gd name="T41" fmla="*/ 739 h 940"/>
                <a:gd name="T42" fmla="*/ 2304 w 7234"/>
                <a:gd name="T43" fmla="*/ 689 h 940"/>
                <a:gd name="T44" fmla="*/ 2240 w 7234"/>
                <a:gd name="T45" fmla="*/ 533 h 940"/>
                <a:gd name="T46" fmla="*/ 2240 w 7234"/>
                <a:gd name="T47" fmla="*/ 500 h 940"/>
                <a:gd name="T48" fmla="*/ 2680 w 7234"/>
                <a:gd name="T49" fmla="*/ 500 h 940"/>
                <a:gd name="T50" fmla="*/ 2680 w 7234"/>
                <a:gd name="T51" fmla="*/ 533 h 940"/>
                <a:gd name="T52" fmla="*/ 2578 w 7234"/>
                <a:gd name="T53" fmla="*/ 718 h 940"/>
                <a:gd name="T54" fmla="*/ 2578 w 7234"/>
                <a:gd name="T55" fmla="*/ 929 h 940"/>
                <a:gd name="T56" fmla="*/ 2873 w 7234"/>
                <a:gd name="T57" fmla="*/ 533 h 940"/>
                <a:gd name="T58" fmla="*/ 2873 w 7234"/>
                <a:gd name="T59" fmla="*/ 500 h 940"/>
                <a:gd name="T60" fmla="*/ 4092 w 7234"/>
                <a:gd name="T61" fmla="*/ 500 h 940"/>
                <a:gd name="T62" fmla="*/ 4092 w 7234"/>
                <a:gd name="T63" fmla="*/ 533 h 940"/>
                <a:gd name="T64" fmla="*/ 4386 w 7234"/>
                <a:gd name="T65" fmla="*/ 929 h 940"/>
                <a:gd name="T66" fmla="*/ 4386 w 7234"/>
                <a:gd name="T67" fmla="*/ 717 h 940"/>
                <a:gd name="T68" fmla="*/ 4286 w 7234"/>
                <a:gd name="T69" fmla="*/ 533 h 940"/>
                <a:gd name="T70" fmla="*/ 4286 w 7234"/>
                <a:gd name="T71" fmla="*/ 500 h 940"/>
                <a:gd name="T72" fmla="*/ 4726 w 7234"/>
                <a:gd name="T73" fmla="*/ 500 h 940"/>
                <a:gd name="T74" fmla="*/ 4726 w 7234"/>
                <a:gd name="T75" fmla="*/ 533 h 940"/>
                <a:gd name="T76" fmla="*/ 4580 w 7234"/>
                <a:gd name="T77" fmla="*/ 739 h 940"/>
                <a:gd name="T78" fmla="*/ 4580 w 7234"/>
                <a:gd name="T79" fmla="*/ 940 h 940"/>
                <a:gd name="T80" fmla="*/ 4920 w 7234"/>
                <a:gd name="T81" fmla="*/ 533 h 940"/>
                <a:gd name="T82" fmla="*/ 4920 w 7234"/>
                <a:gd name="T83" fmla="*/ 500 h 940"/>
                <a:gd name="T84" fmla="*/ 7137 w 7234"/>
                <a:gd name="T85" fmla="*/ 500 h 940"/>
                <a:gd name="T86" fmla="*/ 7234 w 7234"/>
                <a:gd name="T87" fmla="*/ 403 h 940"/>
                <a:gd name="T88" fmla="*/ 7040 w 7234"/>
                <a:gd name="T89" fmla="*/ 306 h 940"/>
                <a:gd name="T90" fmla="*/ 4823 w 7234"/>
                <a:gd name="T91" fmla="*/ 306 h 940"/>
                <a:gd name="T92" fmla="*/ 4189 w 7234"/>
                <a:gd name="T93" fmla="*/ 306 h 940"/>
                <a:gd name="T94" fmla="*/ 2777 w 7234"/>
                <a:gd name="T95" fmla="*/ 306 h 940"/>
                <a:gd name="T96" fmla="*/ 2143 w 7234"/>
                <a:gd name="T97" fmla="*/ 306 h 940"/>
                <a:gd name="T98" fmla="*/ 730 w 7234"/>
                <a:gd name="T99" fmla="*/ 306 h 940"/>
                <a:gd name="T100" fmla="*/ 194 w 7234"/>
                <a:gd name="T101" fmla="*/ 306 h 940"/>
                <a:gd name="T102" fmla="*/ 194 w 7234"/>
                <a:gd name="T103" fmla="*/ 194 h 940"/>
                <a:gd name="T104" fmla="*/ 7040 w 7234"/>
                <a:gd name="T105" fmla="*/ 194 h 940"/>
                <a:gd name="T106" fmla="*/ 7040 w 7234"/>
                <a:gd name="T107" fmla="*/ 306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34" h="940">
                  <a:moveTo>
                    <a:pt x="7234" y="403"/>
                  </a:moveTo>
                  <a:cubicBezTo>
                    <a:pt x="7234" y="97"/>
                    <a:pt x="7234" y="97"/>
                    <a:pt x="7234" y="97"/>
                  </a:cubicBezTo>
                  <a:cubicBezTo>
                    <a:pt x="7234" y="43"/>
                    <a:pt x="7191" y="0"/>
                    <a:pt x="7137" y="0"/>
                  </a:cubicBezTo>
                  <a:cubicBezTo>
                    <a:pt x="97" y="0"/>
                    <a:pt x="97" y="0"/>
                    <a:pt x="97" y="0"/>
                  </a:cubicBezTo>
                  <a:cubicBezTo>
                    <a:pt x="43" y="0"/>
                    <a:pt x="0" y="43"/>
                    <a:pt x="0" y="97"/>
                  </a:cubicBezTo>
                  <a:cubicBezTo>
                    <a:pt x="0" y="403"/>
                    <a:pt x="0" y="403"/>
                    <a:pt x="0" y="403"/>
                  </a:cubicBezTo>
                  <a:cubicBezTo>
                    <a:pt x="0" y="533"/>
                    <a:pt x="0" y="533"/>
                    <a:pt x="0" y="533"/>
                  </a:cubicBezTo>
                  <a:cubicBezTo>
                    <a:pt x="0" y="728"/>
                    <a:pt x="135" y="891"/>
                    <a:pt x="317" y="935"/>
                  </a:cubicBezTo>
                  <a:cubicBezTo>
                    <a:pt x="317" y="729"/>
                    <a:pt x="317" y="729"/>
                    <a:pt x="317" y="729"/>
                  </a:cubicBezTo>
                  <a:cubicBezTo>
                    <a:pt x="244" y="693"/>
                    <a:pt x="194" y="619"/>
                    <a:pt x="194" y="533"/>
                  </a:cubicBezTo>
                  <a:cubicBezTo>
                    <a:pt x="194" y="500"/>
                    <a:pt x="194" y="500"/>
                    <a:pt x="194" y="500"/>
                  </a:cubicBezTo>
                  <a:cubicBezTo>
                    <a:pt x="633" y="500"/>
                    <a:pt x="633" y="500"/>
                    <a:pt x="633" y="500"/>
                  </a:cubicBezTo>
                  <a:cubicBezTo>
                    <a:pt x="633" y="533"/>
                    <a:pt x="633" y="533"/>
                    <a:pt x="633" y="533"/>
                  </a:cubicBezTo>
                  <a:cubicBezTo>
                    <a:pt x="633" y="619"/>
                    <a:pt x="583" y="693"/>
                    <a:pt x="510" y="729"/>
                  </a:cubicBezTo>
                  <a:cubicBezTo>
                    <a:pt x="510" y="935"/>
                    <a:pt x="510" y="935"/>
                    <a:pt x="510" y="935"/>
                  </a:cubicBezTo>
                  <a:cubicBezTo>
                    <a:pt x="692" y="891"/>
                    <a:pt x="827" y="728"/>
                    <a:pt x="827" y="533"/>
                  </a:cubicBezTo>
                  <a:cubicBezTo>
                    <a:pt x="827" y="500"/>
                    <a:pt x="827" y="500"/>
                    <a:pt x="827" y="500"/>
                  </a:cubicBezTo>
                  <a:cubicBezTo>
                    <a:pt x="2046" y="500"/>
                    <a:pt x="2046" y="500"/>
                    <a:pt x="2046" y="500"/>
                  </a:cubicBezTo>
                  <a:cubicBezTo>
                    <a:pt x="2046" y="533"/>
                    <a:pt x="2046" y="533"/>
                    <a:pt x="2046" y="533"/>
                  </a:cubicBezTo>
                  <a:cubicBezTo>
                    <a:pt x="2046" y="735"/>
                    <a:pt x="2192" y="904"/>
                    <a:pt x="2384" y="939"/>
                  </a:cubicBezTo>
                  <a:cubicBezTo>
                    <a:pt x="2384" y="739"/>
                    <a:pt x="2384" y="739"/>
                    <a:pt x="2384" y="739"/>
                  </a:cubicBezTo>
                  <a:cubicBezTo>
                    <a:pt x="2354" y="728"/>
                    <a:pt x="2327" y="711"/>
                    <a:pt x="2304" y="689"/>
                  </a:cubicBezTo>
                  <a:cubicBezTo>
                    <a:pt x="2263" y="647"/>
                    <a:pt x="2240" y="592"/>
                    <a:pt x="2240" y="533"/>
                  </a:cubicBezTo>
                  <a:cubicBezTo>
                    <a:pt x="2240" y="500"/>
                    <a:pt x="2240" y="500"/>
                    <a:pt x="2240" y="500"/>
                  </a:cubicBezTo>
                  <a:cubicBezTo>
                    <a:pt x="2680" y="500"/>
                    <a:pt x="2680" y="500"/>
                    <a:pt x="2680" y="500"/>
                  </a:cubicBezTo>
                  <a:cubicBezTo>
                    <a:pt x="2680" y="533"/>
                    <a:pt x="2680" y="533"/>
                    <a:pt x="2680" y="533"/>
                  </a:cubicBezTo>
                  <a:cubicBezTo>
                    <a:pt x="2680" y="611"/>
                    <a:pt x="2639" y="679"/>
                    <a:pt x="2578" y="718"/>
                  </a:cubicBezTo>
                  <a:cubicBezTo>
                    <a:pt x="2578" y="929"/>
                    <a:pt x="2578" y="929"/>
                    <a:pt x="2578" y="929"/>
                  </a:cubicBezTo>
                  <a:cubicBezTo>
                    <a:pt x="2748" y="879"/>
                    <a:pt x="2873" y="720"/>
                    <a:pt x="2873" y="533"/>
                  </a:cubicBezTo>
                  <a:cubicBezTo>
                    <a:pt x="2873" y="500"/>
                    <a:pt x="2873" y="500"/>
                    <a:pt x="2873" y="500"/>
                  </a:cubicBezTo>
                  <a:cubicBezTo>
                    <a:pt x="4092" y="500"/>
                    <a:pt x="4092" y="500"/>
                    <a:pt x="4092" y="500"/>
                  </a:cubicBezTo>
                  <a:cubicBezTo>
                    <a:pt x="4092" y="533"/>
                    <a:pt x="4092" y="533"/>
                    <a:pt x="4092" y="533"/>
                  </a:cubicBezTo>
                  <a:cubicBezTo>
                    <a:pt x="4092" y="720"/>
                    <a:pt x="4216" y="877"/>
                    <a:pt x="4386" y="929"/>
                  </a:cubicBezTo>
                  <a:cubicBezTo>
                    <a:pt x="4386" y="717"/>
                    <a:pt x="4386" y="717"/>
                    <a:pt x="4386" y="717"/>
                  </a:cubicBezTo>
                  <a:cubicBezTo>
                    <a:pt x="4326" y="678"/>
                    <a:pt x="4286" y="610"/>
                    <a:pt x="4286" y="533"/>
                  </a:cubicBezTo>
                  <a:cubicBezTo>
                    <a:pt x="4286" y="500"/>
                    <a:pt x="4286" y="500"/>
                    <a:pt x="4286" y="500"/>
                  </a:cubicBezTo>
                  <a:cubicBezTo>
                    <a:pt x="4726" y="500"/>
                    <a:pt x="4726" y="500"/>
                    <a:pt x="4726" y="500"/>
                  </a:cubicBezTo>
                  <a:cubicBezTo>
                    <a:pt x="4726" y="533"/>
                    <a:pt x="4726" y="533"/>
                    <a:pt x="4726" y="533"/>
                  </a:cubicBezTo>
                  <a:cubicBezTo>
                    <a:pt x="4726" y="628"/>
                    <a:pt x="4665" y="709"/>
                    <a:pt x="4580" y="739"/>
                  </a:cubicBezTo>
                  <a:cubicBezTo>
                    <a:pt x="4580" y="940"/>
                    <a:pt x="4580" y="940"/>
                    <a:pt x="4580" y="940"/>
                  </a:cubicBezTo>
                  <a:cubicBezTo>
                    <a:pt x="4773" y="905"/>
                    <a:pt x="4920" y="736"/>
                    <a:pt x="4920" y="533"/>
                  </a:cubicBezTo>
                  <a:cubicBezTo>
                    <a:pt x="4920" y="500"/>
                    <a:pt x="4920" y="500"/>
                    <a:pt x="4920" y="500"/>
                  </a:cubicBezTo>
                  <a:cubicBezTo>
                    <a:pt x="7137" y="500"/>
                    <a:pt x="7137" y="500"/>
                    <a:pt x="7137" y="500"/>
                  </a:cubicBezTo>
                  <a:cubicBezTo>
                    <a:pt x="7191" y="500"/>
                    <a:pt x="7234" y="457"/>
                    <a:pt x="7234" y="403"/>
                  </a:cubicBezTo>
                  <a:close/>
                  <a:moveTo>
                    <a:pt x="7040" y="306"/>
                  </a:moveTo>
                  <a:cubicBezTo>
                    <a:pt x="4823" y="306"/>
                    <a:pt x="4823" y="306"/>
                    <a:pt x="4823" y="306"/>
                  </a:cubicBezTo>
                  <a:cubicBezTo>
                    <a:pt x="4189" y="306"/>
                    <a:pt x="4189" y="306"/>
                    <a:pt x="4189" y="306"/>
                  </a:cubicBezTo>
                  <a:cubicBezTo>
                    <a:pt x="2777" y="306"/>
                    <a:pt x="2777" y="306"/>
                    <a:pt x="2777" y="306"/>
                  </a:cubicBezTo>
                  <a:cubicBezTo>
                    <a:pt x="2143" y="306"/>
                    <a:pt x="2143" y="306"/>
                    <a:pt x="2143" y="306"/>
                  </a:cubicBezTo>
                  <a:cubicBezTo>
                    <a:pt x="730" y="306"/>
                    <a:pt x="730" y="306"/>
                    <a:pt x="730" y="306"/>
                  </a:cubicBezTo>
                  <a:cubicBezTo>
                    <a:pt x="194" y="306"/>
                    <a:pt x="194" y="306"/>
                    <a:pt x="194" y="306"/>
                  </a:cubicBezTo>
                  <a:cubicBezTo>
                    <a:pt x="194" y="194"/>
                    <a:pt x="194" y="194"/>
                    <a:pt x="194" y="194"/>
                  </a:cubicBezTo>
                  <a:cubicBezTo>
                    <a:pt x="7040" y="194"/>
                    <a:pt x="7040" y="194"/>
                    <a:pt x="7040" y="194"/>
                  </a:cubicBezTo>
                  <a:lnTo>
                    <a:pt x="7040" y="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6">
              <a:extLst>
                <a:ext uri="{FF2B5EF4-FFF2-40B4-BE49-F238E27FC236}">
                  <a16:creationId xmlns:a16="http://schemas.microsoft.com/office/drawing/2014/main" id="{FA8193DA-BC4B-46CA-BA68-FF62FC2DFA4C}"/>
                </a:ext>
              </a:extLst>
            </p:cNvPr>
            <p:cNvSpPr>
              <a:spLocks/>
            </p:cNvSpPr>
            <p:nvPr/>
          </p:nvSpPr>
          <p:spPr bwMode="auto">
            <a:xfrm>
              <a:off x="-6405563" y="-3497263"/>
              <a:ext cx="139700" cy="354013"/>
            </a:xfrm>
            <a:custGeom>
              <a:avLst/>
              <a:gdLst>
                <a:gd name="T0" fmla="*/ 96 w 193"/>
                <a:gd name="T1" fmla="*/ 491 h 491"/>
                <a:gd name="T2" fmla="*/ 193 w 193"/>
                <a:gd name="T3" fmla="*/ 394 h 491"/>
                <a:gd name="T4" fmla="*/ 193 w 193"/>
                <a:gd name="T5" fmla="*/ 97 h 491"/>
                <a:gd name="T6" fmla="*/ 96 w 193"/>
                <a:gd name="T7" fmla="*/ 0 h 491"/>
                <a:gd name="T8" fmla="*/ 0 w 193"/>
                <a:gd name="T9" fmla="*/ 97 h 491"/>
                <a:gd name="T10" fmla="*/ 0 w 193"/>
                <a:gd name="T11" fmla="*/ 394 h 491"/>
                <a:gd name="T12" fmla="*/ 96 w 193"/>
                <a:gd name="T13" fmla="*/ 491 h 491"/>
              </a:gdLst>
              <a:ahLst/>
              <a:cxnLst>
                <a:cxn ang="0">
                  <a:pos x="T0" y="T1"/>
                </a:cxn>
                <a:cxn ang="0">
                  <a:pos x="T2" y="T3"/>
                </a:cxn>
                <a:cxn ang="0">
                  <a:pos x="T4" y="T5"/>
                </a:cxn>
                <a:cxn ang="0">
                  <a:pos x="T6" y="T7"/>
                </a:cxn>
                <a:cxn ang="0">
                  <a:pos x="T8" y="T9"/>
                </a:cxn>
                <a:cxn ang="0">
                  <a:pos x="T10" y="T11"/>
                </a:cxn>
                <a:cxn ang="0">
                  <a:pos x="T12" y="T13"/>
                </a:cxn>
              </a:cxnLst>
              <a:rect l="0" t="0" r="r" b="b"/>
              <a:pathLst>
                <a:path w="193" h="491">
                  <a:moveTo>
                    <a:pt x="96" y="491"/>
                  </a:moveTo>
                  <a:cubicBezTo>
                    <a:pt x="150" y="491"/>
                    <a:pt x="193" y="448"/>
                    <a:pt x="193" y="394"/>
                  </a:cubicBezTo>
                  <a:cubicBezTo>
                    <a:pt x="193" y="97"/>
                    <a:pt x="193" y="97"/>
                    <a:pt x="193" y="97"/>
                  </a:cubicBezTo>
                  <a:cubicBezTo>
                    <a:pt x="193" y="44"/>
                    <a:pt x="150" y="0"/>
                    <a:pt x="96" y="0"/>
                  </a:cubicBezTo>
                  <a:cubicBezTo>
                    <a:pt x="43" y="0"/>
                    <a:pt x="0" y="44"/>
                    <a:pt x="0" y="97"/>
                  </a:cubicBezTo>
                  <a:cubicBezTo>
                    <a:pt x="0" y="394"/>
                    <a:pt x="0" y="394"/>
                    <a:pt x="0" y="394"/>
                  </a:cubicBezTo>
                  <a:cubicBezTo>
                    <a:pt x="0" y="448"/>
                    <a:pt x="43" y="491"/>
                    <a:pt x="96"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7">
              <a:extLst>
                <a:ext uri="{FF2B5EF4-FFF2-40B4-BE49-F238E27FC236}">
                  <a16:creationId xmlns:a16="http://schemas.microsoft.com/office/drawing/2014/main" id="{DBBB9B01-3CA3-4F22-9A4B-D7025A528E40}"/>
                </a:ext>
              </a:extLst>
            </p:cNvPr>
            <p:cNvSpPr>
              <a:spLocks/>
            </p:cNvSpPr>
            <p:nvPr/>
          </p:nvSpPr>
          <p:spPr bwMode="auto">
            <a:xfrm>
              <a:off x="-6405563" y="-3044826"/>
              <a:ext cx="139700" cy="354013"/>
            </a:xfrm>
            <a:custGeom>
              <a:avLst/>
              <a:gdLst>
                <a:gd name="T0" fmla="*/ 0 w 193"/>
                <a:gd name="T1" fmla="*/ 394 h 491"/>
                <a:gd name="T2" fmla="*/ 96 w 193"/>
                <a:gd name="T3" fmla="*/ 491 h 491"/>
                <a:gd name="T4" fmla="*/ 193 w 193"/>
                <a:gd name="T5" fmla="*/ 394 h 491"/>
                <a:gd name="T6" fmla="*/ 193 w 193"/>
                <a:gd name="T7" fmla="*/ 97 h 491"/>
                <a:gd name="T8" fmla="*/ 96 w 193"/>
                <a:gd name="T9" fmla="*/ 0 h 491"/>
                <a:gd name="T10" fmla="*/ 0 w 193"/>
                <a:gd name="T11" fmla="*/ 97 h 491"/>
                <a:gd name="T12" fmla="*/ 0 w 193"/>
                <a:gd name="T13" fmla="*/ 394 h 491"/>
              </a:gdLst>
              <a:ahLst/>
              <a:cxnLst>
                <a:cxn ang="0">
                  <a:pos x="T0" y="T1"/>
                </a:cxn>
                <a:cxn ang="0">
                  <a:pos x="T2" y="T3"/>
                </a:cxn>
                <a:cxn ang="0">
                  <a:pos x="T4" y="T5"/>
                </a:cxn>
                <a:cxn ang="0">
                  <a:pos x="T6" y="T7"/>
                </a:cxn>
                <a:cxn ang="0">
                  <a:pos x="T8" y="T9"/>
                </a:cxn>
                <a:cxn ang="0">
                  <a:pos x="T10" y="T11"/>
                </a:cxn>
                <a:cxn ang="0">
                  <a:pos x="T12" y="T13"/>
                </a:cxn>
              </a:cxnLst>
              <a:rect l="0" t="0" r="r" b="b"/>
              <a:pathLst>
                <a:path w="193" h="491">
                  <a:moveTo>
                    <a:pt x="0" y="394"/>
                  </a:moveTo>
                  <a:cubicBezTo>
                    <a:pt x="0" y="448"/>
                    <a:pt x="43" y="491"/>
                    <a:pt x="96" y="491"/>
                  </a:cubicBezTo>
                  <a:cubicBezTo>
                    <a:pt x="150" y="491"/>
                    <a:pt x="193" y="448"/>
                    <a:pt x="193" y="394"/>
                  </a:cubicBezTo>
                  <a:cubicBezTo>
                    <a:pt x="193" y="97"/>
                    <a:pt x="193" y="97"/>
                    <a:pt x="193" y="97"/>
                  </a:cubicBezTo>
                  <a:cubicBezTo>
                    <a:pt x="193" y="43"/>
                    <a:pt x="150" y="0"/>
                    <a:pt x="96" y="0"/>
                  </a:cubicBezTo>
                  <a:cubicBezTo>
                    <a:pt x="43" y="0"/>
                    <a:pt x="0" y="43"/>
                    <a:pt x="0" y="97"/>
                  </a:cubicBezTo>
                  <a:lnTo>
                    <a:pt x="0"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8">
              <a:extLst>
                <a:ext uri="{FF2B5EF4-FFF2-40B4-BE49-F238E27FC236}">
                  <a16:creationId xmlns:a16="http://schemas.microsoft.com/office/drawing/2014/main" id="{330EF8CC-42EA-4F08-A4CC-F486F3B031EA}"/>
                </a:ext>
              </a:extLst>
            </p:cNvPr>
            <p:cNvSpPr>
              <a:spLocks/>
            </p:cNvSpPr>
            <p:nvPr/>
          </p:nvSpPr>
          <p:spPr bwMode="auto">
            <a:xfrm>
              <a:off x="-6805613" y="-3035301"/>
              <a:ext cx="200025" cy="277813"/>
            </a:xfrm>
            <a:custGeom>
              <a:avLst/>
              <a:gdLst>
                <a:gd name="T0" fmla="*/ 78 w 278"/>
                <a:gd name="T1" fmla="*/ 379 h 384"/>
                <a:gd name="T2" fmla="*/ 109 w 278"/>
                <a:gd name="T3" fmla="*/ 384 h 384"/>
                <a:gd name="T4" fmla="*/ 201 w 278"/>
                <a:gd name="T5" fmla="*/ 319 h 384"/>
                <a:gd name="T6" fmla="*/ 261 w 278"/>
                <a:gd name="T7" fmla="*/ 140 h 384"/>
                <a:gd name="T8" fmla="*/ 200 w 278"/>
                <a:gd name="T9" fmla="*/ 17 h 384"/>
                <a:gd name="T10" fmla="*/ 78 w 278"/>
                <a:gd name="T11" fmla="*/ 78 h 384"/>
                <a:gd name="T12" fmla="*/ 17 w 278"/>
                <a:gd name="T13" fmla="*/ 256 h 384"/>
                <a:gd name="T14" fmla="*/ 78 w 278"/>
                <a:gd name="T15" fmla="*/ 379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 h="384">
                  <a:moveTo>
                    <a:pt x="78" y="379"/>
                  </a:moveTo>
                  <a:cubicBezTo>
                    <a:pt x="88" y="383"/>
                    <a:pt x="99" y="384"/>
                    <a:pt x="109" y="384"/>
                  </a:cubicBezTo>
                  <a:cubicBezTo>
                    <a:pt x="149" y="384"/>
                    <a:pt x="187" y="359"/>
                    <a:pt x="201" y="319"/>
                  </a:cubicBezTo>
                  <a:cubicBezTo>
                    <a:pt x="261" y="140"/>
                    <a:pt x="261" y="140"/>
                    <a:pt x="261" y="140"/>
                  </a:cubicBezTo>
                  <a:cubicBezTo>
                    <a:pt x="278" y="89"/>
                    <a:pt x="251" y="34"/>
                    <a:pt x="200" y="17"/>
                  </a:cubicBezTo>
                  <a:cubicBezTo>
                    <a:pt x="150" y="0"/>
                    <a:pt x="95" y="27"/>
                    <a:pt x="78" y="78"/>
                  </a:cubicBezTo>
                  <a:cubicBezTo>
                    <a:pt x="17" y="256"/>
                    <a:pt x="17" y="256"/>
                    <a:pt x="17" y="256"/>
                  </a:cubicBezTo>
                  <a:cubicBezTo>
                    <a:pt x="0" y="307"/>
                    <a:pt x="27" y="362"/>
                    <a:pt x="78"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9">
              <a:extLst>
                <a:ext uri="{FF2B5EF4-FFF2-40B4-BE49-F238E27FC236}">
                  <a16:creationId xmlns:a16="http://schemas.microsoft.com/office/drawing/2014/main" id="{8FDD2E24-6347-4F62-B8F5-D2BF31008398}"/>
                </a:ext>
              </a:extLst>
            </p:cNvPr>
            <p:cNvSpPr>
              <a:spLocks/>
            </p:cNvSpPr>
            <p:nvPr/>
          </p:nvSpPr>
          <p:spPr bwMode="auto">
            <a:xfrm>
              <a:off x="-6686550" y="-3379788"/>
              <a:ext cx="198438" cy="268288"/>
            </a:xfrm>
            <a:custGeom>
              <a:avLst/>
              <a:gdLst>
                <a:gd name="T0" fmla="*/ 78 w 274"/>
                <a:gd name="T1" fmla="*/ 367 h 372"/>
                <a:gd name="T2" fmla="*/ 109 w 274"/>
                <a:gd name="T3" fmla="*/ 372 h 372"/>
                <a:gd name="T4" fmla="*/ 201 w 274"/>
                <a:gd name="T5" fmla="*/ 306 h 372"/>
                <a:gd name="T6" fmla="*/ 257 w 274"/>
                <a:gd name="T7" fmla="*/ 140 h 372"/>
                <a:gd name="T8" fmla="*/ 196 w 274"/>
                <a:gd name="T9" fmla="*/ 17 h 372"/>
                <a:gd name="T10" fmla="*/ 73 w 274"/>
                <a:gd name="T11" fmla="*/ 78 h 372"/>
                <a:gd name="T12" fmla="*/ 17 w 274"/>
                <a:gd name="T13" fmla="*/ 244 h 372"/>
                <a:gd name="T14" fmla="*/ 78 w 274"/>
                <a:gd name="T15" fmla="*/ 367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72">
                  <a:moveTo>
                    <a:pt x="78" y="367"/>
                  </a:moveTo>
                  <a:cubicBezTo>
                    <a:pt x="88" y="370"/>
                    <a:pt x="98" y="372"/>
                    <a:pt x="109" y="372"/>
                  </a:cubicBezTo>
                  <a:cubicBezTo>
                    <a:pt x="149" y="372"/>
                    <a:pt x="187" y="346"/>
                    <a:pt x="201" y="306"/>
                  </a:cubicBezTo>
                  <a:cubicBezTo>
                    <a:pt x="257" y="140"/>
                    <a:pt x="257" y="140"/>
                    <a:pt x="257" y="140"/>
                  </a:cubicBezTo>
                  <a:cubicBezTo>
                    <a:pt x="274" y="89"/>
                    <a:pt x="247" y="34"/>
                    <a:pt x="196" y="17"/>
                  </a:cubicBezTo>
                  <a:cubicBezTo>
                    <a:pt x="145" y="0"/>
                    <a:pt x="90" y="27"/>
                    <a:pt x="73" y="78"/>
                  </a:cubicBezTo>
                  <a:cubicBezTo>
                    <a:pt x="17" y="244"/>
                    <a:pt x="17" y="244"/>
                    <a:pt x="17" y="244"/>
                  </a:cubicBezTo>
                  <a:cubicBezTo>
                    <a:pt x="0" y="294"/>
                    <a:pt x="27" y="349"/>
                    <a:pt x="78" y="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10">
              <a:extLst>
                <a:ext uri="{FF2B5EF4-FFF2-40B4-BE49-F238E27FC236}">
                  <a16:creationId xmlns:a16="http://schemas.microsoft.com/office/drawing/2014/main" id="{6EFBB574-B3E8-4DFC-8898-152B3DC96ADD}"/>
                </a:ext>
              </a:extLst>
            </p:cNvPr>
            <p:cNvSpPr>
              <a:spLocks/>
            </p:cNvSpPr>
            <p:nvPr/>
          </p:nvSpPr>
          <p:spPr bwMode="auto">
            <a:xfrm>
              <a:off x="-6067425" y="-3035301"/>
              <a:ext cx="201613" cy="277813"/>
            </a:xfrm>
            <a:custGeom>
              <a:avLst/>
              <a:gdLst>
                <a:gd name="T0" fmla="*/ 17 w 278"/>
                <a:gd name="T1" fmla="*/ 140 h 384"/>
                <a:gd name="T2" fmla="*/ 77 w 278"/>
                <a:gd name="T3" fmla="*/ 319 h 384"/>
                <a:gd name="T4" fmla="*/ 169 w 278"/>
                <a:gd name="T5" fmla="*/ 384 h 384"/>
                <a:gd name="T6" fmla="*/ 200 w 278"/>
                <a:gd name="T7" fmla="*/ 379 h 384"/>
                <a:gd name="T8" fmla="*/ 261 w 278"/>
                <a:gd name="T9" fmla="*/ 256 h 384"/>
                <a:gd name="T10" fmla="*/ 200 w 278"/>
                <a:gd name="T11" fmla="*/ 78 h 384"/>
                <a:gd name="T12" fmla="*/ 77 w 278"/>
                <a:gd name="T13" fmla="*/ 17 h 384"/>
                <a:gd name="T14" fmla="*/ 17 w 278"/>
                <a:gd name="T15" fmla="*/ 140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 h="384">
                  <a:moveTo>
                    <a:pt x="17" y="140"/>
                  </a:moveTo>
                  <a:cubicBezTo>
                    <a:pt x="77" y="319"/>
                    <a:pt x="77" y="319"/>
                    <a:pt x="77" y="319"/>
                  </a:cubicBezTo>
                  <a:cubicBezTo>
                    <a:pt x="91" y="359"/>
                    <a:pt x="128" y="384"/>
                    <a:pt x="169" y="384"/>
                  </a:cubicBezTo>
                  <a:cubicBezTo>
                    <a:pt x="179" y="384"/>
                    <a:pt x="190" y="383"/>
                    <a:pt x="200" y="379"/>
                  </a:cubicBezTo>
                  <a:cubicBezTo>
                    <a:pt x="251" y="362"/>
                    <a:pt x="278" y="307"/>
                    <a:pt x="261" y="256"/>
                  </a:cubicBezTo>
                  <a:cubicBezTo>
                    <a:pt x="200" y="78"/>
                    <a:pt x="200" y="78"/>
                    <a:pt x="200" y="78"/>
                  </a:cubicBezTo>
                  <a:cubicBezTo>
                    <a:pt x="183" y="27"/>
                    <a:pt x="128" y="0"/>
                    <a:pt x="77" y="17"/>
                  </a:cubicBezTo>
                  <a:cubicBezTo>
                    <a:pt x="27" y="34"/>
                    <a:pt x="0" y="89"/>
                    <a:pt x="17"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11">
              <a:extLst>
                <a:ext uri="{FF2B5EF4-FFF2-40B4-BE49-F238E27FC236}">
                  <a16:creationId xmlns:a16="http://schemas.microsoft.com/office/drawing/2014/main" id="{0E8ED220-AAF6-4330-9C7F-59660A37C689}"/>
                </a:ext>
              </a:extLst>
            </p:cNvPr>
            <p:cNvSpPr>
              <a:spLocks/>
            </p:cNvSpPr>
            <p:nvPr/>
          </p:nvSpPr>
          <p:spPr bwMode="auto">
            <a:xfrm>
              <a:off x="-6183313" y="-3379788"/>
              <a:ext cx="196850" cy="268288"/>
            </a:xfrm>
            <a:custGeom>
              <a:avLst/>
              <a:gdLst>
                <a:gd name="T0" fmla="*/ 201 w 274"/>
                <a:gd name="T1" fmla="*/ 78 h 372"/>
                <a:gd name="T2" fmla="*/ 78 w 274"/>
                <a:gd name="T3" fmla="*/ 17 h 372"/>
                <a:gd name="T4" fmla="*/ 17 w 274"/>
                <a:gd name="T5" fmla="*/ 140 h 372"/>
                <a:gd name="T6" fmla="*/ 73 w 274"/>
                <a:gd name="T7" fmla="*/ 306 h 372"/>
                <a:gd name="T8" fmla="*/ 165 w 274"/>
                <a:gd name="T9" fmla="*/ 372 h 372"/>
                <a:gd name="T10" fmla="*/ 196 w 274"/>
                <a:gd name="T11" fmla="*/ 367 h 372"/>
                <a:gd name="T12" fmla="*/ 257 w 274"/>
                <a:gd name="T13" fmla="*/ 244 h 372"/>
                <a:gd name="T14" fmla="*/ 201 w 274"/>
                <a:gd name="T15" fmla="*/ 78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72">
                  <a:moveTo>
                    <a:pt x="201" y="78"/>
                  </a:moveTo>
                  <a:cubicBezTo>
                    <a:pt x="184" y="27"/>
                    <a:pt x="129" y="0"/>
                    <a:pt x="78" y="17"/>
                  </a:cubicBezTo>
                  <a:cubicBezTo>
                    <a:pt x="27" y="34"/>
                    <a:pt x="0" y="89"/>
                    <a:pt x="17" y="140"/>
                  </a:cubicBezTo>
                  <a:cubicBezTo>
                    <a:pt x="73" y="306"/>
                    <a:pt x="73" y="306"/>
                    <a:pt x="73" y="306"/>
                  </a:cubicBezTo>
                  <a:cubicBezTo>
                    <a:pt x="87" y="346"/>
                    <a:pt x="125" y="372"/>
                    <a:pt x="165" y="372"/>
                  </a:cubicBezTo>
                  <a:cubicBezTo>
                    <a:pt x="175" y="372"/>
                    <a:pt x="186" y="370"/>
                    <a:pt x="196" y="367"/>
                  </a:cubicBezTo>
                  <a:cubicBezTo>
                    <a:pt x="247" y="349"/>
                    <a:pt x="274" y="294"/>
                    <a:pt x="257" y="244"/>
                  </a:cubicBezTo>
                  <a:lnTo>
                    <a:pt x="201"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12">
              <a:extLst>
                <a:ext uri="{FF2B5EF4-FFF2-40B4-BE49-F238E27FC236}">
                  <a16:creationId xmlns:a16="http://schemas.microsoft.com/office/drawing/2014/main" id="{543EF676-A1A8-48B2-8B52-1AA46B1AFA71}"/>
                </a:ext>
              </a:extLst>
            </p:cNvPr>
            <p:cNvSpPr>
              <a:spLocks/>
            </p:cNvSpPr>
            <p:nvPr/>
          </p:nvSpPr>
          <p:spPr bwMode="auto">
            <a:xfrm>
              <a:off x="-4930775" y="-3497263"/>
              <a:ext cx="139700" cy="354013"/>
            </a:xfrm>
            <a:custGeom>
              <a:avLst/>
              <a:gdLst>
                <a:gd name="T0" fmla="*/ 97 w 194"/>
                <a:gd name="T1" fmla="*/ 491 h 491"/>
                <a:gd name="T2" fmla="*/ 194 w 194"/>
                <a:gd name="T3" fmla="*/ 394 h 491"/>
                <a:gd name="T4" fmla="*/ 194 w 194"/>
                <a:gd name="T5" fmla="*/ 97 h 491"/>
                <a:gd name="T6" fmla="*/ 97 w 194"/>
                <a:gd name="T7" fmla="*/ 0 h 491"/>
                <a:gd name="T8" fmla="*/ 0 w 194"/>
                <a:gd name="T9" fmla="*/ 97 h 491"/>
                <a:gd name="T10" fmla="*/ 0 w 194"/>
                <a:gd name="T11" fmla="*/ 394 h 491"/>
                <a:gd name="T12" fmla="*/ 97 w 194"/>
                <a:gd name="T13" fmla="*/ 491 h 491"/>
              </a:gdLst>
              <a:ahLst/>
              <a:cxnLst>
                <a:cxn ang="0">
                  <a:pos x="T0" y="T1"/>
                </a:cxn>
                <a:cxn ang="0">
                  <a:pos x="T2" y="T3"/>
                </a:cxn>
                <a:cxn ang="0">
                  <a:pos x="T4" y="T5"/>
                </a:cxn>
                <a:cxn ang="0">
                  <a:pos x="T6" y="T7"/>
                </a:cxn>
                <a:cxn ang="0">
                  <a:pos x="T8" y="T9"/>
                </a:cxn>
                <a:cxn ang="0">
                  <a:pos x="T10" y="T11"/>
                </a:cxn>
                <a:cxn ang="0">
                  <a:pos x="T12" y="T13"/>
                </a:cxn>
              </a:cxnLst>
              <a:rect l="0" t="0" r="r" b="b"/>
              <a:pathLst>
                <a:path w="194" h="491">
                  <a:moveTo>
                    <a:pt x="97" y="491"/>
                  </a:moveTo>
                  <a:cubicBezTo>
                    <a:pt x="150" y="491"/>
                    <a:pt x="194" y="448"/>
                    <a:pt x="194" y="394"/>
                  </a:cubicBezTo>
                  <a:cubicBezTo>
                    <a:pt x="194" y="97"/>
                    <a:pt x="194" y="97"/>
                    <a:pt x="194" y="97"/>
                  </a:cubicBezTo>
                  <a:cubicBezTo>
                    <a:pt x="194" y="44"/>
                    <a:pt x="150" y="0"/>
                    <a:pt x="97" y="0"/>
                  </a:cubicBezTo>
                  <a:cubicBezTo>
                    <a:pt x="43" y="0"/>
                    <a:pt x="0" y="44"/>
                    <a:pt x="0" y="97"/>
                  </a:cubicBezTo>
                  <a:cubicBezTo>
                    <a:pt x="0" y="394"/>
                    <a:pt x="0" y="394"/>
                    <a:pt x="0" y="394"/>
                  </a:cubicBezTo>
                  <a:cubicBezTo>
                    <a:pt x="0" y="448"/>
                    <a:pt x="43" y="491"/>
                    <a:pt x="97"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13">
              <a:extLst>
                <a:ext uri="{FF2B5EF4-FFF2-40B4-BE49-F238E27FC236}">
                  <a16:creationId xmlns:a16="http://schemas.microsoft.com/office/drawing/2014/main" id="{D88CF814-C6CD-4FD6-9CE7-7830C7704499}"/>
                </a:ext>
              </a:extLst>
            </p:cNvPr>
            <p:cNvSpPr>
              <a:spLocks/>
            </p:cNvSpPr>
            <p:nvPr/>
          </p:nvSpPr>
          <p:spPr bwMode="auto">
            <a:xfrm>
              <a:off x="-4930775" y="-3044826"/>
              <a:ext cx="139700" cy="354013"/>
            </a:xfrm>
            <a:custGeom>
              <a:avLst/>
              <a:gdLst>
                <a:gd name="T0" fmla="*/ 0 w 194"/>
                <a:gd name="T1" fmla="*/ 394 h 491"/>
                <a:gd name="T2" fmla="*/ 97 w 194"/>
                <a:gd name="T3" fmla="*/ 491 h 491"/>
                <a:gd name="T4" fmla="*/ 194 w 194"/>
                <a:gd name="T5" fmla="*/ 394 h 491"/>
                <a:gd name="T6" fmla="*/ 194 w 194"/>
                <a:gd name="T7" fmla="*/ 97 h 491"/>
                <a:gd name="T8" fmla="*/ 97 w 194"/>
                <a:gd name="T9" fmla="*/ 0 h 491"/>
                <a:gd name="T10" fmla="*/ 0 w 194"/>
                <a:gd name="T11" fmla="*/ 97 h 491"/>
                <a:gd name="T12" fmla="*/ 0 w 194"/>
                <a:gd name="T13" fmla="*/ 394 h 491"/>
              </a:gdLst>
              <a:ahLst/>
              <a:cxnLst>
                <a:cxn ang="0">
                  <a:pos x="T0" y="T1"/>
                </a:cxn>
                <a:cxn ang="0">
                  <a:pos x="T2" y="T3"/>
                </a:cxn>
                <a:cxn ang="0">
                  <a:pos x="T4" y="T5"/>
                </a:cxn>
                <a:cxn ang="0">
                  <a:pos x="T6" y="T7"/>
                </a:cxn>
                <a:cxn ang="0">
                  <a:pos x="T8" y="T9"/>
                </a:cxn>
                <a:cxn ang="0">
                  <a:pos x="T10" y="T11"/>
                </a:cxn>
                <a:cxn ang="0">
                  <a:pos x="T12" y="T13"/>
                </a:cxn>
              </a:cxnLst>
              <a:rect l="0" t="0" r="r" b="b"/>
              <a:pathLst>
                <a:path w="194" h="491">
                  <a:moveTo>
                    <a:pt x="0" y="394"/>
                  </a:moveTo>
                  <a:cubicBezTo>
                    <a:pt x="0" y="448"/>
                    <a:pt x="43" y="491"/>
                    <a:pt x="97" y="491"/>
                  </a:cubicBezTo>
                  <a:cubicBezTo>
                    <a:pt x="150" y="491"/>
                    <a:pt x="194" y="448"/>
                    <a:pt x="194" y="394"/>
                  </a:cubicBezTo>
                  <a:cubicBezTo>
                    <a:pt x="194" y="97"/>
                    <a:pt x="194" y="97"/>
                    <a:pt x="194" y="97"/>
                  </a:cubicBezTo>
                  <a:cubicBezTo>
                    <a:pt x="194" y="43"/>
                    <a:pt x="150" y="0"/>
                    <a:pt x="97" y="0"/>
                  </a:cubicBezTo>
                  <a:cubicBezTo>
                    <a:pt x="43" y="0"/>
                    <a:pt x="0" y="43"/>
                    <a:pt x="0" y="97"/>
                  </a:cubicBezTo>
                  <a:lnTo>
                    <a:pt x="0"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14">
              <a:extLst>
                <a:ext uri="{FF2B5EF4-FFF2-40B4-BE49-F238E27FC236}">
                  <a16:creationId xmlns:a16="http://schemas.microsoft.com/office/drawing/2014/main" id="{4B441D25-9F71-4774-B29E-2CAEB694EE6F}"/>
                </a:ext>
              </a:extLst>
            </p:cNvPr>
            <p:cNvSpPr>
              <a:spLocks/>
            </p:cNvSpPr>
            <p:nvPr/>
          </p:nvSpPr>
          <p:spPr bwMode="auto">
            <a:xfrm>
              <a:off x="-5330825" y="-3035301"/>
              <a:ext cx="200025" cy="277813"/>
            </a:xfrm>
            <a:custGeom>
              <a:avLst/>
              <a:gdLst>
                <a:gd name="T0" fmla="*/ 78 w 279"/>
                <a:gd name="T1" fmla="*/ 78 h 384"/>
                <a:gd name="T2" fmla="*/ 18 w 279"/>
                <a:gd name="T3" fmla="*/ 256 h 384"/>
                <a:gd name="T4" fmla="*/ 78 w 279"/>
                <a:gd name="T5" fmla="*/ 379 h 384"/>
                <a:gd name="T6" fmla="*/ 109 w 279"/>
                <a:gd name="T7" fmla="*/ 384 h 384"/>
                <a:gd name="T8" fmla="*/ 201 w 279"/>
                <a:gd name="T9" fmla="*/ 319 h 384"/>
                <a:gd name="T10" fmla="*/ 261 w 279"/>
                <a:gd name="T11" fmla="*/ 140 h 384"/>
                <a:gd name="T12" fmla="*/ 201 w 279"/>
                <a:gd name="T13" fmla="*/ 17 h 384"/>
                <a:gd name="T14" fmla="*/ 78 w 279"/>
                <a:gd name="T15" fmla="*/ 78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384">
                  <a:moveTo>
                    <a:pt x="78" y="78"/>
                  </a:moveTo>
                  <a:cubicBezTo>
                    <a:pt x="18" y="256"/>
                    <a:pt x="18" y="256"/>
                    <a:pt x="18" y="256"/>
                  </a:cubicBezTo>
                  <a:cubicBezTo>
                    <a:pt x="0" y="307"/>
                    <a:pt x="28" y="362"/>
                    <a:pt x="78" y="379"/>
                  </a:cubicBezTo>
                  <a:cubicBezTo>
                    <a:pt x="89" y="383"/>
                    <a:pt x="99" y="384"/>
                    <a:pt x="109" y="384"/>
                  </a:cubicBezTo>
                  <a:cubicBezTo>
                    <a:pt x="150" y="384"/>
                    <a:pt x="187" y="359"/>
                    <a:pt x="201" y="319"/>
                  </a:cubicBezTo>
                  <a:cubicBezTo>
                    <a:pt x="261" y="140"/>
                    <a:pt x="261" y="140"/>
                    <a:pt x="261" y="140"/>
                  </a:cubicBezTo>
                  <a:cubicBezTo>
                    <a:pt x="279" y="89"/>
                    <a:pt x="251" y="34"/>
                    <a:pt x="201" y="17"/>
                  </a:cubicBezTo>
                  <a:cubicBezTo>
                    <a:pt x="150" y="0"/>
                    <a:pt x="95" y="27"/>
                    <a:pt x="7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15">
              <a:extLst>
                <a:ext uri="{FF2B5EF4-FFF2-40B4-BE49-F238E27FC236}">
                  <a16:creationId xmlns:a16="http://schemas.microsoft.com/office/drawing/2014/main" id="{F55FA76E-2776-483F-83C3-E0A67796005F}"/>
                </a:ext>
              </a:extLst>
            </p:cNvPr>
            <p:cNvSpPr>
              <a:spLocks/>
            </p:cNvSpPr>
            <p:nvPr/>
          </p:nvSpPr>
          <p:spPr bwMode="auto">
            <a:xfrm>
              <a:off x="-5211763" y="-3379788"/>
              <a:ext cx="196850" cy="268288"/>
            </a:xfrm>
            <a:custGeom>
              <a:avLst/>
              <a:gdLst>
                <a:gd name="T0" fmla="*/ 78 w 274"/>
                <a:gd name="T1" fmla="*/ 367 h 372"/>
                <a:gd name="T2" fmla="*/ 109 w 274"/>
                <a:gd name="T3" fmla="*/ 372 h 372"/>
                <a:gd name="T4" fmla="*/ 201 w 274"/>
                <a:gd name="T5" fmla="*/ 306 h 372"/>
                <a:gd name="T6" fmla="*/ 257 w 274"/>
                <a:gd name="T7" fmla="*/ 140 h 372"/>
                <a:gd name="T8" fmla="*/ 196 w 274"/>
                <a:gd name="T9" fmla="*/ 17 h 372"/>
                <a:gd name="T10" fmla="*/ 73 w 274"/>
                <a:gd name="T11" fmla="*/ 78 h 372"/>
                <a:gd name="T12" fmla="*/ 17 w 274"/>
                <a:gd name="T13" fmla="*/ 244 h 372"/>
                <a:gd name="T14" fmla="*/ 78 w 274"/>
                <a:gd name="T15" fmla="*/ 367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72">
                  <a:moveTo>
                    <a:pt x="78" y="367"/>
                  </a:moveTo>
                  <a:cubicBezTo>
                    <a:pt x="88" y="370"/>
                    <a:pt x="99" y="372"/>
                    <a:pt x="109" y="372"/>
                  </a:cubicBezTo>
                  <a:cubicBezTo>
                    <a:pt x="150" y="372"/>
                    <a:pt x="187" y="346"/>
                    <a:pt x="201" y="306"/>
                  </a:cubicBezTo>
                  <a:cubicBezTo>
                    <a:pt x="257" y="140"/>
                    <a:pt x="257" y="140"/>
                    <a:pt x="257" y="140"/>
                  </a:cubicBezTo>
                  <a:cubicBezTo>
                    <a:pt x="274" y="89"/>
                    <a:pt x="247" y="34"/>
                    <a:pt x="196" y="17"/>
                  </a:cubicBezTo>
                  <a:cubicBezTo>
                    <a:pt x="145" y="0"/>
                    <a:pt x="90" y="27"/>
                    <a:pt x="73" y="78"/>
                  </a:cubicBezTo>
                  <a:cubicBezTo>
                    <a:pt x="17" y="244"/>
                    <a:pt x="17" y="244"/>
                    <a:pt x="17" y="244"/>
                  </a:cubicBezTo>
                  <a:cubicBezTo>
                    <a:pt x="0" y="294"/>
                    <a:pt x="27" y="349"/>
                    <a:pt x="78" y="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16">
              <a:extLst>
                <a:ext uri="{FF2B5EF4-FFF2-40B4-BE49-F238E27FC236}">
                  <a16:creationId xmlns:a16="http://schemas.microsoft.com/office/drawing/2014/main" id="{C8EE5F7A-F19B-4FF2-B1D9-B9DE7FA10A4A}"/>
                </a:ext>
              </a:extLst>
            </p:cNvPr>
            <p:cNvSpPr>
              <a:spLocks/>
            </p:cNvSpPr>
            <p:nvPr/>
          </p:nvSpPr>
          <p:spPr bwMode="auto">
            <a:xfrm>
              <a:off x="-4592638" y="-3035301"/>
              <a:ext cx="200025" cy="277813"/>
            </a:xfrm>
            <a:custGeom>
              <a:avLst/>
              <a:gdLst>
                <a:gd name="T0" fmla="*/ 17 w 278"/>
                <a:gd name="T1" fmla="*/ 140 h 384"/>
                <a:gd name="T2" fmla="*/ 77 w 278"/>
                <a:gd name="T3" fmla="*/ 319 h 384"/>
                <a:gd name="T4" fmla="*/ 169 w 278"/>
                <a:gd name="T5" fmla="*/ 384 h 384"/>
                <a:gd name="T6" fmla="*/ 200 w 278"/>
                <a:gd name="T7" fmla="*/ 379 h 384"/>
                <a:gd name="T8" fmla="*/ 261 w 278"/>
                <a:gd name="T9" fmla="*/ 256 h 384"/>
                <a:gd name="T10" fmla="*/ 201 w 278"/>
                <a:gd name="T11" fmla="*/ 78 h 384"/>
                <a:gd name="T12" fmla="*/ 78 w 278"/>
                <a:gd name="T13" fmla="*/ 17 h 384"/>
                <a:gd name="T14" fmla="*/ 17 w 278"/>
                <a:gd name="T15" fmla="*/ 140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 h="384">
                  <a:moveTo>
                    <a:pt x="17" y="140"/>
                  </a:moveTo>
                  <a:cubicBezTo>
                    <a:pt x="77" y="319"/>
                    <a:pt x="77" y="319"/>
                    <a:pt x="77" y="319"/>
                  </a:cubicBezTo>
                  <a:cubicBezTo>
                    <a:pt x="91" y="359"/>
                    <a:pt x="129" y="384"/>
                    <a:pt x="169" y="384"/>
                  </a:cubicBezTo>
                  <a:cubicBezTo>
                    <a:pt x="179" y="384"/>
                    <a:pt x="190" y="383"/>
                    <a:pt x="200" y="379"/>
                  </a:cubicBezTo>
                  <a:cubicBezTo>
                    <a:pt x="251" y="362"/>
                    <a:pt x="278" y="307"/>
                    <a:pt x="261" y="256"/>
                  </a:cubicBezTo>
                  <a:cubicBezTo>
                    <a:pt x="201" y="78"/>
                    <a:pt x="201" y="78"/>
                    <a:pt x="201" y="78"/>
                  </a:cubicBezTo>
                  <a:cubicBezTo>
                    <a:pt x="183" y="27"/>
                    <a:pt x="129" y="0"/>
                    <a:pt x="78" y="17"/>
                  </a:cubicBezTo>
                  <a:cubicBezTo>
                    <a:pt x="27" y="34"/>
                    <a:pt x="0" y="89"/>
                    <a:pt x="17"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17">
              <a:extLst>
                <a:ext uri="{FF2B5EF4-FFF2-40B4-BE49-F238E27FC236}">
                  <a16:creationId xmlns:a16="http://schemas.microsoft.com/office/drawing/2014/main" id="{D6F955D4-AC34-4D7F-8F3A-370CE462F15B}"/>
                </a:ext>
              </a:extLst>
            </p:cNvPr>
            <p:cNvSpPr>
              <a:spLocks/>
            </p:cNvSpPr>
            <p:nvPr/>
          </p:nvSpPr>
          <p:spPr bwMode="auto">
            <a:xfrm>
              <a:off x="-4710113" y="-3379788"/>
              <a:ext cx="198438" cy="268288"/>
            </a:xfrm>
            <a:custGeom>
              <a:avLst/>
              <a:gdLst>
                <a:gd name="T0" fmla="*/ 201 w 274"/>
                <a:gd name="T1" fmla="*/ 78 h 372"/>
                <a:gd name="T2" fmla="*/ 78 w 274"/>
                <a:gd name="T3" fmla="*/ 17 h 372"/>
                <a:gd name="T4" fmla="*/ 18 w 274"/>
                <a:gd name="T5" fmla="*/ 140 h 372"/>
                <a:gd name="T6" fmla="*/ 74 w 274"/>
                <a:gd name="T7" fmla="*/ 306 h 372"/>
                <a:gd name="T8" fmla="*/ 165 w 274"/>
                <a:gd name="T9" fmla="*/ 372 h 372"/>
                <a:gd name="T10" fmla="*/ 196 w 274"/>
                <a:gd name="T11" fmla="*/ 367 h 372"/>
                <a:gd name="T12" fmla="*/ 257 w 274"/>
                <a:gd name="T13" fmla="*/ 244 h 372"/>
                <a:gd name="T14" fmla="*/ 201 w 274"/>
                <a:gd name="T15" fmla="*/ 78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72">
                  <a:moveTo>
                    <a:pt x="201" y="78"/>
                  </a:moveTo>
                  <a:cubicBezTo>
                    <a:pt x="184" y="27"/>
                    <a:pt x="129" y="0"/>
                    <a:pt x="78" y="17"/>
                  </a:cubicBezTo>
                  <a:cubicBezTo>
                    <a:pt x="28" y="34"/>
                    <a:pt x="0" y="89"/>
                    <a:pt x="18" y="140"/>
                  </a:cubicBezTo>
                  <a:cubicBezTo>
                    <a:pt x="74" y="306"/>
                    <a:pt x="74" y="306"/>
                    <a:pt x="74" y="306"/>
                  </a:cubicBezTo>
                  <a:cubicBezTo>
                    <a:pt x="87" y="346"/>
                    <a:pt x="125" y="372"/>
                    <a:pt x="165" y="372"/>
                  </a:cubicBezTo>
                  <a:cubicBezTo>
                    <a:pt x="176" y="372"/>
                    <a:pt x="186" y="370"/>
                    <a:pt x="196" y="367"/>
                  </a:cubicBezTo>
                  <a:cubicBezTo>
                    <a:pt x="247" y="349"/>
                    <a:pt x="274" y="294"/>
                    <a:pt x="257" y="244"/>
                  </a:cubicBezTo>
                  <a:lnTo>
                    <a:pt x="201"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8">
              <a:extLst>
                <a:ext uri="{FF2B5EF4-FFF2-40B4-BE49-F238E27FC236}">
                  <a16:creationId xmlns:a16="http://schemas.microsoft.com/office/drawing/2014/main" id="{C4E1424E-C086-431B-8C66-0B1F47303497}"/>
                </a:ext>
              </a:extLst>
            </p:cNvPr>
            <p:cNvSpPr>
              <a:spLocks/>
            </p:cNvSpPr>
            <p:nvPr/>
          </p:nvSpPr>
          <p:spPr bwMode="auto">
            <a:xfrm>
              <a:off x="-3457575" y="-3497263"/>
              <a:ext cx="139700" cy="354013"/>
            </a:xfrm>
            <a:custGeom>
              <a:avLst/>
              <a:gdLst>
                <a:gd name="T0" fmla="*/ 97 w 194"/>
                <a:gd name="T1" fmla="*/ 491 h 491"/>
                <a:gd name="T2" fmla="*/ 194 w 194"/>
                <a:gd name="T3" fmla="*/ 394 h 491"/>
                <a:gd name="T4" fmla="*/ 194 w 194"/>
                <a:gd name="T5" fmla="*/ 97 h 491"/>
                <a:gd name="T6" fmla="*/ 97 w 194"/>
                <a:gd name="T7" fmla="*/ 0 h 491"/>
                <a:gd name="T8" fmla="*/ 0 w 194"/>
                <a:gd name="T9" fmla="*/ 97 h 491"/>
                <a:gd name="T10" fmla="*/ 0 w 194"/>
                <a:gd name="T11" fmla="*/ 394 h 491"/>
                <a:gd name="T12" fmla="*/ 97 w 194"/>
                <a:gd name="T13" fmla="*/ 491 h 491"/>
              </a:gdLst>
              <a:ahLst/>
              <a:cxnLst>
                <a:cxn ang="0">
                  <a:pos x="T0" y="T1"/>
                </a:cxn>
                <a:cxn ang="0">
                  <a:pos x="T2" y="T3"/>
                </a:cxn>
                <a:cxn ang="0">
                  <a:pos x="T4" y="T5"/>
                </a:cxn>
                <a:cxn ang="0">
                  <a:pos x="T6" y="T7"/>
                </a:cxn>
                <a:cxn ang="0">
                  <a:pos x="T8" y="T9"/>
                </a:cxn>
                <a:cxn ang="0">
                  <a:pos x="T10" y="T11"/>
                </a:cxn>
                <a:cxn ang="0">
                  <a:pos x="T12" y="T13"/>
                </a:cxn>
              </a:cxnLst>
              <a:rect l="0" t="0" r="r" b="b"/>
              <a:pathLst>
                <a:path w="194" h="491">
                  <a:moveTo>
                    <a:pt x="97" y="491"/>
                  </a:moveTo>
                  <a:cubicBezTo>
                    <a:pt x="151" y="491"/>
                    <a:pt x="194" y="448"/>
                    <a:pt x="194" y="394"/>
                  </a:cubicBezTo>
                  <a:cubicBezTo>
                    <a:pt x="194" y="97"/>
                    <a:pt x="194" y="97"/>
                    <a:pt x="194" y="97"/>
                  </a:cubicBezTo>
                  <a:cubicBezTo>
                    <a:pt x="194" y="44"/>
                    <a:pt x="151" y="0"/>
                    <a:pt x="97" y="0"/>
                  </a:cubicBezTo>
                  <a:cubicBezTo>
                    <a:pt x="44" y="0"/>
                    <a:pt x="0" y="44"/>
                    <a:pt x="0" y="97"/>
                  </a:cubicBezTo>
                  <a:cubicBezTo>
                    <a:pt x="0" y="394"/>
                    <a:pt x="0" y="394"/>
                    <a:pt x="0" y="394"/>
                  </a:cubicBezTo>
                  <a:cubicBezTo>
                    <a:pt x="0" y="448"/>
                    <a:pt x="44" y="491"/>
                    <a:pt x="97"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9">
              <a:extLst>
                <a:ext uri="{FF2B5EF4-FFF2-40B4-BE49-F238E27FC236}">
                  <a16:creationId xmlns:a16="http://schemas.microsoft.com/office/drawing/2014/main" id="{A47876AE-9916-4CB6-A0D8-7963810E9A2A}"/>
                </a:ext>
              </a:extLst>
            </p:cNvPr>
            <p:cNvSpPr>
              <a:spLocks/>
            </p:cNvSpPr>
            <p:nvPr/>
          </p:nvSpPr>
          <p:spPr bwMode="auto">
            <a:xfrm>
              <a:off x="-3457575" y="-3044826"/>
              <a:ext cx="139700" cy="354013"/>
            </a:xfrm>
            <a:custGeom>
              <a:avLst/>
              <a:gdLst>
                <a:gd name="T0" fmla="*/ 0 w 194"/>
                <a:gd name="T1" fmla="*/ 394 h 491"/>
                <a:gd name="T2" fmla="*/ 97 w 194"/>
                <a:gd name="T3" fmla="*/ 491 h 491"/>
                <a:gd name="T4" fmla="*/ 194 w 194"/>
                <a:gd name="T5" fmla="*/ 394 h 491"/>
                <a:gd name="T6" fmla="*/ 194 w 194"/>
                <a:gd name="T7" fmla="*/ 97 h 491"/>
                <a:gd name="T8" fmla="*/ 97 w 194"/>
                <a:gd name="T9" fmla="*/ 0 h 491"/>
                <a:gd name="T10" fmla="*/ 0 w 194"/>
                <a:gd name="T11" fmla="*/ 97 h 491"/>
                <a:gd name="T12" fmla="*/ 0 w 194"/>
                <a:gd name="T13" fmla="*/ 394 h 491"/>
              </a:gdLst>
              <a:ahLst/>
              <a:cxnLst>
                <a:cxn ang="0">
                  <a:pos x="T0" y="T1"/>
                </a:cxn>
                <a:cxn ang="0">
                  <a:pos x="T2" y="T3"/>
                </a:cxn>
                <a:cxn ang="0">
                  <a:pos x="T4" y="T5"/>
                </a:cxn>
                <a:cxn ang="0">
                  <a:pos x="T6" y="T7"/>
                </a:cxn>
                <a:cxn ang="0">
                  <a:pos x="T8" y="T9"/>
                </a:cxn>
                <a:cxn ang="0">
                  <a:pos x="T10" y="T11"/>
                </a:cxn>
                <a:cxn ang="0">
                  <a:pos x="T12" y="T13"/>
                </a:cxn>
              </a:cxnLst>
              <a:rect l="0" t="0" r="r" b="b"/>
              <a:pathLst>
                <a:path w="194" h="491">
                  <a:moveTo>
                    <a:pt x="0" y="394"/>
                  </a:moveTo>
                  <a:cubicBezTo>
                    <a:pt x="0" y="448"/>
                    <a:pt x="44" y="491"/>
                    <a:pt x="97" y="491"/>
                  </a:cubicBezTo>
                  <a:cubicBezTo>
                    <a:pt x="151" y="491"/>
                    <a:pt x="194" y="448"/>
                    <a:pt x="194" y="394"/>
                  </a:cubicBezTo>
                  <a:cubicBezTo>
                    <a:pt x="194" y="97"/>
                    <a:pt x="194" y="97"/>
                    <a:pt x="194" y="97"/>
                  </a:cubicBezTo>
                  <a:cubicBezTo>
                    <a:pt x="194" y="43"/>
                    <a:pt x="151" y="0"/>
                    <a:pt x="97" y="0"/>
                  </a:cubicBezTo>
                  <a:cubicBezTo>
                    <a:pt x="44" y="0"/>
                    <a:pt x="0" y="43"/>
                    <a:pt x="0" y="97"/>
                  </a:cubicBezTo>
                  <a:lnTo>
                    <a:pt x="0"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20">
              <a:extLst>
                <a:ext uri="{FF2B5EF4-FFF2-40B4-BE49-F238E27FC236}">
                  <a16:creationId xmlns:a16="http://schemas.microsoft.com/office/drawing/2014/main" id="{0C89F00D-EFDE-42F3-B100-7963C83C7FCB}"/>
                </a:ext>
              </a:extLst>
            </p:cNvPr>
            <p:cNvSpPr>
              <a:spLocks/>
            </p:cNvSpPr>
            <p:nvPr/>
          </p:nvSpPr>
          <p:spPr bwMode="auto">
            <a:xfrm>
              <a:off x="-3856038" y="-3035301"/>
              <a:ext cx="200025" cy="277813"/>
            </a:xfrm>
            <a:custGeom>
              <a:avLst/>
              <a:gdLst>
                <a:gd name="T0" fmla="*/ 77 w 278"/>
                <a:gd name="T1" fmla="*/ 78 h 384"/>
                <a:gd name="T2" fmla="*/ 17 w 278"/>
                <a:gd name="T3" fmla="*/ 257 h 384"/>
                <a:gd name="T4" fmla="*/ 78 w 278"/>
                <a:gd name="T5" fmla="*/ 379 h 384"/>
                <a:gd name="T6" fmla="*/ 109 w 278"/>
                <a:gd name="T7" fmla="*/ 384 h 384"/>
                <a:gd name="T8" fmla="*/ 200 w 278"/>
                <a:gd name="T9" fmla="*/ 318 h 384"/>
                <a:gd name="T10" fmla="*/ 261 w 278"/>
                <a:gd name="T11" fmla="*/ 140 h 384"/>
                <a:gd name="T12" fmla="*/ 200 w 278"/>
                <a:gd name="T13" fmla="*/ 17 h 384"/>
                <a:gd name="T14" fmla="*/ 77 w 278"/>
                <a:gd name="T15" fmla="*/ 78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 h="384">
                  <a:moveTo>
                    <a:pt x="77" y="78"/>
                  </a:moveTo>
                  <a:cubicBezTo>
                    <a:pt x="17" y="257"/>
                    <a:pt x="17" y="257"/>
                    <a:pt x="17" y="257"/>
                  </a:cubicBezTo>
                  <a:cubicBezTo>
                    <a:pt x="0" y="307"/>
                    <a:pt x="27" y="362"/>
                    <a:pt x="78" y="379"/>
                  </a:cubicBezTo>
                  <a:cubicBezTo>
                    <a:pt x="88" y="383"/>
                    <a:pt x="98" y="384"/>
                    <a:pt x="109" y="384"/>
                  </a:cubicBezTo>
                  <a:cubicBezTo>
                    <a:pt x="149" y="384"/>
                    <a:pt x="187" y="359"/>
                    <a:pt x="200" y="318"/>
                  </a:cubicBezTo>
                  <a:cubicBezTo>
                    <a:pt x="261" y="140"/>
                    <a:pt x="261" y="140"/>
                    <a:pt x="261" y="140"/>
                  </a:cubicBezTo>
                  <a:cubicBezTo>
                    <a:pt x="278" y="89"/>
                    <a:pt x="251" y="34"/>
                    <a:pt x="200" y="17"/>
                  </a:cubicBezTo>
                  <a:cubicBezTo>
                    <a:pt x="149" y="0"/>
                    <a:pt x="94" y="27"/>
                    <a:pt x="7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21">
              <a:extLst>
                <a:ext uri="{FF2B5EF4-FFF2-40B4-BE49-F238E27FC236}">
                  <a16:creationId xmlns:a16="http://schemas.microsoft.com/office/drawing/2014/main" id="{D139265F-C40A-4CB3-BE87-A5788A130451}"/>
                </a:ext>
              </a:extLst>
            </p:cNvPr>
            <p:cNvSpPr>
              <a:spLocks/>
            </p:cNvSpPr>
            <p:nvPr/>
          </p:nvSpPr>
          <p:spPr bwMode="auto">
            <a:xfrm>
              <a:off x="-3736975" y="-3379788"/>
              <a:ext cx="196850" cy="268288"/>
            </a:xfrm>
            <a:custGeom>
              <a:avLst/>
              <a:gdLst>
                <a:gd name="T0" fmla="*/ 78 w 274"/>
                <a:gd name="T1" fmla="*/ 367 h 372"/>
                <a:gd name="T2" fmla="*/ 109 w 274"/>
                <a:gd name="T3" fmla="*/ 372 h 372"/>
                <a:gd name="T4" fmla="*/ 201 w 274"/>
                <a:gd name="T5" fmla="*/ 306 h 372"/>
                <a:gd name="T6" fmla="*/ 257 w 274"/>
                <a:gd name="T7" fmla="*/ 140 h 372"/>
                <a:gd name="T8" fmla="*/ 196 w 274"/>
                <a:gd name="T9" fmla="*/ 17 h 372"/>
                <a:gd name="T10" fmla="*/ 74 w 274"/>
                <a:gd name="T11" fmla="*/ 78 h 372"/>
                <a:gd name="T12" fmla="*/ 18 w 274"/>
                <a:gd name="T13" fmla="*/ 244 h 372"/>
                <a:gd name="T14" fmla="*/ 78 w 274"/>
                <a:gd name="T15" fmla="*/ 367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72">
                  <a:moveTo>
                    <a:pt x="78" y="367"/>
                  </a:moveTo>
                  <a:cubicBezTo>
                    <a:pt x="89" y="370"/>
                    <a:pt x="99" y="372"/>
                    <a:pt x="109" y="372"/>
                  </a:cubicBezTo>
                  <a:cubicBezTo>
                    <a:pt x="150" y="372"/>
                    <a:pt x="188" y="346"/>
                    <a:pt x="201" y="306"/>
                  </a:cubicBezTo>
                  <a:cubicBezTo>
                    <a:pt x="257" y="140"/>
                    <a:pt x="257" y="140"/>
                    <a:pt x="257" y="140"/>
                  </a:cubicBezTo>
                  <a:cubicBezTo>
                    <a:pt x="274" y="89"/>
                    <a:pt x="247" y="34"/>
                    <a:pt x="196" y="17"/>
                  </a:cubicBezTo>
                  <a:cubicBezTo>
                    <a:pt x="146" y="0"/>
                    <a:pt x="91" y="27"/>
                    <a:pt x="74" y="78"/>
                  </a:cubicBezTo>
                  <a:cubicBezTo>
                    <a:pt x="18" y="244"/>
                    <a:pt x="18" y="244"/>
                    <a:pt x="18" y="244"/>
                  </a:cubicBezTo>
                  <a:cubicBezTo>
                    <a:pt x="0" y="294"/>
                    <a:pt x="28" y="349"/>
                    <a:pt x="78" y="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22">
              <a:extLst>
                <a:ext uri="{FF2B5EF4-FFF2-40B4-BE49-F238E27FC236}">
                  <a16:creationId xmlns:a16="http://schemas.microsoft.com/office/drawing/2014/main" id="{4CCF1B5D-7FE7-41CA-8E97-368698C8387D}"/>
                </a:ext>
              </a:extLst>
            </p:cNvPr>
            <p:cNvSpPr>
              <a:spLocks/>
            </p:cNvSpPr>
            <p:nvPr/>
          </p:nvSpPr>
          <p:spPr bwMode="auto">
            <a:xfrm>
              <a:off x="-3117850" y="-3035301"/>
              <a:ext cx="200025" cy="277813"/>
            </a:xfrm>
            <a:custGeom>
              <a:avLst/>
              <a:gdLst>
                <a:gd name="T0" fmla="*/ 17 w 278"/>
                <a:gd name="T1" fmla="*/ 140 h 384"/>
                <a:gd name="T2" fmla="*/ 78 w 278"/>
                <a:gd name="T3" fmla="*/ 319 h 384"/>
                <a:gd name="T4" fmla="*/ 170 w 278"/>
                <a:gd name="T5" fmla="*/ 384 h 384"/>
                <a:gd name="T6" fmla="*/ 201 w 278"/>
                <a:gd name="T7" fmla="*/ 379 h 384"/>
                <a:gd name="T8" fmla="*/ 261 w 278"/>
                <a:gd name="T9" fmla="*/ 256 h 384"/>
                <a:gd name="T10" fmla="*/ 201 w 278"/>
                <a:gd name="T11" fmla="*/ 78 h 384"/>
                <a:gd name="T12" fmla="*/ 78 w 278"/>
                <a:gd name="T13" fmla="*/ 17 h 384"/>
                <a:gd name="T14" fmla="*/ 17 w 278"/>
                <a:gd name="T15" fmla="*/ 140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 h="384">
                  <a:moveTo>
                    <a:pt x="17" y="140"/>
                  </a:moveTo>
                  <a:cubicBezTo>
                    <a:pt x="78" y="319"/>
                    <a:pt x="78" y="319"/>
                    <a:pt x="78" y="319"/>
                  </a:cubicBezTo>
                  <a:cubicBezTo>
                    <a:pt x="91" y="359"/>
                    <a:pt x="129" y="384"/>
                    <a:pt x="170" y="384"/>
                  </a:cubicBezTo>
                  <a:cubicBezTo>
                    <a:pt x="180" y="384"/>
                    <a:pt x="190" y="383"/>
                    <a:pt x="201" y="379"/>
                  </a:cubicBezTo>
                  <a:cubicBezTo>
                    <a:pt x="251" y="362"/>
                    <a:pt x="278" y="307"/>
                    <a:pt x="261" y="256"/>
                  </a:cubicBezTo>
                  <a:cubicBezTo>
                    <a:pt x="201" y="78"/>
                    <a:pt x="201" y="78"/>
                    <a:pt x="201" y="78"/>
                  </a:cubicBezTo>
                  <a:cubicBezTo>
                    <a:pt x="184" y="27"/>
                    <a:pt x="129" y="0"/>
                    <a:pt x="78" y="17"/>
                  </a:cubicBezTo>
                  <a:cubicBezTo>
                    <a:pt x="27" y="34"/>
                    <a:pt x="0" y="89"/>
                    <a:pt x="17"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23">
              <a:extLst>
                <a:ext uri="{FF2B5EF4-FFF2-40B4-BE49-F238E27FC236}">
                  <a16:creationId xmlns:a16="http://schemas.microsoft.com/office/drawing/2014/main" id="{2ABA8988-70C4-4C0C-BBEF-E627021862D6}"/>
                </a:ext>
              </a:extLst>
            </p:cNvPr>
            <p:cNvSpPr>
              <a:spLocks/>
            </p:cNvSpPr>
            <p:nvPr/>
          </p:nvSpPr>
          <p:spPr bwMode="auto">
            <a:xfrm>
              <a:off x="-3233738" y="-3379788"/>
              <a:ext cx="196850" cy="268288"/>
            </a:xfrm>
            <a:custGeom>
              <a:avLst/>
              <a:gdLst>
                <a:gd name="T0" fmla="*/ 200 w 274"/>
                <a:gd name="T1" fmla="*/ 78 h 372"/>
                <a:gd name="T2" fmla="*/ 78 w 274"/>
                <a:gd name="T3" fmla="*/ 17 h 372"/>
                <a:gd name="T4" fmla="*/ 17 w 274"/>
                <a:gd name="T5" fmla="*/ 140 h 372"/>
                <a:gd name="T6" fmla="*/ 73 w 274"/>
                <a:gd name="T7" fmla="*/ 306 h 372"/>
                <a:gd name="T8" fmla="*/ 165 w 274"/>
                <a:gd name="T9" fmla="*/ 372 h 372"/>
                <a:gd name="T10" fmla="*/ 196 w 274"/>
                <a:gd name="T11" fmla="*/ 367 h 372"/>
                <a:gd name="T12" fmla="*/ 257 w 274"/>
                <a:gd name="T13" fmla="*/ 244 h 372"/>
                <a:gd name="T14" fmla="*/ 200 w 274"/>
                <a:gd name="T15" fmla="*/ 78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72">
                  <a:moveTo>
                    <a:pt x="200" y="78"/>
                  </a:moveTo>
                  <a:cubicBezTo>
                    <a:pt x="183" y="27"/>
                    <a:pt x="128" y="0"/>
                    <a:pt x="78" y="17"/>
                  </a:cubicBezTo>
                  <a:cubicBezTo>
                    <a:pt x="27" y="34"/>
                    <a:pt x="0" y="89"/>
                    <a:pt x="17" y="140"/>
                  </a:cubicBezTo>
                  <a:cubicBezTo>
                    <a:pt x="73" y="306"/>
                    <a:pt x="73" y="306"/>
                    <a:pt x="73" y="306"/>
                  </a:cubicBezTo>
                  <a:cubicBezTo>
                    <a:pt x="87" y="346"/>
                    <a:pt x="124" y="372"/>
                    <a:pt x="165" y="372"/>
                  </a:cubicBezTo>
                  <a:cubicBezTo>
                    <a:pt x="175" y="372"/>
                    <a:pt x="185" y="370"/>
                    <a:pt x="196" y="367"/>
                  </a:cubicBezTo>
                  <a:cubicBezTo>
                    <a:pt x="246" y="349"/>
                    <a:pt x="274" y="294"/>
                    <a:pt x="257" y="244"/>
                  </a:cubicBezTo>
                  <a:lnTo>
                    <a:pt x="20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24">
              <a:extLst>
                <a:ext uri="{FF2B5EF4-FFF2-40B4-BE49-F238E27FC236}">
                  <a16:creationId xmlns:a16="http://schemas.microsoft.com/office/drawing/2014/main" id="{F822B13D-07AF-4B90-93E1-9DC2DF8B0891}"/>
                </a:ext>
              </a:extLst>
            </p:cNvPr>
            <p:cNvSpPr>
              <a:spLocks noEditPoints="1"/>
            </p:cNvSpPr>
            <p:nvPr/>
          </p:nvSpPr>
          <p:spPr bwMode="auto">
            <a:xfrm>
              <a:off x="-7148513" y="-2438401"/>
              <a:ext cx="4573588" cy="1785938"/>
            </a:xfrm>
            <a:custGeom>
              <a:avLst/>
              <a:gdLst>
                <a:gd name="T0" fmla="*/ 5753 w 6346"/>
                <a:gd name="T1" fmla="*/ 2132 h 2479"/>
                <a:gd name="T2" fmla="*/ 5324 w 6346"/>
                <a:gd name="T3" fmla="*/ 2059 h 2479"/>
                <a:gd name="T4" fmla="*/ 5858 w 6346"/>
                <a:gd name="T5" fmla="*/ 1590 h 2479"/>
                <a:gd name="T6" fmla="*/ 6090 w 6346"/>
                <a:gd name="T7" fmla="*/ 857 h 2479"/>
                <a:gd name="T8" fmla="*/ 5681 w 6346"/>
                <a:gd name="T9" fmla="*/ 892 h 2479"/>
                <a:gd name="T10" fmla="*/ 5230 w 6346"/>
                <a:gd name="T11" fmla="*/ 1 h 2479"/>
                <a:gd name="T12" fmla="*/ 4772 w 6346"/>
                <a:gd name="T13" fmla="*/ 896 h 2479"/>
                <a:gd name="T14" fmla="*/ 4351 w 6346"/>
                <a:gd name="T15" fmla="*/ 842 h 2479"/>
                <a:gd name="T16" fmla="*/ 4934 w 6346"/>
                <a:gd name="T17" fmla="*/ 1776 h 2479"/>
                <a:gd name="T18" fmla="*/ 5052 w 6346"/>
                <a:gd name="T19" fmla="*/ 1705 h 2479"/>
                <a:gd name="T20" fmla="*/ 4521 w 6346"/>
                <a:gd name="T21" fmla="*/ 1031 h 2479"/>
                <a:gd name="T22" fmla="*/ 4924 w 6346"/>
                <a:gd name="T23" fmla="*/ 1461 h 2479"/>
                <a:gd name="T24" fmla="*/ 5093 w 6346"/>
                <a:gd name="T25" fmla="*/ 1367 h 2479"/>
                <a:gd name="T26" fmla="*/ 5487 w 6346"/>
                <a:gd name="T27" fmla="*/ 983 h 2479"/>
                <a:gd name="T28" fmla="*/ 5130 w 6346"/>
                <a:gd name="T29" fmla="*/ 1736 h 2479"/>
                <a:gd name="T30" fmla="*/ 5130 w 6346"/>
                <a:gd name="T31" fmla="*/ 2059 h 2479"/>
                <a:gd name="T32" fmla="*/ 3710 w 6346"/>
                <a:gd name="T33" fmla="*/ 2132 h 2479"/>
                <a:gd name="T34" fmla="*/ 3277 w 6346"/>
                <a:gd name="T35" fmla="*/ 2059 h 2479"/>
                <a:gd name="T36" fmla="*/ 3811 w 6346"/>
                <a:gd name="T37" fmla="*/ 1590 h 2479"/>
                <a:gd name="T38" fmla="*/ 4044 w 6346"/>
                <a:gd name="T39" fmla="*/ 857 h 2479"/>
                <a:gd name="T40" fmla="*/ 3635 w 6346"/>
                <a:gd name="T41" fmla="*/ 892 h 2479"/>
                <a:gd name="T42" fmla="*/ 3184 w 6346"/>
                <a:gd name="T43" fmla="*/ 1 h 2479"/>
                <a:gd name="T44" fmla="*/ 2725 w 6346"/>
                <a:gd name="T45" fmla="*/ 896 h 2479"/>
                <a:gd name="T46" fmla="*/ 2304 w 6346"/>
                <a:gd name="T47" fmla="*/ 842 h 2479"/>
                <a:gd name="T48" fmla="*/ 2888 w 6346"/>
                <a:gd name="T49" fmla="*/ 1776 h 2479"/>
                <a:gd name="T50" fmla="*/ 3005 w 6346"/>
                <a:gd name="T51" fmla="*/ 1705 h 2479"/>
                <a:gd name="T52" fmla="*/ 2475 w 6346"/>
                <a:gd name="T53" fmla="*/ 1031 h 2479"/>
                <a:gd name="T54" fmla="*/ 2878 w 6346"/>
                <a:gd name="T55" fmla="*/ 1461 h 2479"/>
                <a:gd name="T56" fmla="*/ 3047 w 6346"/>
                <a:gd name="T57" fmla="*/ 1367 h 2479"/>
                <a:gd name="T58" fmla="*/ 3441 w 6346"/>
                <a:gd name="T59" fmla="*/ 983 h 2479"/>
                <a:gd name="T60" fmla="*/ 3083 w 6346"/>
                <a:gd name="T61" fmla="*/ 1736 h 2479"/>
                <a:gd name="T62" fmla="*/ 3083 w 6346"/>
                <a:gd name="T63" fmla="*/ 2060 h 2479"/>
                <a:gd name="T64" fmla="*/ 1667 w 6346"/>
                <a:gd name="T65" fmla="*/ 2132 h 2479"/>
                <a:gd name="T66" fmla="*/ 1231 w 6346"/>
                <a:gd name="T67" fmla="*/ 2059 h 2479"/>
                <a:gd name="T68" fmla="*/ 1765 w 6346"/>
                <a:gd name="T69" fmla="*/ 1590 h 2479"/>
                <a:gd name="T70" fmla="*/ 1998 w 6346"/>
                <a:gd name="T71" fmla="*/ 857 h 2479"/>
                <a:gd name="T72" fmla="*/ 1589 w 6346"/>
                <a:gd name="T73" fmla="*/ 892 h 2479"/>
                <a:gd name="T74" fmla="*/ 1138 w 6346"/>
                <a:gd name="T75" fmla="*/ 1 h 2479"/>
                <a:gd name="T76" fmla="*/ 679 w 6346"/>
                <a:gd name="T77" fmla="*/ 896 h 2479"/>
                <a:gd name="T78" fmla="*/ 258 w 6346"/>
                <a:gd name="T79" fmla="*/ 842 h 2479"/>
                <a:gd name="T80" fmla="*/ 841 w 6346"/>
                <a:gd name="T81" fmla="*/ 1776 h 2479"/>
                <a:gd name="T82" fmla="*/ 959 w 6346"/>
                <a:gd name="T83" fmla="*/ 1705 h 2479"/>
                <a:gd name="T84" fmla="*/ 429 w 6346"/>
                <a:gd name="T85" fmla="*/ 1031 h 2479"/>
                <a:gd name="T86" fmla="*/ 832 w 6346"/>
                <a:gd name="T87" fmla="*/ 1461 h 2479"/>
                <a:gd name="T88" fmla="*/ 1001 w 6346"/>
                <a:gd name="T89" fmla="*/ 1367 h 2479"/>
                <a:gd name="T90" fmla="*/ 1394 w 6346"/>
                <a:gd name="T91" fmla="*/ 983 h 2479"/>
                <a:gd name="T92" fmla="*/ 1037 w 6346"/>
                <a:gd name="T93" fmla="*/ 1736 h 2479"/>
                <a:gd name="T94" fmla="*/ 1037 w 6346"/>
                <a:gd name="T95" fmla="*/ 2060 h 2479"/>
                <a:gd name="T96" fmla="*/ 81 w 6346"/>
                <a:gd name="T97" fmla="*/ 2278 h 2479"/>
                <a:gd name="T98" fmla="*/ 134 w 6346"/>
                <a:gd name="T99" fmla="*/ 2464 h 2479"/>
                <a:gd name="T100" fmla="*/ 1614 w 6346"/>
                <a:gd name="T101" fmla="*/ 2318 h 2479"/>
                <a:gd name="T102" fmla="*/ 3657 w 6346"/>
                <a:gd name="T103" fmla="*/ 2318 h 2479"/>
                <a:gd name="T104" fmla="*/ 5700 w 6346"/>
                <a:gd name="T105" fmla="*/ 2318 h 2479"/>
                <a:gd name="T106" fmla="*/ 6238 w 6346"/>
                <a:gd name="T107" fmla="*/ 2468 h 2479"/>
                <a:gd name="T108" fmla="*/ 6264 w 6346"/>
                <a:gd name="T109" fmla="*/ 2278 h 2479"/>
                <a:gd name="T110" fmla="*/ 5671 w 6346"/>
                <a:gd name="T111" fmla="*/ 1110 h 2479"/>
                <a:gd name="T112" fmla="*/ 5720 w 6346"/>
                <a:gd name="T113" fmla="*/ 1454 h 2479"/>
                <a:gd name="T114" fmla="*/ 5665 w 6346"/>
                <a:gd name="T115" fmla="*/ 1114 h 2479"/>
                <a:gd name="T116" fmla="*/ 3625 w 6346"/>
                <a:gd name="T117" fmla="*/ 1110 h 2479"/>
                <a:gd name="T118" fmla="*/ 3409 w 6346"/>
                <a:gd name="T119" fmla="*/ 1603 h 2479"/>
                <a:gd name="T120" fmla="*/ 1573 w 6346"/>
                <a:gd name="T121" fmla="*/ 1114 h 2479"/>
                <a:gd name="T122" fmla="*/ 1824 w 6346"/>
                <a:gd name="T123" fmla="*/ 1036 h 2479"/>
                <a:gd name="T124" fmla="*/ 1362 w 6346"/>
                <a:gd name="T125" fmla="*/ 1604 h 2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46" h="2479">
                  <a:moveTo>
                    <a:pt x="6264" y="2278"/>
                  </a:moveTo>
                  <a:cubicBezTo>
                    <a:pt x="5753" y="2132"/>
                    <a:pt x="5753" y="2132"/>
                    <a:pt x="5753" y="2132"/>
                  </a:cubicBezTo>
                  <a:cubicBezTo>
                    <a:pt x="5613" y="2091"/>
                    <a:pt x="5468" y="2068"/>
                    <a:pt x="5323" y="2060"/>
                  </a:cubicBezTo>
                  <a:cubicBezTo>
                    <a:pt x="5323" y="2060"/>
                    <a:pt x="5324" y="2059"/>
                    <a:pt x="5324" y="2059"/>
                  </a:cubicBezTo>
                  <a:cubicBezTo>
                    <a:pt x="5324" y="1823"/>
                    <a:pt x="5324" y="1823"/>
                    <a:pt x="5324" y="1823"/>
                  </a:cubicBezTo>
                  <a:cubicBezTo>
                    <a:pt x="5542" y="1805"/>
                    <a:pt x="5721" y="1727"/>
                    <a:pt x="5858" y="1590"/>
                  </a:cubicBezTo>
                  <a:cubicBezTo>
                    <a:pt x="6120" y="1327"/>
                    <a:pt x="6121" y="943"/>
                    <a:pt x="6121" y="927"/>
                  </a:cubicBezTo>
                  <a:cubicBezTo>
                    <a:pt x="6121" y="900"/>
                    <a:pt x="6110" y="875"/>
                    <a:pt x="6090" y="857"/>
                  </a:cubicBezTo>
                  <a:cubicBezTo>
                    <a:pt x="6071" y="838"/>
                    <a:pt x="6045" y="829"/>
                    <a:pt x="6017" y="831"/>
                  </a:cubicBezTo>
                  <a:cubicBezTo>
                    <a:pt x="5863" y="842"/>
                    <a:pt x="5755" y="866"/>
                    <a:pt x="5681" y="892"/>
                  </a:cubicBezTo>
                  <a:cubicBezTo>
                    <a:pt x="5672" y="600"/>
                    <a:pt x="5544" y="312"/>
                    <a:pt x="5298" y="34"/>
                  </a:cubicBezTo>
                  <a:cubicBezTo>
                    <a:pt x="5281" y="14"/>
                    <a:pt x="5256" y="3"/>
                    <a:pt x="5230" y="1"/>
                  </a:cubicBezTo>
                  <a:cubicBezTo>
                    <a:pt x="5205" y="0"/>
                    <a:pt x="5179" y="9"/>
                    <a:pt x="5160" y="26"/>
                  </a:cubicBezTo>
                  <a:cubicBezTo>
                    <a:pt x="5155" y="31"/>
                    <a:pt x="4777" y="385"/>
                    <a:pt x="4772" y="896"/>
                  </a:cubicBezTo>
                  <a:cubicBezTo>
                    <a:pt x="4693" y="869"/>
                    <a:pt x="4583" y="842"/>
                    <a:pt x="4428" y="819"/>
                  </a:cubicBezTo>
                  <a:cubicBezTo>
                    <a:pt x="4400" y="815"/>
                    <a:pt x="4372" y="824"/>
                    <a:pt x="4351" y="842"/>
                  </a:cubicBezTo>
                  <a:cubicBezTo>
                    <a:pt x="4330" y="860"/>
                    <a:pt x="4317" y="886"/>
                    <a:pt x="4317" y="914"/>
                  </a:cubicBezTo>
                  <a:cubicBezTo>
                    <a:pt x="4315" y="1158"/>
                    <a:pt x="4441" y="1652"/>
                    <a:pt x="4934" y="1776"/>
                  </a:cubicBezTo>
                  <a:cubicBezTo>
                    <a:pt x="4942" y="1778"/>
                    <a:pt x="4950" y="1779"/>
                    <a:pt x="4958" y="1779"/>
                  </a:cubicBezTo>
                  <a:cubicBezTo>
                    <a:pt x="5001" y="1779"/>
                    <a:pt x="5040" y="1749"/>
                    <a:pt x="5052" y="1705"/>
                  </a:cubicBezTo>
                  <a:cubicBezTo>
                    <a:pt x="5065" y="1653"/>
                    <a:pt x="5033" y="1601"/>
                    <a:pt x="4981" y="1588"/>
                  </a:cubicBezTo>
                  <a:cubicBezTo>
                    <a:pt x="4643" y="1503"/>
                    <a:pt x="4548" y="1200"/>
                    <a:pt x="4521" y="1031"/>
                  </a:cubicBezTo>
                  <a:cubicBezTo>
                    <a:pt x="4681" y="1062"/>
                    <a:pt x="4760" y="1097"/>
                    <a:pt x="4793" y="1114"/>
                  </a:cubicBezTo>
                  <a:cubicBezTo>
                    <a:pt x="4815" y="1225"/>
                    <a:pt x="4857" y="1341"/>
                    <a:pt x="4924" y="1461"/>
                  </a:cubicBezTo>
                  <a:cubicBezTo>
                    <a:pt x="4950" y="1508"/>
                    <a:pt x="5010" y="1525"/>
                    <a:pt x="5056" y="1499"/>
                  </a:cubicBezTo>
                  <a:cubicBezTo>
                    <a:pt x="5103" y="1472"/>
                    <a:pt x="5119" y="1413"/>
                    <a:pt x="5093" y="1367"/>
                  </a:cubicBezTo>
                  <a:cubicBezTo>
                    <a:pt x="4800" y="843"/>
                    <a:pt x="5080" y="412"/>
                    <a:pt x="5221" y="244"/>
                  </a:cubicBezTo>
                  <a:cubicBezTo>
                    <a:pt x="5413" y="489"/>
                    <a:pt x="5503" y="737"/>
                    <a:pt x="5487" y="983"/>
                  </a:cubicBezTo>
                  <a:cubicBezTo>
                    <a:pt x="5461" y="1380"/>
                    <a:pt x="5165" y="1644"/>
                    <a:pt x="5161" y="1647"/>
                  </a:cubicBezTo>
                  <a:cubicBezTo>
                    <a:pt x="5135" y="1670"/>
                    <a:pt x="5125" y="1704"/>
                    <a:pt x="5130" y="1736"/>
                  </a:cubicBezTo>
                  <a:cubicBezTo>
                    <a:pt x="5130" y="2059"/>
                    <a:pt x="5130" y="2059"/>
                    <a:pt x="5130" y="2059"/>
                  </a:cubicBezTo>
                  <a:cubicBezTo>
                    <a:pt x="5130" y="2059"/>
                    <a:pt x="5130" y="2059"/>
                    <a:pt x="5130" y="2059"/>
                  </a:cubicBezTo>
                  <a:cubicBezTo>
                    <a:pt x="4978" y="2066"/>
                    <a:pt x="4826" y="2090"/>
                    <a:pt x="4679" y="2132"/>
                  </a:cubicBezTo>
                  <a:cubicBezTo>
                    <a:pt x="4362" y="2222"/>
                    <a:pt x="4027" y="2222"/>
                    <a:pt x="3710" y="2132"/>
                  </a:cubicBezTo>
                  <a:cubicBezTo>
                    <a:pt x="3568" y="2091"/>
                    <a:pt x="3423" y="2068"/>
                    <a:pt x="3277" y="2060"/>
                  </a:cubicBezTo>
                  <a:cubicBezTo>
                    <a:pt x="3277" y="2060"/>
                    <a:pt x="3277" y="2059"/>
                    <a:pt x="3277" y="2059"/>
                  </a:cubicBezTo>
                  <a:cubicBezTo>
                    <a:pt x="3277" y="1823"/>
                    <a:pt x="3277" y="1823"/>
                    <a:pt x="3277" y="1823"/>
                  </a:cubicBezTo>
                  <a:cubicBezTo>
                    <a:pt x="3496" y="1805"/>
                    <a:pt x="3675" y="1727"/>
                    <a:pt x="3811" y="1590"/>
                  </a:cubicBezTo>
                  <a:cubicBezTo>
                    <a:pt x="4073" y="1327"/>
                    <a:pt x="4075" y="943"/>
                    <a:pt x="4075" y="927"/>
                  </a:cubicBezTo>
                  <a:cubicBezTo>
                    <a:pt x="4075" y="900"/>
                    <a:pt x="4063" y="875"/>
                    <a:pt x="4044" y="857"/>
                  </a:cubicBezTo>
                  <a:cubicBezTo>
                    <a:pt x="4024" y="838"/>
                    <a:pt x="3999" y="829"/>
                    <a:pt x="3971" y="831"/>
                  </a:cubicBezTo>
                  <a:cubicBezTo>
                    <a:pt x="3817" y="842"/>
                    <a:pt x="3709" y="866"/>
                    <a:pt x="3635" y="892"/>
                  </a:cubicBezTo>
                  <a:cubicBezTo>
                    <a:pt x="3625" y="600"/>
                    <a:pt x="3497" y="312"/>
                    <a:pt x="3251" y="34"/>
                  </a:cubicBezTo>
                  <a:cubicBezTo>
                    <a:pt x="3234" y="14"/>
                    <a:pt x="3210" y="3"/>
                    <a:pt x="3184" y="1"/>
                  </a:cubicBezTo>
                  <a:cubicBezTo>
                    <a:pt x="3159" y="0"/>
                    <a:pt x="3133" y="9"/>
                    <a:pt x="3113" y="26"/>
                  </a:cubicBezTo>
                  <a:cubicBezTo>
                    <a:pt x="3108" y="31"/>
                    <a:pt x="2730" y="385"/>
                    <a:pt x="2725" y="896"/>
                  </a:cubicBezTo>
                  <a:cubicBezTo>
                    <a:pt x="2647" y="869"/>
                    <a:pt x="2537" y="842"/>
                    <a:pt x="2381" y="819"/>
                  </a:cubicBezTo>
                  <a:cubicBezTo>
                    <a:pt x="2354" y="815"/>
                    <a:pt x="2326" y="824"/>
                    <a:pt x="2304" y="842"/>
                  </a:cubicBezTo>
                  <a:cubicBezTo>
                    <a:pt x="2283" y="860"/>
                    <a:pt x="2271" y="886"/>
                    <a:pt x="2271" y="914"/>
                  </a:cubicBezTo>
                  <a:cubicBezTo>
                    <a:pt x="2269" y="1158"/>
                    <a:pt x="2395" y="1652"/>
                    <a:pt x="2888" y="1776"/>
                  </a:cubicBezTo>
                  <a:cubicBezTo>
                    <a:pt x="2895" y="1778"/>
                    <a:pt x="2903" y="1779"/>
                    <a:pt x="2911" y="1779"/>
                  </a:cubicBezTo>
                  <a:cubicBezTo>
                    <a:pt x="2955" y="1779"/>
                    <a:pt x="2994" y="1749"/>
                    <a:pt x="3005" y="1705"/>
                  </a:cubicBezTo>
                  <a:cubicBezTo>
                    <a:pt x="3018" y="1653"/>
                    <a:pt x="2987" y="1601"/>
                    <a:pt x="2935" y="1588"/>
                  </a:cubicBezTo>
                  <a:cubicBezTo>
                    <a:pt x="2597" y="1503"/>
                    <a:pt x="2501" y="1200"/>
                    <a:pt x="2475" y="1031"/>
                  </a:cubicBezTo>
                  <a:cubicBezTo>
                    <a:pt x="2635" y="1062"/>
                    <a:pt x="2714" y="1097"/>
                    <a:pt x="2747" y="1114"/>
                  </a:cubicBezTo>
                  <a:cubicBezTo>
                    <a:pt x="2769" y="1225"/>
                    <a:pt x="2811" y="1341"/>
                    <a:pt x="2878" y="1461"/>
                  </a:cubicBezTo>
                  <a:cubicBezTo>
                    <a:pt x="2904" y="1508"/>
                    <a:pt x="2963" y="1525"/>
                    <a:pt x="3010" y="1499"/>
                  </a:cubicBezTo>
                  <a:cubicBezTo>
                    <a:pt x="3057" y="1472"/>
                    <a:pt x="3073" y="1413"/>
                    <a:pt x="3047" y="1367"/>
                  </a:cubicBezTo>
                  <a:cubicBezTo>
                    <a:pt x="2753" y="843"/>
                    <a:pt x="3033" y="412"/>
                    <a:pt x="3175" y="244"/>
                  </a:cubicBezTo>
                  <a:cubicBezTo>
                    <a:pt x="3367" y="489"/>
                    <a:pt x="3456" y="737"/>
                    <a:pt x="3441" y="983"/>
                  </a:cubicBezTo>
                  <a:cubicBezTo>
                    <a:pt x="3415" y="1380"/>
                    <a:pt x="3119" y="1644"/>
                    <a:pt x="3115" y="1647"/>
                  </a:cubicBezTo>
                  <a:cubicBezTo>
                    <a:pt x="3089" y="1670"/>
                    <a:pt x="3078" y="1704"/>
                    <a:pt x="3083" y="1736"/>
                  </a:cubicBezTo>
                  <a:cubicBezTo>
                    <a:pt x="3083" y="2059"/>
                    <a:pt x="3083" y="2059"/>
                    <a:pt x="3083" y="2059"/>
                  </a:cubicBezTo>
                  <a:cubicBezTo>
                    <a:pt x="3083" y="2059"/>
                    <a:pt x="3083" y="2059"/>
                    <a:pt x="3083" y="2060"/>
                  </a:cubicBezTo>
                  <a:cubicBezTo>
                    <a:pt x="2932" y="2066"/>
                    <a:pt x="2782" y="2090"/>
                    <a:pt x="2635" y="2132"/>
                  </a:cubicBezTo>
                  <a:cubicBezTo>
                    <a:pt x="2318" y="2222"/>
                    <a:pt x="1984" y="2222"/>
                    <a:pt x="1667" y="2132"/>
                  </a:cubicBezTo>
                  <a:cubicBezTo>
                    <a:pt x="1524" y="2091"/>
                    <a:pt x="1378" y="2068"/>
                    <a:pt x="1231" y="2060"/>
                  </a:cubicBezTo>
                  <a:cubicBezTo>
                    <a:pt x="1231" y="2060"/>
                    <a:pt x="1231" y="2059"/>
                    <a:pt x="1231" y="2059"/>
                  </a:cubicBezTo>
                  <a:cubicBezTo>
                    <a:pt x="1231" y="1823"/>
                    <a:pt x="1231" y="1823"/>
                    <a:pt x="1231" y="1823"/>
                  </a:cubicBezTo>
                  <a:cubicBezTo>
                    <a:pt x="1449" y="1805"/>
                    <a:pt x="1629" y="1727"/>
                    <a:pt x="1765" y="1590"/>
                  </a:cubicBezTo>
                  <a:cubicBezTo>
                    <a:pt x="2027" y="1327"/>
                    <a:pt x="2029" y="943"/>
                    <a:pt x="2029" y="927"/>
                  </a:cubicBezTo>
                  <a:cubicBezTo>
                    <a:pt x="2028" y="900"/>
                    <a:pt x="2017" y="875"/>
                    <a:pt x="1998" y="857"/>
                  </a:cubicBezTo>
                  <a:cubicBezTo>
                    <a:pt x="1978" y="838"/>
                    <a:pt x="1953" y="829"/>
                    <a:pt x="1925" y="831"/>
                  </a:cubicBezTo>
                  <a:cubicBezTo>
                    <a:pt x="1770" y="842"/>
                    <a:pt x="1663" y="866"/>
                    <a:pt x="1589" y="892"/>
                  </a:cubicBezTo>
                  <a:cubicBezTo>
                    <a:pt x="1579" y="600"/>
                    <a:pt x="1451" y="312"/>
                    <a:pt x="1205" y="34"/>
                  </a:cubicBezTo>
                  <a:cubicBezTo>
                    <a:pt x="1188" y="14"/>
                    <a:pt x="1164" y="3"/>
                    <a:pt x="1138" y="1"/>
                  </a:cubicBezTo>
                  <a:cubicBezTo>
                    <a:pt x="1111" y="0"/>
                    <a:pt x="1086" y="9"/>
                    <a:pt x="1067" y="26"/>
                  </a:cubicBezTo>
                  <a:cubicBezTo>
                    <a:pt x="1062" y="31"/>
                    <a:pt x="684" y="385"/>
                    <a:pt x="679" y="896"/>
                  </a:cubicBezTo>
                  <a:cubicBezTo>
                    <a:pt x="601" y="869"/>
                    <a:pt x="491" y="842"/>
                    <a:pt x="335" y="819"/>
                  </a:cubicBezTo>
                  <a:cubicBezTo>
                    <a:pt x="307" y="815"/>
                    <a:pt x="279" y="824"/>
                    <a:pt x="258" y="842"/>
                  </a:cubicBezTo>
                  <a:cubicBezTo>
                    <a:pt x="237" y="860"/>
                    <a:pt x="225" y="886"/>
                    <a:pt x="224" y="914"/>
                  </a:cubicBezTo>
                  <a:cubicBezTo>
                    <a:pt x="222" y="1158"/>
                    <a:pt x="349" y="1652"/>
                    <a:pt x="841" y="1776"/>
                  </a:cubicBezTo>
                  <a:cubicBezTo>
                    <a:pt x="849" y="1778"/>
                    <a:pt x="857" y="1779"/>
                    <a:pt x="865" y="1779"/>
                  </a:cubicBezTo>
                  <a:cubicBezTo>
                    <a:pt x="908" y="1779"/>
                    <a:pt x="948" y="1749"/>
                    <a:pt x="959" y="1705"/>
                  </a:cubicBezTo>
                  <a:cubicBezTo>
                    <a:pt x="972" y="1653"/>
                    <a:pt x="940" y="1601"/>
                    <a:pt x="888" y="1588"/>
                  </a:cubicBezTo>
                  <a:cubicBezTo>
                    <a:pt x="550" y="1503"/>
                    <a:pt x="455" y="1200"/>
                    <a:pt x="429" y="1031"/>
                  </a:cubicBezTo>
                  <a:cubicBezTo>
                    <a:pt x="589" y="1062"/>
                    <a:pt x="668" y="1097"/>
                    <a:pt x="700" y="1114"/>
                  </a:cubicBezTo>
                  <a:cubicBezTo>
                    <a:pt x="723" y="1225"/>
                    <a:pt x="764" y="1341"/>
                    <a:pt x="832" y="1461"/>
                  </a:cubicBezTo>
                  <a:cubicBezTo>
                    <a:pt x="858" y="1508"/>
                    <a:pt x="917" y="1525"/>
                    <a:pt x="963" y="1499"/>
                  </a:cubicBezTo>
                  <a:cubicBezTo>
                    <a:pt x="1010" y="1472"/>
                    <a:pt x="1027" y="1413"/>
                    <a:pt x="1001" y="1367"/>
                  </a:cubicBezTo>
                  <a:cubicBezTo>
                    <a:pt x="707" y="843"/>
                    <a:pt x="987" y="412"/>
                    <a:pt x="1128" y="244"/>
                  </a:cubicBezTo>
                  <a:cubicBezTo>
                    <a:pt x="1321" y="489"/>
                    <a:pt x="1410" y="737"/>
                    <a:pt x="1394" y="983"/>
                  </a:cubicBezTo>
                  <a:cubicBezTo>
                    <a:pt x="1369" y="1380"/>
                    <a:pt x="1073" y="1644"/>
                    <a:pt x="1069" y="1647"/>
                  </a:cubicBezTo>
                  <a:cubicBezTo>
                    <a:pt x="1042" y="1670"/>
                    <a:pt x="1032" y="1704"/>
                    <a:pt x="1037" y="1736"/>
                  </a:cubicBezTo>
                  <a:cubicBezTo>
                    <a:pt x="1037" y="2059"/>
                    <a:pt x="1037" y="2059"/>
                    <a:pt x="1037" y="2059"/>
                  </a:cubicBezTo>
                  <a:cubicBezTo>
                    <a:pt x="1037" y="2059"/>
                    <a:pt x="1037" y="2059"/>
                    <a:pt x="1037" y="2060"/>
                  </a:cubicBezTo>
                  <a:cubicBezTo>
                    <a:pt x="887" y="2067"/>
                    <a:pt x="738" y="2090"/>
                    <a:pt x="592" y="2132"/>
                  </a:cubicBezTo>
                  <a:cubicBezTo>
                    <a:pt x="81" y="2278"/>
                    <a:pt x="81" y="2278"/>
                    <a:pt x="81" y="2278"/>
                  </a:cubicBezTo>
                  <a:cubicBezTo>
                    <a:pt x="30" y="2293"/>
                    <a:pt x="0" y="2346"/>
                    <a:pt x="15" y="2398"/>
                  </a:cubicBezTo>
                  <a:cubicBezTo>
                    <a:pt x="29" y="2449"/>
                    <a:pt x="83" y="2479"/>
                    <a:pt x="134" y="2464"/>
                  </a:cubicBezTo>
                  <a:cubicBezTo>
                    <a:pt x="645" y="2318"/>
                    <a:pt x="645" y="2318"/>
                    <a:pt x="645" y="2318"/>
                  </a:cubicBezTo>
                  <a:cubicBezTo>
                    <a:pt x="962" y="2228"/>
                    <a:pt x="1297" y="2228"/>
                    <a:pt x="1614" y="2318"/>
                  </a:cubicBezTo>
                  <a:cubicBezTo>
                    <a:pt x="1965" y="2419"/>
                    <a:pt x="2337" y="2419"/>
                    <a:pt x="2689" y="2318"/>
                  </a:cubicBezTo>
                  <a:cubicBezTo>
                    <a:pt x="3005" y="2228"/>
                    <a:pt x="3340" y="2228"/>
                    <a:pt x="3657" y="2318"/>
                  </a:cubicBezTo>
                  <a:cubicBezTo>
                    <a:pt x="4009" y="2419"/>
                    <a:pt x="4380" y="2419"/>
                    <a:pt x="4732" y="2318"/>
                  </a:cubicBezTo>
                  <a:cubicBezTo>
                    <a:pt x="5049" y="2228"/>
                    <a:pt x="5383" y="2227"/>
                    <a:pt x="5700" y="2318"/>
                  </a:cubicBezTo>
                  <a:cubicBezTo>
                    <a:pt x="6211" y="2464"/>
                    <a:pt x="6211" y="2464"/>
                    <a:pt x="6211" y="2464"/>
                  </a:cubicBezTo>
                  <a:cubicBezTo>
                    <a:pt x="6220" y="2467"/>
                    <a:pt x="6229" y="2468"/>
                    <a:pt x="6238" y="2468"/>
                  </a:cubicBezTo>
                  <a:cubicBezTo>
                    <a:pt x="6280" y="2468"/>
                    <a:pt x="6319" y="2440"/>
                    <a:pt x="6331" y="2398"/>
                  </a:cubicBezTo>
                  <a:cubicBezTo>
                    <a:pt x="6346" y="2346"/>
                    <a:pt x="6316" y="2293"/>
                    <a:pt x="6264" y="2278"/>
                  </a:cubicBezTo>
                  <a:close/>
                  <a:moveTo>
                    <a:pt x="5665" y="1114"/>
                  </a:moveTo>
                  <a:cubicBezTo>
                    <a:pt x="5667" y="1113"/>
                    <a:pt x="5669" y="1112"/>
                    <a:pt x="5671" y="1110"/>
                  </a:cubicBezTo>
                  <a:cubicBezTo>
                    <a:pt x="5672" y="1109"/>
                    <a:pt x="5729" y="1063"/>
                    <a:pt x="5917" y="1036"/>
                  </a:cubicBezTo>
                  <a:cubicBezTo>
                    <a:pt x="5899" y="1147"/>
                    <a:pt x="5851" y="1323"/>
                    <a:pt x="5720" y="1454"/>
                  </a:cubicBezTo>
                  <a:cubicBezTo>
                    <a:pt x="5649" y="1525"/>
                    <a:pt x="5560" y="1576"/>
                    <a:pt x="5454" y="1604"/>
                  </a:cubicBezTo>
                  <a:cubicBezTo>
                    <a:pt x="5538" y="1487"/>
                    <a:pt x="5628" y="1320"/>
                    <a:pt x="5665" y="1114"/>
                  </a:cubicBezTo>
                  <a:close/>
                  <a:moveTo>
                    <a:pt x="3619" y="1114"/>
                  </a:moveTo>
                  <a:cubicBezTo>
                    <a:pt x="3621" y="1113"/>
                    <a:pt x="3623" y="1112"/>
                    <a:pt x="3625" y="1110"/>
                  </a:cubicBezTo>
                  <a:cubicBezTo>
                    <a:pt x="3625" y="1109"/>
                    <a:pt x="3683" y="1062"/>
                    <a:pt x="3871" y="1036"/>
                  </a:cubicBezTo>
                  <a:cubicBezTo>
                    <a:pt x="3845" y="1202"/>
                    <a:pt x="3750" y="1507"/>
                    <a:pt x="3409" y="1603"/>
                  </a:cubicBezTo>
                  <a:cubicBezTo>
                    <a:pt x="3492" y="1486"/>
                    <a:pt x="3582" y="1319"/>
                    <a:pt x="3619" y="1114"/>
                  </a:cubicBezTo>
                  <a:close/>
                  <a:moveTo>
                    <a:pt x="1573" y="1114"/>
                  </a:moveTo>
                  <a:cubicBezTo>
                    <a:pt x="1574" y="1113"/>
                    <a:pt x="1577" y="1112"/>
                    <a:pt x="1579" y="1110"/>
                  </a:cubicBezTo>
                  <a:cubicBezTo>
                    <a:pt x="1579" y="1109"/>
                    <a:pt x="1636" y="1063"/>
                    <a:pt x="1824" y="1036"/>
                  </a:cubicBezTo>
                  <a:cubicBezTo>
                    <a:pt x="1807" y="1147"/>
                    <a:pt x="1758" y="1323"/>
                    <a:pt x="1628" y="1454"/>
                  </a:cubicBezTo>
                  <a:cubicBezTo>
                    <a:pt x="1556" y="1525"/>
                    <a:pt x="1467" y="1576"/>
                    <a:pt x="1362" y="1604"/>
                  </a:cubicBezTo>
                  <a:cubicBezTo>
                    <a:pt x="1445" y="1487"/>
                    <a:pt x="1536" y="1320"/>
                    <a:pt x="1573" y="1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25">
              <a:extLst>
                <a:ext uri="{FF2B5EF4-FFF2-40B4-BE49-F238E27FC236}">
                  <a16:creationId xmlns:a16="http://schemas.microsoft.com/office/drawing/2014/main" id="{551613B7-B748-44B7-911D-9A334375361D}"/>
                </a:ext>
              </a:extLst>
            </p:cNvPr>
            <p:cNvSpPr>
              <a:spLocks/>
            </p:cNvSpPr>
            <p:nvPr/>
          </p:nvSpPr>
          <p:spPr bwMode="auto">
            <a:xfrm>
              <a:off x="-2239963" y="-3784601"/>
              <a:ext cx="484188" cy="1339850"/>
            </a:xfrm>
            <a:custGeom>
              <a:avLst/>
              <a:gdLst>
                <a:gd name="T0" fmla="*/ 364 w 670"/>
                <a:gd name="T1" fmla="*/ 1854 h 1860"/>
                <a:gd name="T2" fmla="*/ 368 w 670"/>
                <a:gd name="T3" fmla="*/ 1853 h 1860"/>
                <a:gd name="T4" fmla="*/ 380 w 670"/>
                <a:gd name="T5" fmla="*/ 1847 h 1860"/>
                <a:gd name="T6" fmla="*/ 383 w 670"/>
                <a:gd name="T7" fmla="*/ 1845 h 1860"/>
                <a:gd name="T8" fmla="*/ 396 w 670"/>
                <a:gd name="T9" fmla="*/ 1834 h 1860"/>
                <a:gd name="T10" fmla="*/ 636 w 670"/>
                <a:gd name="T11" fmla="*/ 1594 h 1860"/>
                <a:gd name="T12" fmla="*/ 636 w 670"/>
                <a:gd name="T13" fmla="*/ 1472 h 1860"/>
                <a:gd name="T14" fmla="*/ 514 w 670"/>
                <a:gd name="T15" fmla="*/ 1472 h 1860"/>
                <a:gd name="T16" fmla="*/ 422 w 670"/>
                <a:gd name="T17" fmla="*/ 1564 h 1860"/>
                <a:gd name="T18" fmla="*/ 422 w 670"/>
                <a:gd name="T19" fmla="*/ 1036 h 1860"/>
                <a:gd name="T20" fmla="*/ 422 w 670"/>
                <a:gd name="T21" fmla="*/ 862 h 1860"/>
                <a:gd name="T22" fmla="*/ 422 w 670"/>
                <a:gd name="T23" fmla="*/ 296 h 1860"/>
                <a:gd name="T24" fmla="*/ 514 w 670"/>
                <a:gd name="T25" fmla="*/ 388 h 1860"/>
                <a:gd name="T26" fmla="*/ 575 w 670"/>
                <a:gd name="T27" fmla="*/ 413 h 1860"/>
                <a:gd name="T28" fmla="*/ 636 w 670"/>
                <a:gd name="T29" fmla="*/ 388 h 1860"/>
                <a:gd name="T30" fmla="*/ 636 w 670"/>
                <a:gd name="T31" fmla="*/ 266 h 1860"/>
                <a:gd name="T32" fmla="*/ 396 w 670"/>
                <a:gd name="T33" fmla="*/ 26 h 1860"/>
                <a:gd name="T34" fmla="*/ 383 w 670"/>
                <a:gd name="T35" fmla="*/ 15 h 1860"/>
                <a:gd name="T36" fmla="*/ 380 w 670"/>
                <a:gd name="T37" fmla="*/ 13 h 1860"/>
                <a:gd name="T38" fmla="*/ 368 w 670"/>
                <a:gd name="T39" fmla="*/ 7 h 1860"/>
                <a:gd name="T40" fmla="*/ 364 w 670"/>
                <a:gd name="T41" fmla="*/ 6 h 1860"/>
                <a:gd name="T42" fmla="*/ 352 w 670"/>
                <a:gd name="T43" fmla="*/ 2 h 1860"/>
                <a:gd name="T44" fmla="*/ 335 w 670"/>
                <a:gd name="T45" fmla="*/ 0 h 1860"/>
                <a:gd name="T46" fmla="*/ 318 w 670"/>
                <a:gd name="T47" fmla="*/ 2 h 1860"/>
                <a:gd name="T48" fmla="*/ 307 w 670"/>
                <a:gd name="T49" fmla="*/ 6 h 1860"/>
                <a:gd name="T50" fmla="*/ 302 w 670"/>
                <a:gd name="T51" fmla="*/ 7 h 1860"/>
                <a:gd name="T52" fmla="*/ 291 w 670"/>
                <a:gd name="T53" fmla="*/ 13 h 1860"/>
                <a:gd name="T54" fmla="*/ 287 w 670"/>
                <a:gd name="T55" fmla="*/ 15 h 1860"/>
                <a:gd name="T56" fmla="*/ 274 w 670"/>
                <a:gd name="T57" fmla="*/ 26 h 1860"/>
                <a:gd name="T58" fmla="*/ 34 w 670"/>
                <a:gd name="T59" fmla="*/ 266 h 1860"/>
                <a:gd name="T60" fmla="*/ 34 w 670"/>
                <a:gd name="T61" fmla="*/ 388 h 1860"/>
                <a:gd name="T62" fmla="*/ 156 w 670"/>
                <a:gd name="T63" fmla="*/ 388 h 1860"/>
                <a:gd name="T64" fmla="*/ 249 w 670"/>
                <a:gd name="T65" fmla="*/ 296 h 1860"/>
                <a:gd name="T66" fmla="*/ 249 w 670"/>
                <a:gd name="T67" fmla="*/ 862 h 1860"/>
                <a:gd name="T68" fmla="*/ 249 w 670"/>
                <a:gd name="T69" fmla="*/ 1036 h 1860"/>
                <a:gd name="T70" fmla="*/ 249 w 670"/>
                <a:gd name="T71" fmla="*/ 1564 h 1860"/>
                <a:gd name="T72" fmla="*/ 156 w 670"/>
                <a:gd name="T73" fmla="*/ 1472 h 1860"/>
                <a:gd name="T74" fmla="*/ 34 w 670"/>
                <a:gd name="T75" fmla="*/ 1472 h 1860"/>
                <a:gd name="T76" fmla="*/ 34 w 670"/>
                <a:gd name="T77" fmla="*/ 1594 h 1860"/>
                <a:gd name="T78" fmla="*/ 274 w 670"/>
                <a:gd name="T79" fmla="*/ 1834 h 1860"/>
                <a:gd name="T80" fmla="*/ 287 w 670"/>
                <a:gd name="T81" fmla="*/ 1845 h 1860"/>
                <a:gd name="T82" fmla="*/ 291 w 670"/>
                <a:gd name="T83" fmla="*/ 1847 h 1860"/>
                <a:gd name="T84" fmla="*/ 302 w 670"/>
                <a:gd name="T85" fmla="*/ 1853 h 1860"/>
                <a:gd name="T86" fmla="*/ 307 w 670"/>
                <a:gd name="T87" fmla="*/ 1854 h 1860"/>
                <a:gd name="T88" fmla="*/ 318 w 670"/>
                <a:gd name="T89" fmla="*/ 1858 h 1860"/>
                <a:gd name="T90" fmla="*/ 335 w 670"/>
                <a:gd name="T91" fmla="*/ 1860 h 1860"/>
                <a:gd name="T92" fmla="*/ 352 w 670"/>
                <a:gd name="T93" fmla="*/ 1858 h 1860"/>
                <a:gd name="T94" fmla="*/ 364 w 670"/>
                <a:gd name="T95" fmla="*/ 1854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0" h="1860">
                  <a:moveTo>
                    <a:pt x="364" y="1854"/>
                  </a:moveTo>
                  <a:cubicBezTo>
                    <a:pt x="365" y="1854"/>
                    <a:pt x="367" y="1854"/>
                    <a:pt x="368" y="1853"/>
                  </a:cubicBezTo>
                  <a:cubicBezTo>
                    <a:pt x="373" y="1851"/>
                    <a:pt x="376" y="1849"/>
                    <a:pt x="380" y="1847"/>
                  </a:cubicBezTo>
                  <a:cubicBezTo>
                    <a:pt x="381" y="1846"/>
                    <a:pt x="382" y="1846"/>
                    <a:pt x="383" y="1845"/>
                  </a:cubicBezTo>
                  <a:cubicBezTo>
                    <a:pt x="388" y="1842"/>
                    <a:pt x="392" y="1838"/>
                    <a:pt x="396" y="1834"/>
                  </a:cubicBezTo>
                  <a:cubicBezTo>
                    <a:pt x="636" y="1594"/>
                    <a:pt x="636" y="1594"/>
                    <a:pt x="636" y="1594"/>
                  </a:cubicBezTo>
                  <a:cubicBezTo>
                    <a:pt x="670" y="1561"/>
                    <a:pt x="670" y="1506"/>
                    <a:pt x="636" y="1472"/>
                  </a:cubicBezTo>
                  <a:cubicBezTo>
                    <a:pt x="602" y="1438"/>
                    <a:pt x="548" y="1438"/>
                    <a:pt x="514" y="1472"/>
                  </a:cubicBezTo>
                  <a:cubicBezTo>
                    <a:pt x="422" y="1564"/>
                    <a:pt x="422" y="1564"/>
                    <a:pt x="422" y="1564"/>
                  </a:cubicBezTo>
                  <a:cubicBezTo>
                    <a:pt x="422" y="1036"/>
                    <a:pt x="422" y="1036"/>
                    <a:pt x="422" y="1036"/>
                  </a:cubicBezTo>
                  <a:cubicBezTo>
                    <a:pt x="422" y="862"/>
                    <a:pt x="422" y="862"/>
                    <a:pt x="422" y="862"/>
                  </a:cubicBezTo>
                  <a:cubicBezTo>
                    <a:pt x="422" y="296"/>
                    <a:pt x="422" y="296"/>
                    <a:pt x="422" y="296"/>
                  </a:cubicBezTo>
                  <a:cubicBezTo>
                    <a:pt x="514" y="388"/>
                    <a:pt x="514" y="388"/>
                    <a:pt x="514" y="388"/>
                  </a:cubicBezTo>
                  <a:cubicBezTo>
                    <a:pt x="531" y="405"/>
                    <a:pt x="553" y="413"/>
                    <a:pt x="575" y="413"/>
                  </a:cubicBezTo>
                  <a:cubicBezTo>
                    <a:pt x="597" y="413"/>
                    <a:pt x="619" y="405"/>
                    <a:pt x="636" y="388"/>
                  </a:cubicBezTo>
                  <a:cubicBezTo>
                    <a:pt x="670" y="354"/>
                    <a:pt x="670" y="300"/>
                    <a:pt x="636" y="266"/>
                  </a:cubicBezTo>
                  <a:cubicBezTo>
                    <a:pt x="396" y="26"/>
                    <a:pt x="396" y="26"/>
                    <a:pt x="396" y="26"/>
                  </a:cubicBezTo>
                  <a:cubicBezTo>
                    <a:pt x="392" y="22"/>
                    <a:pt x="388" y="18"/>
                    <a:pt x="383" y="15"/>
                  </a:cubicBezTo>
                  <a:cubicBezTo>
                    <a:pt x="382" y="14"/>
                    <a:pt x="381" y="14"/>
                    <a:pt x="380" y="13"/>
                  </a:cubicBezTo>
                  <a:cubicBezTo>
                    <a:pt x="376" y="11"/>
                    <a:pt x="373" y="9"/>
                    <a:pt x="368" y="7"/>
                  </a:cubicBezTo>
                  <a:cubicBezTo>
                    <a:pt x="367" y="6"/>
                    <a:pt x="365" y="6"/>
                    <a:pt x="364" y="6"/>
                  </a:cubicBezTo>
                  <a:cubicBezTo>
                    <a:pt x="360" y="4"/>
                    <a:pt x="356" y="3"/>
                    <a:pt x="352" y="2"/>
                  </a:cubicBezTo>
                  <a:cubicBezTo>
                    <a:pt x="347" y="1"/>
                    <a:pt x="341" y="0"/>
                    <a:pt x="335" y="0"/>
                  </a:cubicBezTo>
                  <a:cubicBezTo>
                    <a:pt x="329" y="0"/>
                    <a:pt x="324" y="1"/>
                    <a:pt x="318" y="2"/>
                  </a:cubicBezTo>
                  <a:cubicBezTo>
                    <a:pt x="314" y="3"/>
                    <a:pt x="311" y="4"/>
                    <a:pt x="307" y="6"/>
                  </a:cubicBezTo>
                  <a:cubicBezTo>
                    <a:pt x="305" y="6"/>
                    <a:pt x="304" y="6"/>
                    <a:pt x="302" y="7"/>
                  </a:cubicBezTo>
                  <a:cubicBezTo>
                    <a:pt x="298" y="9"/>
                    <a:pt x="294" y="11"/>
                    <a:pt x="291" y="13"/>
                  </a:cubicBezTo>
                  <a:cubicBezTo>
                    <a:pt x="289" y="14"/>
                    <a:pt x="288" y="14"/>
                    <a:pt x="287" y="15"/>
                  </a:cubicBezTo>
                  <a:cubicBezTo>
                    <a:pt x="282" y="18"/>
                    <a:pt x="278" y="22"/>
                    <a:pt x="274" y="26"/>
                  </a:cubicBezTo>
                  <a:cubicBezTo>
                    <a:pt x="34" y="266"/>
                    <a:pt x="34" y="266"/>
                    <a:pt x="34" y="266"/>
                  </a:cubicBezTo>
                  <a:cubicBezTo>
                    <a:pt x="0" y="300"/>
                    <a:pt x="0" y="354"/>
                    <a:pt x="34" y="388"/>
                  </a:cubicBezTo>
                  <a:cubicBezTo>
                    <a:pt x="68" y="422"/>
                    <a:pt x="123" y="422"/>
                    <a:pt x="156" y="388"/>
                  </a:cubicBezTo>
                  <a:cubicBezTo>
                    <a:pt x="249" y="296"/>
                    <a:pt x="249" y="296"/>
                    <a:pt x="249" y="296"/>
                  </a:cubicBezTo>
                  <a:cubicBezTo>
                    <a:pt x="249" y="862"/>
                    <a:pt x="249" y="862"/>
                    <a:pt x="249" y="862"/>
                  </a:cubicBezTo>
                  <a:cubicBezTo>
                    <a:pt x="249" y="1036"/>
                    <a:pt x="249" y="1036"/>
                    <a:pt x="249" y="1036"/>
                  </a:cubicBezTo>
                  <a:cubicBezTo>
                    <a:pt x="249" y="1564"/>
                    <a:pt x="249" y="1564"/>
                    <a:pt x="249" y="1564"/>
                  </a:cubicBezTo>
                  <a:cubicBezTo>
                    <a:pt x="156" y="1472"/>
                    <a:pt x="156" y="1472"/>
                    <a:pt x="156" y="1472"/>
                  </a:cubicBezTo>
                  <a:cubicBezTo>
                    <a:pt x="123" y="1438"/>
                    <a:pt x="68" y="1438"/>
                    <a:pt x="34" y="1472"/>
                  </a:cubicBezTo>
                  <a:cubicBezTo>
                    <a:pt x="0" y="1506"/>
                    <a:pt x="0" y="1561"/>
                    <a:pt x="34" y="1594"/>
                  </a:cubicBezTo>
                  <a:cubicBezTo>
                    <a:pt x="274" y="1834"/>
                    <a:pt x="274" y="1834"/>
                    <a:pt x="274" y="1834"/>
                  </a:cubicBezTo>
                  <a:cubicBezTo>
                    <a:pt x="278" y="1838"/>
                    <a:pt x="282" y="1842"/>
                    <a:pt x="287" y="1845"/>
                  </a:cubicBezTo>
                  <a:cubicBezTo>
                    <a:pt x="288" y="1846"/>
                    <a:pt x="289" y="1846"/>
                    <a:pt x="291" y="1847"/>
                  </a:cubicBezTo>
                  <a:cubicBezTo>
                    <a:pt x="294" y="1849"/>
                    <a:pt x="298" y="1851"/>
                    <a:pt x="302" y="1853"/>
                  </a:cubicBezTo>
                  <a:cubicBezTo>
                    <a:pt x="304" y="1854"/>
                    <a:pt x="305" y="1854"/>
                    <a:pt x="307" y="1854"/>
                  </a:cubicBezTo>
                  <a:cubicBezTo>
                    <a:pt x="311" y="1856"/>
                    <a:pt x="314" y="1857"/>
                    <a:pt x="318" y="1858"/>
                  </a:cubicBezTo>
                  <a:cubicBezTo>
                    <a:pt x="324" y="1859"/>
                    <a:pt x="329" y="1860"/>
                    <a:pt x="335" y="1860"/>
                  </a:cubicBezTo>
                  <a:cubicBezTo>
                    <a:pt x="341" y="1860"/>
                    <a:pt x="347" y="1859"/>
                    <a:pt x="352" y="1858"/>
                  </a:cubicBezTo>
                  <a:cubicBezTo>
                    <a:pt x="356" y="1857"/>
                    <a:pt x="360" y="1856"/>
                    <a:pt x="364" y="18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Rectangle 26">
              <a:extLst>
                <a:ext uri="{FF2B5EF4-FFF2-40B4-BE49-F238E27FC236}">
                  <a16:creationId xmlns:a16="http://schemas.microsoft.com/office/drawing/2014/main" id="{E2602132-7B83-4CD2-9F01-29AFB09D9D8A}"/>
                </a:ext>
              </a:extLst>
            </p:cNvPr>
            <p:cNvSpPr>
              <a:spLocks noChangeArrowheads="1"/>
            </p:cNvSpPr>
            <p:nvPr/>
          </p:nvSpPr>
          <p:spPr bwMode="auto">
            <a:xfrm>
              <a:off x="-2689225" y="-1949451"/>
              <a:ext cx="265113"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27">
              <a:extLst>
                <a:ext uri="{FF2B5EF4-FFF2-40B4-BE49-F238E27FC236}">
                  <a16:creationId xmlns:a16="http://schemas.microsoft.com/office/drawing/2014/main" id="{961AA897-9FB3-404E-9FEE-400132B35DAE}"/>
                </a:ext>
              </a:extLst>
            </p:cNvPr>
            <p:cNvSpPr>
              <a:spLocks/>
            </p:cNvSpPr>
            <p:nvPr/>
          </p:nvSpPr>
          <p:spPr bwMode="auto">
            <a:xfrm>
              <a:off x="-2689225" y="-2252663"/>
              <a:ext cx="265113" cy="287338"/>
            </a:xfrm>
            <a:custGeom>
              <a:avLst/>
              <a:gdLst>
                <a:gd name="T0" fmla="*/ 0 w 167"/>
                <a:gd name="T1" fmla="*/ 112 h 181"/>
                <a:gd name="T2" fmla="*/ 167 w 167"/>
                <a:gd name="T3" fmla="*/ 181 h 181"/>
                <a:gd name="T4" fmla="*/ 167 w 167"/>
                <a:gd name="T5" fmla="*/ 130 h 181"/>
                <a:gd name="T6" fmla="*/ 65 w 167"/>
                <a:gd name="T7" fmla="*/ 91 h 181"/>
                <a:gd name="T8" fmla="*/ 167 w 167"/>
                <a:gd name="T9" fmla="*/ 51 h 181"/>
                <a:gd name="T10" fmla="*/ 167 w 167"/>
                <a:gd name="T11" fmla="*/ 0 h 181"/>
                <a:gd name="T12" fmla="*/ 0 w 167"/>
                <a:gd name="T13" fmla="*/ 70 h 181"/>
                <a:gd name="T14" fmla="*/ 0 w 167"/>
                <a:gd name="T15" fmla="*/ 112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81">
                  <a:moveTo>
                    <a:pt x="0" y="112"/>
                  </a:moveTo>
                  <a:lnTo>
                    <a:pt x="167" y="181"/>
                  </a:lnTo>
                  <a:lnTo>
                    <a:pt x="167" y="130"/>
                  </a:lnTo>
                  <a:lnTo>
                    <a:pt x="65" y="91"/>
                  </a:lnTo>
                  <a:lnTo>
                    <a:pt x="167" y="51"/>
                  </a:lnTo>
                  <a:lnTo>
                    <a:pt x="167" y="0"/>
                  </a:lnTo>
                  <a:lnTo>
                    <a:pt x="0" y="70"/>
                  </a:lnTo>
                  <a:lnTo>
                    <a:pt x="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28">
              <a:extLst>
                <a:ext uri="{FF2B5EF4-FFF2-40B4-BE49-F238E27FC236}">
                  <a16:creationId xmlns:a16="http://schemas.microsoft.com/office/drawing/2014/main" id="{BED80B53-1E68-4BB6-839D-DC4274813ED2}"/>
                </a:ext>
              </a:extLst>
            </p:cNvPr>
            <p:cNvSpPr>
              <a:spLocks/>
            </p:cNvSpPr>
            <p:nvPr/>
          </p:nvSpPr>
          <p:spPr bwMode="auto">
            <a:xfrm>
              <a:off x="-2376488" y="-2339976"/>
              <a:ext cx="357188" cy="436563"/>
            </a:xfrm>
            <a:custGeom>
              <a:avLst/>
              <a:gdLst>
                <a:gd name="T0" fmla="*/ 277 w 496"/>
                <a:gd name="T1" fmla="*/ 435 h 606"/>
                <a:gd name="T2" fmla="*/ 344 w 496"/>
                <a:gd name="T3" fmla="*/ 387 h 606"/>
                <a:gd name="T4" fmla="*/ 460 w 496"/>
                <a:gd name="T5" fmla="*/ 278 h 606"/>
                <a:gd name="T6" fmla="*/ 492 w 496"/>
                <a:gd name="T7" fmla="*/ 173 h 606"/>
                <a:gd name="T8" fmla="*/ 464 w 496"/>
                <a:gd name="T9" fmla="*/ 81 h 606"/>
                <a:gd name="T10" fmla="*/ 388 w 496"/>
                <a:gd name="T11" fmla="*/ 20 h 606"/>
                <a:gd name="T12" fmla="*/ 252 w 496"/>
                <a:gd name="T13" fmla="*/ 0 h 606"/>
                <a:gd name="T14" fmla="*/ 121 w 496"/>
                <a:gd name="T15" fmla="*/ 21 h 606"/>
                <a:gd name="T16" fmla="*/ 48 w 496"/>
                <a:gd name="T17" fmla="*/ 81 h 606"/>
                <a:gd name="T18" fmla="*/ 12 w 496"/>
                <a:gd name="T19" fmla="*/ 190 h 606"/>
                <a:gd name="T20" fmla="*/ 178 w 496"/>
                <a:gd name="T21" fmla="*/ 204 h 606"/>
                <a:gd name="T22" fmla="*/ 205 w 496"/>
                <a:gd name="T23" fmla="*/ 133 h 606"/>
                <a:gd name="T24" fmla="*/ 257 w 496"/>
                <a:gd name="T25" fmla="*/ 113 h 606"/>
                <a:gd name="T26" fmla="*/ 307 w 496"/>
                <a:gd name="T27" fmla="*/ 133 h 606"/>
                <a:gd name="T28" fmla="*/ 327 w 496"/>
                <a:gd name="T29" fmla="*/ 179 h 606"/>
                <a:gd name="T30" fmla="*/ 307 w 496"/>
                <a:gd name="T31" fmla="*/ 232 h 606"/>
                <a:gd name="T32" fmla="*/ 214 w 496"/>
                <a:gd name="T33" fmla="*/ 315 h 606"/>
                <a:gd name="T34" fmla="*/ 51 w 496"/>
                <a:gd name="T35" fmla="*/ 468 h 606"/>
                <a:gd name="T36" fmla="*/ 0 w 496"/>
                <a:gd name="T37" fmla="*/ 606 h 606"/>
                <a:gd name="T38" fmla="*/ 496 w 496"/>
                <a:gd name="T39" fmla="*/ 606 h 606"/>
                <a:gd name="T40" fmla="*/ 496 w 496"/>
                <a:gd name="T41" fmla="*/ 471 h 606"/>
                <a:gd name="T42" fmla="*/ 238 w 496"/>
                <a:gd name="T43" fmla="*/ 471 h 606"/>
                <a:gd name="T44" fmla="*/ 277 w 496"/>
                <a:gd name="T45" fmla="*/ 435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606">
                  <a:moveTo>
                    <a:pt x="277" y="435"/>
                  </a:moveTo>
                  <a:cubicBezTo>
                    <a:pt x="289" y="426"/>
                    <a:pt x="311" y="410"/>
                    <a:pt x="344" y="387"/>
                  </a:cubicBezTo>
                  <a:cubicBezTo>
                    <a:pt x="400" y="347"/>
                    <a:pt x="439" y="311"/>
                    <a:pt x="460" y="278"/>
                  </a:cubicBezTo>
                  <a:cubicBezTo>
                    <a:pt x="482" y="245"/>
                    <a:pt x="492" y="210"/>
                    <a:pt x="492" y="173"/>
                  </a:cubicBezTo>
                  <a:cubicBezTo>
                    <a:pt x="492" y="139"/>
                    <a:pt x="483" y="109"/>
                    <a:pt x="464" y="81"/>
                  </a:cubicBezTo>
                  <a:cubicBezTo>
                    <a:pt x="446" y="53"/>
                    <a:pt x="420" y="33"/>
                    <a:pt x="388" y="20"/>
                  </a:cubicBezTo>
                  <a:cubicBezTo>
                    <a:pt x="356" y="7"/>
                    <a:pt x="310" y="0"/>
                    <a:pt x="252" y="0"/>
                  </a:cubicBezTo>
                  <a:cubicBezTo>
                    <a:pt x="196" y="0"/>
                    <a:pt x="152" y="7"/>
                    <a:pt x="121" y="21"/>
                  </a:cubicBezTo>
                  <a:cubicBezTo>
                    <a:pt x="89" y="35"/>
                    <a:pt x="65" y="55"/>
                    <a:pt x="48" y="81"/>
                  </a:cubicBezTo>
                  <a:cubicBezTo>
                    <a:pt x="30" y="107"/>
                    <a:pt x="18" y="144"/>
                    <a:pt x="12" y="190"/>
                  </a:cubicBezTo>
                  <a:cubicBezTo>
                    <a:pt x="178" y="204"/>
                    <a:pt x="178" y="204"/>
                    <a:pt x="178" y="204"/>
                  </a:cubicBezTo>
                  <a:cubicBezTo>
                    <a:pt x="182" y="170"/>
                    <a:pt x="191" y="147"/>
                    <a:pt x="205" y="133"/>
                  </a:cubicBezTo>
                  <a:cubicBezTo>
                    <a:pt x="218" y="120"/>
                    <a:pt x="235" y="113"/>
                    <a:pt x="257" y="113"/>
                  </a:cubicBezTo>
                  <a:cubicBezTo>
                    <a:pt x="277" y="113"/>
                    <a:pt x="294" y="120"/>
                    <a:pt x="307" y="133"/>
                  </a:cubicBezTo>
                  <a:cubicBezTo>
                    <a:pt x="321" y="146"/>
                    <a:pt x="327" y="161"/>
                    <a:pt x="327" y="179"/>
                  </a:cubicBezTo>
                  <a:cubicBezTo>
                    <a:pt x="327" y="196"/>
                    <a:pt x="320" y="214"/>
                    <a:pt x="307" y="232"/>
                  </a:cubicBezTo>
                  <a:cubicBezTo>
                    <a:pt x="293" y="251"/>
                    <a:pt x="262" y="279"/>
                    <a:pt x="214" y="315"/>
                  </a:cubicBezTo>
                  <a:cubicBezTo>
                    <a:pt x="134" y="373"/>
                    <a:pt x="80" y="424"/>
                    <a:pt x="51" y="468"/>
                  </a:cubicBezTo>
                  <a:cubicBezTo>
                    <a:pt x="23" y="511"/>
                    <a:pt x="5" y="557"/>
                    <a:pt x="0" y="606"/>
                  </a:cubicBezTo>
                  <a:cubicBezTo>
                    <a:pt x="496" y="606"/>
                    <a:pt x="496" y="606"/>
                    <a:pt x="496" y="606"/>
                  </a:cubicBezTo>
                  <a:cubicBezTo>
                    <a:pt x="496" y="471"/>
                    <a:pt x="496" y="471"/>
                    <a:pt x="496" y="471"/>
                  </a:cubicBezTo>
                  <a:cubicBezTo>
                    <a:pt x="238" y="471"/>
                    <a:pt x="238" y="471"/>
                    <a:pt x="238" y="471"/>
                  </a:cubicBezTo>
                  <a:cubicBezTo>
                    <a:pt x="253" y="456"/>
                    <a:pt x="266" y="444"/>
                    <a:pt x="277" y="4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29">
              <a:extLst>
                <a:ext uri="{FF2B5EF4-FFF2-40B4-BE49-F238E27FC236}">
                  <a16:creationId xmlns:a16="http://schemas.microsoft.com/office/drawing/2014/main" id="{AFEB39B5-56EC-4F8E-A2AC-F6CF46AC2A87}"/>
                </a:ext>
              </a:extLst>
            </p:cNvPr>
            <p:cNvSpPr>
              <a:spLocks noEditPoints="1"/>
            </p:cNvSpPr>
            <p:nvPr/>
          </p:nvSpPr>
          <p:spPr bwMode="auto">
            <a:xfrm>
              <a:off x="-1990725" y="-2339976"/>
              <a:ext cx="376238" cy="436563"/>
            </a:xfrm>
            <a:custGeom>
              <a:avLst/>
              <a:gdLst>
                <a:gd name="T0" fmla="*/ 203 w 237"/>
                <a:gd name="T1" fmla="*/ 0 h 275"/>
                <a:gd name="T2" fmla="*/ 137 w 237"/>
                <a:gd name="T3" fmla="*/ 0 h 275"/>
                <a:gd name="T4" fmla="*/ 0 w 237"/>
                <a:gd name="T5" fmla="*/ 163 h 275"/>
                <a:gd name="T6" fmla="*/ 0 w 237"/>
                <a:gd name="T7" fmla="*/ 225 h 275"/>
                <a:gd name="T8" fmla="*/ 137 w 237"/>
                <a:gd name="T9" fmla="*/ 225 h 275"/>
                <a:gd name="T10" fmla="*/ 137 w 237"/>
                <a:gd name="T11" fmla="*/ 275 h 275"/>
                <a:gd name="T12" fmla="*/ 203 w 237"/>
                <a:gd name="T13" fmla="*/ 275 h 275"/>
                <a:gd name="T14" fmla="*/ 203 w 237"/>
                <a:gd name="T15" fmla="*/ 225 h 275"/>
                <a:gd name="T16" fmla="*/ 237 w 237"/>
                <a:gd name="T17" fmla="*/ 225 h 275"/>
                <a:gd name="T18" fmla="*/ 237 w 237"/>
                <a:gd name="T19" fmla="*/ 166 h 275"/>
                <a:gd name="T20" fmla="*/ 203 w 237"/>
                <a:gd name="T21" fmla="*/ 166 h 275"/>
                <a:gd name="T22" fmla="*/ 203 w 237"/>
                <a:gd name="T23" fmla="*/ 0 h 275"/>
                <a:gd name="T24" fmla="*/ 137 w 237"/>
                <a:gd name="T25" fmla="*/ 166 h 275"/>
                <a:gd name="T26" fmla="*/ 65 w 237"/>
                <a:gd name="T27" fmla="*/ 166 h 275"/>
                <a:gd name="T28" fmla="*/ 137 w 237"/>
                <a:gd name="T29" fmla="*/ 82 h 275"/>
                <a:gd name="T30" fmla="*/ 137 w 237"/>
                <a:gd name="T31" fmla="*/ 16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7" h="275">
                  <a:moveTo>
                    <a:pt x="203" y="0"/>
                  </a:moveTo>
                  <a:lnTo>
                    <a:pt x="137" y="0"/>
                  </a:lnTo>
                  <a:lnTo>
                    <a:pt x="0" y="163"/>
                  </a:lnTo>
                  <a:lnTo>
                    <a:pt x="0" y="225"/>
                  </a:lnTo>
                  <a:lnTo>
                    <a:pt x="137" y="225"/>
                  </a:lnTo>
                  <a:lnTo>
                    <a:pt x="137" y="275"/>
                  </a:lnTo>
                  <a:lnTo>
                    <a:pt x="203" y="275"/>
                  </a:lnTo>
                  <a:lnTo>
                    <a:pt x="203" y="225"/>
                  </a:lnTo>
                  <a:lnTo>
                    <a:pt x="237" y="225"/>
                  </a:lnTo>
                  <a:lnTo>
                    <a:pt x="237" y="166"/>
                  </a:lnTo>
                  <a:lnTo>
                    <a:pt x="203" y="166"/>
                  </a:lnTo>
                  <a:lnTo>
                    <a:pt x="203" y="0"/>
                  </a:lnTo>
                  <a:close/>
                  <a:moveTo>
                    <a:pt x="137" y="166"/>
                  </a:moveTo>
                  <a:lnTo>
                    <a:pt x="65" y="166"/>
                  </a:lnTo>
                  <a:lnTo>
                    <a:pt x="137" y="82"/>
                  </a:lnTo>
                  <a:lnTo>
                    <a:pt x="137"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30">
              <a:extLst>
                <a:ext uri="{FF2B5EF4-FFF2-40B4-BE49-F238E27FC236}">
                  <a16:creationId xmlns:a16="http://schemas.microsoft.com/office/drawing/2014/main" id="{533FCC7A-F792-4559-9B5E-F4885C7AA895}"/>
                </a:ext>
              </a:extLst>
            </p:cNvPr>
            <p:cNvSpPr>
              <a:spLocks/>
            </p:cNvSpPr>
            <p:nvPr/>
          </p:nvSpPr>
          <p:spPr bwMode="auto">
            <a:xfrm>
              <a:off x="-1633538" y="-2332038"/>
              <a:ext cx="119063" cy="157163"/>
            </a:xfrm>
            <a:custGeom>
              <a:avLst/>
              <a:gdLst>
                <a:gd name="T0" fmla="*/ 0 w 75"/>
                <a:gd name="T1" fmla="*/ 44 h 99"/>
                <a:gd name="T2" fmla="*/ 12 w 75"/>
                <a:gd name="T3" fmla="*/ 99 h 99"/>
                <a:gd name="T4" fmla="*/ 63 w 75"/>
                <a:gd name="T5" fmla="*/ 99 h 99"/>
                <a:gd name="T6" fmla="*/ 75 w 75"/>
                <a:gd name="T7" fmla="*/ 44 h 99"/>
                <a:gd name="T8" fmla="*/ 75 w 75"/>
                <a:gd name="T9" fmla="*/ 0 h 99"/>
                <a:gd name="T10" fmla="*/ 0 w 75"/>
                <a:gd name="T11" fmla="*/ 0 h 99"/>
                <a:gd name="T12" fmla="*/ 0 w 75"/>
                <a:gd name="T13" fmla="*/ 44 h 99"/>
              </a:gdLst>
              <a:ahLst/>
              <a:cxnLst>
                <a:cxn ang="0">
                  <a:pos x="T0" y="T1"/>
                </a:cxn>
                <a:cxn ang="0">
                  <a:pos x="T2" y="T3"/>
                </a:cxn>
                <a:cxn ang="0">
                  <a:pos x="T4" y="T5"/>
                </a:cxn>
                <a:cxn ang="0">
                  <a:pos x="T6" y="T7"/>
                </a:cxn>
                <a:cxn ang="0">
                  <a:pos x="T8" y="T9"/>
                </a:cxn>
                <a:cxn ang="0">
                  <a:pos x="T10" y="T11"/>
                </a:cxn>
                <a:cxn ang="0">
                  <a:pos x="T12" y="T13"/>
                </a:cxn>
              </a:cxnLst>
              <a:rect l="0" t="0" r="r" b="b"/>
              <a:pathLst>
                <a:path w="75" h="99">
                  <a:moveTo>
                    <a:pt x="0" y="44"/>
                  </a:moveTo>
                  <a:lnTo>
                    <a:pt x="12" y="99"/>
                  </a:lnTo>
                  <a:lnTo>
                    <a:pt x="63" y="99"/>
                  </a:lnTo>
                  <a:lnTo>
                    <a:pt x="75" y="44"/>
                  </a:lnTo>
                  <a:lnTo>
                    <a:pt x="75" y="0"/>
                  </a:lnTo>
                  <a:lnTo>
                    <a:pt x="0" y="0"/>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31">
              <a:extLst>
                <a:ext uri="{FF2B5EF4-FFF2-40B4-BE49-F238E27FC236}">
                  <a16:creationId xmlns:a16="http://schemas.microsoft.com/office/drawing/2014/main" id="{ABC632D5-C277-4721-9D13-6BA115F66E50}"/>
                </a:ext>
              </a:extLst>
            </p:cNvPr>
            <p:cNvSpPr>
              <a:spLocks/>
            </p:cNvSpPr>
            <p:nvPr/>
          </p:nvSpPr>
          <p:spPr bwMode="auto">
            <a:xfrm>
              <a:off x="-1481138" y="-2332038"/>
              <a:ext cx="119063" cy="157163"/>
            </a:xfrm>
            <a:custGeom>
              <a:avLst/>
              <a:gdLst>
                <a:gd name="T0" fmla="*/ 0 w 75"/>
                <a:gd name="T1" fmla="*/ 0 h 99"/>
                <a:gd name="T2" fmla="*/ 0 w 75"/>
                <a:gd name="T3" fmla="*/ 44 h 99"/>
                <a:gd name="T4" fmla="*/ 13 w 75"/>
                <a:gd name="T5" fmla="*/ 99 h 99"/>
                <a:gd name="T6" fmla="*/ 63 w 75"/>
                <a:gd name="T7" fmla="*/ 99 h 99"/>
                <a:gd name="T8" fmla="*/ 75 w 75"/>
                <a:gd name="T9" fmla="*/ 44 h 99"/>
                <a:gd name="T10" fmla="*/ 75 w 75"/>
                <a:gd name="T11" fmla="*/ 0 h 99"/>
                <a:gd name="T12" fmla="*/ 0 w 75"/>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75" h="99">
                  <a:moveTo>
                    <a:pt x="0" y="0"/>
                  </a:moveTo>
                  <a:lnTo>
                    <a:pt x="0" y="44"/>
                  </a:lnTo>
                  <a:lnTo>
                    <a:pt x="13" y="99"/>
                  </a:lnTo>
                  <a:lnTo>
                    <a:pt x="63" y="99"/>
                  </a:lnTo>
                  <a:lnTo>
                    <a:pt x="75" y="44"/>
                  </a:lnTo>
                  <a:lnTo>
                    <a:pt x="7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24" name="Group 123">
            <a:extLst>
              <a:ext uri="{FF2B5EF4-FFF2-40B4-BE49-F238E27FC236}">
                <a16:creationId xmlns:a16="http://schemas.microsoft.com/office/drawing/2014/main" id="{C06BCC79-6357-4A7F-B026-72C3EB417712}"/>
              </a:ext>
            </a:extLst>
          </p:cNvPr>
          <p:cNvGrpSpPr/>
          <p:nvPr/>
        </p:nvGrpSpPr>
        <p:grpSpPr>
          <a:xfrm>
            <a:off x="5378401" y="1876645"/>
            <a:ext cx="1266995" cy="595261"/>
            <a:chOff x="5649913" y="-180976"/>
            <a:chExt cx="3892550" cy="1828802"/>
          </a:xfrm>
          <a:solidFill>
            <a:schemeClr val="accent6"/>
          </a:solidFill>
        </p:grpSpPr>
        <p:sp>
          <p:nvSpPr>
            <p:cNvPr id="125" name="Freeform 51">
              <a:extLst>
                <a:ext uri="{FF2B5EF4-FFF2-40B4-BE49-F238E27FC236}">
                  <a16:creationId xmlns:a16="http://schemas.microsoft.com/office/drawing/2014/main" id="{F938FFA2-FD5B-4323-93F3-1B84117F3C34}"/>
                </a:ext>
              </a:extLst>
            </p:cNvPr>
            <p:cNvSpPr>
              <a:spLocks/>
            </p:cNvSpPr>
            <p:nvPr/>
          </p:nvSpPr>
          <p:spPr bwMode="auto">
            <a:xfrm>
              <a:off x="5649913" y="-103188"/>
              <a:ext cx="3892550" cy="1077913"/>
            </a:xfrm>
            <a:custGeom>
              <a:avLst/>
              <a:gdLst>
                <a:gd name="T0" fmla="*/ 790 w 917"/>
                <a:gd name="T1" fmla="*/ 253 h 253"/>
                <a:gd name="T2" fmla="*/ 13 w 917"/>
                <a:gd name="T3" fmla="*/ 253 h 253"/>
                <a:gd name="T4" fmla="*/ 0 w 917"/>
                <a:gd name="T5" fmla="*/ 240 h 253"/>
                <a:gd name="T6" fmla="*/ 13 w 917"/>
                <a:gd name="T7" fmla="*/ 227 h 253"/>
                <a:gd name="T8" fmla="*/ 790 w 917"/>
                <a:gd name="T9" fmla="*/ 227 h 253"/>
                <a:gd name="T10" fmla="*/ 891 w 917"/>
                <a:gd name="T11" fmla="*/ 126 h 253"/>
                <a:gd name="T12" fmla="*/ 790 w 917"/>
                <a:gd name="T13" fmla="*/ 26 h 253"/>
                <a:gd name="T14" fmla="*/ 689 w 917"/>
                <a:gd name="T15" fmla="*/ 126 h 253"/>
                <a:gd name="T16" fmla="*/ 689 w 917"/>
                <a:gd name="T17" fmla="*/ 145 h 253"/>
                <a:gd name="T18" fmla="*/ 677 w 917"/>
                <a:gd name="T19" fmla="*/ 158 h 253"/>
                <a:gd name="T20" fmla="*/ 664 w 917"/>
                <a:gd name="T21" fmla="*/ 145 h 253"/>
                <a:gd name="T22" fmla="*/ 664 w 917"/>
                <a:gd name="T23" fmla="*/ 126 h 253"/>
                <a:gd name="T24" fmla="*/ 790 w 917"/>
                <a:gd name="T25" fmla="*/ 0 h 253"/>
                <a:gd name="T26" fmla="*/ 917 w 917"/>
                <a:gd name="T27" fmla="*/ 126 h 253"/>
                <a:gd name="T28" fmla="*/ 790 w 917"/>
                <a:gd name="T29"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7" h="253">
                  <a:moveTo>
                    <a:pt x="790" y="253"/>
                  </a:moveTo>
                  <a:cubicBezTo>
                    <a:pt x="13" y="253"/>
                    <a:pt x="13" y="253"/>
                    <a:pt x="13" y="253"/>
                  </a:cubicBezTo>
                  <a:cubicBezTo>
                    <a:pt x="5" y="253"/>
                    <a:pt x="0" y="247"/>
                    <a:pt x="0" y="240"/>
                  </a:cubicBezTo>
                  <a:cubicBezTo>
                    <a:pt x="0" y="232"/>
                    <a:pt x="5" y="227"/>
                    <a:pt x="13" y="227"/>
                  </a:cubicBezTo>
                  <a:cubicBezTo>
                    <a:pt x="790" y="227"/>
                    <a:pt x="790" y="227"/>
                    <a:pt x="790" y="227"/>
                  </a:cubicBezTo>
                  <a:cubicBezTo>
                    <a:pt x="846" y="227"/>
                    <a:pt x="891" y="182"/>
                    <a:pt x="891" y="126"/>
                  </a:cubicBezTo>
                  <a:cubicBezTo>
                    <a:pt x="891" y="71"/>
                    <a:pt x="846" y="26"/>
                    <a:pt x="790" y="26"/>
                  </a:cubicBezTo>
                  <a:cubicBezTo>
                    <a:pt x="735" y="26"/>
                    <a:pt x="689" y="71"/>
                    <a:pt x="689" y="126"/>
                  </a:cubicBezTo>
                  <a:cubicBezTo>
                    <a:pt x="689" y="145"/>
                    <a:pt x="689" y="145"/>
                    <a:pt x="689" y="145"/>
                  </a:cubicBezTo>
                  <a:cubicBezTo>
                    <a:pt x="689" y="152"/>
                    <a:pt x="684" y="158"/>
                    <a:pt x="677" y="158"/>
                  </a:cubicBezTo>
                  <a:cubicBezTo>
                    <a:pt x="669" y="158"/>
                    <a:pt x="664" y="152"/>
                    <a:pt x="664" y="145"/>
                  </a:cubicBezTo>
                  <a:cubicBezTo>
                    <a:pt x="664" y="126"/>
                    <a:pt x="664" y="126"/>
                    <a:pt x="664" y="126"/>
                  </a:cubicBezTo>
                  <a:cubicBezTo>
                    <a:pt x="664" y="56"/>
                    <a:pt x="720" y="0"/>
                    <a:pt x="790" y="0"/>
                  </a:cubicBezTo>
                  <a:cubicBezTo>
                    <a:pt x="860" y="0"/>
                    <a:pt x="917" y="56"/>
                    <a:pt x="917" y="126"/>
                  </a:cubicBezTo>
                  <a:cubicBezTo>
                    <a:pt x="917" y="196"/>
                    <a:pt x="860" y="253"/>
                    <a:pt x="79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52">
              <a:extLst>
                <a:ext uri="{FF2B5EF4-FFF2-40B4-BE49-F238E27FC236}">
                  <a16:creationId xmlns:a16="http://schemas.microsoft.com/office/drawing/2014/main" id="{14CCCDB9-39BC-40CC-8BE6-C478716BA396}"/>
                </a:ext>
              </a:extLst>
            </p:cNvPr>
            <p:cNvSpPr>
              <a:spLocks/>
            </p:cNvSpPr>
            <p:nvPr/>
          </p:nvSpPr>
          <p:spPr bwMode="auto">
            <a:xfrm>
              <a:off x="6070600" y="-180976"/>
              <a:ext cx="2244725" cy="869950"/>
            </a:xfrm>
            <a:custGeom>
              <a:avLst/>
              <a:gdLst>
                <a:gd name="T0" fmla="*/ 427 w 529"/>
                <a:gd name="T1" fmla="*/ 204 h 204"/>
                <a:gd name="T2" fmla="*/ 13 w 529"/>
                <a:gd name="T3" fmla="*/ 204 h 204"/>
                <a:gd name="T4" fmla="*/ 0 w 529"/>
                <a:gd name="T5" fmla="*/ 191 h 204"/>
                <a:gd name="T6" fmla="*/ 13 w 529"/>
                <a:gd name="T7" fmla="*/ 178 h 204"/>
                <a:gd name="T8" fmla="*/ 427 w 529"/>
                <a:gd name="T9" fmla="*/ 178 h 204"/>
                <a:gd name="T10" fmla="*/ 503 w 529"/>
                <a:gd name="T11" fmla="*/ 102 h 204"/>
                <a:gd name="T12" fmla="*/ 427 w 529"/>
                <a:gd name="T13" fmla="*/ 26 h 204"/>
                <a:gd name="T14" fmla="*/ 351 w 529"/>
                <a:gd name="T15" fmla="*/ 102 h 204"/>
                <a:gd name="T16" fmla="*/ 351 w 529"/>
                <a:gd name="T17" fmla="*/ 117 h 204"/>
                <a:gd name="T18" fmla="*/ 338 w 529"/>
                <a:gd name="T19" fmla="*/ 130 h 204"/>
                <a:gd name="T20" fmla="*/ 325 w 529"/>
                <a:gd name="T21" fmla="*/ 117 h 204"/>
                <a:gd name="T22" fmla="*/ 325 w 529"/>
                <a:gd name="T23" fmla="*/ 102 h 204"/>
                <a:gd name="T24" fmla="*/ 427 w 529"/>
                <a:gd name="T25" fmla="*/ 0 h 204"/>
                <a:gd name="T26" fmla="*/ 529 w 529"/>
                <a:gd name="T27" fmla="*/ 102 h 204"/>
                <a:gd name="T28" fmla="*/ 427 w 529"/>
                <a:gd name="T2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204">
                  <a:moveTo>
                    <a:pt x="427" y="204"/>
                  </a:moveTo>
                  <a:cubicBezTo>
                    <a:pt x="13" y="204"/>
                    <a:pt x="13" y="204"/>
                    <a:pt x="13" y="204"/>
                  </a:cubicBezTo>
                  <a:cubicBezTo>
                    <a:pt x="6" y="204"/>
                    <a:pt x="0" y="198"/>
                    <a:pt x="0" y="191"/>
                  </a:cubicBezTo>
                  <a:cubicBezTo>
                    <a:pt x="0" y="184"/>
                    <a:pt x="6" y="178"/>
                    <a:pt x="13" y="178"/>
                  </a:cubicBezTo>
                  <a:cubicBezTo>
                    <a:pt x="427" y="178"/>
                    <a:pt x="427" y="178"/>
                    <a:pt x="427" y="178"/>
                  </a:cubicBezTo>
                  <a:cubicBezTo>
                    <a:pt x="469" y="178"/>
                    <a:pt x="503" y="144"/>
                    <a:pt x="503" y="102"/>
                  </a:cubicBezTo>
                  <a:cubicBezTo>
                    <a:pt x="503" y="60"/>
                    <a:pt x="469" y="26"/>
                    <a:pt x="427" y="26"/>
                  </a:cubicBezTo>
                  <a:cubicBezTo>
                    <a:pt x="385" y="26"/>
                    <a:pt x="351" y="60"/>
                    <a:pt x="351" y="102"/>
                  </a:cubicBezTo>
                  <a:cubicBezTo>
                    <a:pt x="351" y="117"/>
                    <a:pt x="351" y="117"/>
                    <a:pt x="351" y="117"/>
                  </a:cubicBezTo>
                  <a:cubicBezTo>
                    <a:pt x="351" y="124"/>
                    <a:pt x="345" y="130"/>
                    <a:pt x="338" y="130"/>
                  </a:cubicBezTo>
                  <a:cubicBezTo>
                    <a:pt x="330" y="130"/>
                    <a:pt x="325" y="124"/>
                    <a:pt x="325" y="117"/>
                  </a:cubicBezTo>
                  <a:cubicBezTo>
                    <a:pt x="325" y="102"/>
                    <a:pt x="325" y="102"/>
                    <a:pt x="325" y="102"/>
                  </a:cubicBezTo>
                  <a:cubicBezTo>
                    <a:pt x="325" y="46"/>
                    <a:pt x="370" y="0"/>
                    <a:pt x="427" y="0"/>
                  </a:cubicBezTo>
                  <a:cubicBezTo>
                    <a:pt x="483" y="0"/>
                    <a:pt x="529" y="46"/>
                    <a:pt x="529" y="102"/>
                  </a:cubicBezTo>
                  <a:cubicBezTo>
                    <a:pt x="529" y="158"/>
                    <a:pt x="483" y="204"/>
                    <a:pt x="427"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53">
              <a:extLst>
                <a:ext uri="{FF2B5EF4-FFF2-40B4-BE49-F238E27FC236}">
                  <a16:creationId xmlns:a16="http://schemas.microsoft.com/office/drawing/2014/main" id="{B00FE260-0B35-4FD0-83E1-CD366D2320F5}"/>
                </a:ext>
              </a:extLst>
            </p:cNvPr>
            <p:cNvSpPr>
              <a:spLocks/>
            </p:cNvSpPr>
            <p:nvPr/>
          </p:nvSpPr>
          <p:spPr bwMode="auto">
            <a:xfrm>
              <a:off x="6516688" y="1144588"/>
              <a:ext cx="2308225" cy="503238"/>
            </a:xfrm>
            <a:custGeom>
              <a:avLst/>
              <a:gdLst>
                <a:gd name="T0" fmla="*/ 485 w 544"/>
                <a:gd name="T1" fmla="*/ 118 h 118"/>
                <a:gd name="T2" fmla="*/ 426 w 544"/>
                <a:gd name="T3" fmla="*/ 59 h 118"/>
                <a:gd name="T4" fmla="*/ 426 w 544"/>
                <a:gd name="T5" fmla="*/ 52 h 118"/>
                <a:gd name="T6" fmla="*/ 439 w 544"/>
                <a:gd name="T7" fmla="*/ 39 h 118"/>
                <a:gd name="T8" fmla="*/ 452 w 544"/>
                <a:gd name="T9" fmla="*/ 52 h 118"/>
                <a:gd name="T10" fmla="*/ 452 w 544"/>
                <a:gd name="T11" fmla="*/ 59 h 118"/>
                <a:gd name="T12" fmla="*/ 485 w 544"/>
                <a:gd name="T13" fmla="*/ 92 h 118"/>
                <a:gd name="T14" fmla="*/ 519 w 544"/>
                <a:gd name="T15" fmla="*/ 59 h 118"/>
                <a:gd name="T16" fmla="*/ 485 w 544"/>
                <a:gd name="T17" fmla="*/ 26 h 118"/>
                <a:gd name="T18" fmla="*/ 13 w 544"/>
                <a:gd name="T19" fmla="*/ 26 h 118"/>
                <a:gd name="T20" fmla="*/ 0 w 544"/>
                <a:gd name="T21" fmla="*/ 13 h 118"/>
                <a:gd name="T22" fmla="*/ 13 w 544"/>
                <a:gd name="T23" fmla="*/ 0 h 118"/>
                <a:gd name="T24" fmla="*/ 485 w 544"/>
                <a:gd name="T25" fmla="*/ 0 h 118"/>
                <a:gd name="T26" fmla="*/ 544 w 544"/>
                <a:gd name="T27" fmla="*/ 59 h 118"/>
                <a:gd name="T28" fmla="*/ 485 w 544"/>
                <a:gd name="T2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4" h="118">
                  <a:moveTo>
                    <a:pt x="485" y="118"/>
                  </a:moveTo>
                  <a:cubicBezTo>
                    <a:pt x="453" y="118"/>
                    <a:pt x="426" y="92"/>
                    <a:pt x="426" y="59"/>
                  </a:cubicBezTo>
                  <a:cubicBezTo>
                    <a:pt x="426" y="52"/>
                    <a:pt x="426" y="52"/>
                    <a:pt x="426" y="52"/>
                  </a:cubicBezTo>
                  <a:cubicBezTo>
                    <a:pt x="426" y="44"/>
                    <a:pt x="432" y="39"/>
                    <a:pt x="439" y="39"/>
                  </a:cubicBezTo>
                  <a:cubicBezTo>
                    <a:pt x="446" y="39"/>
                    <a:pt x="452" y="44"/>
                    <a:pt x="452" y="52"/>
                  </a:cubicBezTo>
                  <a:cubicBezTo>
                    <a:pt x="452" y="59"/>
                    <a:pt x="452" y="59"/>
                    <a:pt x="452" y="59"/>
                  </a:cubicBezTo>
                  <a:cubicBezTo>
                    <a:pt x="452" y="77"/>
                    <a:pt x="467" y="92"/>
                    <a:pt x="485" y="92"/>
                  </a:cubicBezTo>
                  <a:cubicBezTo>
                    <a:pt x="504" y="92"/>
                    <a:pt x="519" y="77"/>
                    <a:pt x="519" y="59"/>
                  </a:cubicBezTo>
                  <a:cubicBezTo>
                    <a:pt x="519" y="41"/>
                    <a:pt x="504" y="26"/>
                    <a:pt x="485" y="26"/>
                  </a:cubicBezTo>
                  <a:cubicBezTo>
                    <a:pt x="13" y="26"/>
                    <a:pt x="13" y="26"/>
                    <a:pt x="13" y="26"/>
                  </a:cubicBezTo>
                  <a:cubicBezTo>
                    <a:pt x="6" y="26"/>
                    <a:pt x="0" y="20"/>
                    <a:pt x="0" y="13"/>
                  </a:cubicBezTo>
                  <a:cubicBezTo>
                    <a:pt x="0" y="6"/>
                    <a:pt x="6" y="0"/>
                    <a:pt x="13" y="0"/>
                  </a:cubicBezTo>
                  <a:cubicBezTo>
                    <a:pt x="485" y="0"/>
                    <a:pt x="485" y="0"/>
                    <a:pt x="485" y="0"/>
                  </a:cubicBezTo>
                  <a:cubicBezTo>
                    <a:pt x="518" y="0"/>
                    <a:pt x="544" y="27"/>
                    <a:pt x="544" y="59"/>
                  </a:cubicBezTo>
                  <a:cubicBezTo>
                    <a:pt x="544" y="92"/>
                    <a:pt x="518" y="118"/>
                    <a:pt x="485"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7" name="Group 116">
            <a:extLst>
              <a:ext uri="{FF2B5EF4-FFF2-40B4-BE49-F238E27FC236}">
                <a16:creationId xmlns:a16="http://schemas.microsoft.com/office/drawing/2014/main" id="{8EFB7184-4E3A-458D-B473-5873E10FA9B4}"/>
              </a:ext>
            </a:extLst>
          </p:cNvPr>
          <p:cNvGrpSpPr/>
          <p:nvPr/>
        </p:nvGrpSpPr>
        <p:grpSpPr>
          <a:xfrm>
            <a:off x="9871001" y="1765501"/>
            <a:ext cx="575116" cy="749988"/>
            <a:chOff x="13593763" y="1135063"/>
            <a:chExt cx="976313" cy="1273175"/>
          </a:xfrm>
          <a:solidFill>
            <a:schemeClr val="accent6"/>
          </a:solidFill>
        </p:grpSpPr>
        <p:sp>
          <p:nvSpPr>
            <p:cNvPr id="118" name="Freeform 5">
              <a:extLst>
                <a:ext uri="{FF2B5EF4-FFF2-40B4-BE49-F238E27FC236}">
                  <a16:creationId xmlns:a16="http://schemas.microsoft.com/office/drawing/2014/main" id="{597C5764-2D77-4783-AD17-6BC576D1A854}"/>
                </a:ext>
              </a:extLst>
            </p:cNvPr>
            <p:cNvSpPr>
              <a:spLocks/>
            </p:cNvSpPr>
            <p:nvPr/>
          </p:nvSpPr>
          <p:spPr bwMode="auto">
            <a:xfrm>
              <a:off x="13593763" y="1135063"/>
              <a:ext cx="976313" cy="779463"/>
            </a:xfrm>
            <a:custGeom>
              <a:avLst/>
              <a:gdLst>
                <a:gd name="T0" fmla="*/ 114 w 228"/>
                <a:gd name="T1" fmla="*/ 0 h 182"/>
                <a:gd name="T2" fmla="*/ 0 w 228"/>
                <a:gd name="T3" fmla="*/ 114 h 182"/>
                <a:gd name="T4" fmla="*/ 20 w 228"/>
                <a:gd name="T5" fmla="*/ 179 h 182"/>
                <a:gd name="T6" fmla="*/ 25 w 228"/>
                <a:gd name="T7" fmla="*/ 181 h 182"/>
                <a:gd name="T8" fmla="*/ 26 w 228"/>
                <a:gd name="T9" fmla="*/ 181 h 182"/>
                <a:gd name="T10" fmla="*/ 27 w 228"/>
                <a:gd name="T11" fmla="*/ 181 h 182"/>
                <a:gd name="T12" fmla="*/ 131 w 228"/>
                <a:gd name="T13" fmla="*/ 181 h 182"/>
                <a:gd name="T14" fmla="*/ 137 w 228"/>
                <a:gd name="T15" fmla="*/ 175 h 182"/>
                <a:gd name="T16" fmla="*/ 131 w 228"/>
                <a:gd name="T17" fmla="*/ 169 h 182"/>
                <a:gd name="T18" fmla="*/ 28 w 228"/>
                <a:gd name="T19" fmla="*/ 169 h 182"/>
                <a:gd name="T20" fmla="*/ 12 w 228"/>
                <a:gd name="T21" fmla="*/ 114 h 182"/>
                <a:gd name="T22" fmla="*/ 114 w 228"/>
                <a:gd name="T23" fmla="*/ 12 h 182"/>
                <a:gd name="T24" fmla="*/ 216 w 228"/>
                <a:gd name="T25" fmla="*/ 114 h 182"/>
                <a:gd name="T26" fmla="*/ 200 w 228"/>
                <a:gd name="T27" fmla="*/ 169 h 182"/>
                <a:gd name="T28" fmla="*/ 153 w 228"/>
                <a:gd name="T29" fmla="*/ 169 h 182"/>
                <a:gd name="T30" fmla="*/ 147 w 228"/>
                <a:gd name="T31" fmla="*/ 175 h 182"/>
                <a:gd name="T32" fmla="*/ 153 w 228"/>
                <a:gd name="T33" fmla="*/ 181 h 182"/>
                <a:gd name="T34" fmla="*/ 200 w 228"/>
                <a:gd name="T35" fmla="*/ 181 h 182"/>
                <a:gd name="T36" fmla="*/ 202 w 228"/>
                <a:gd name="T37" fmla="*/ 181 h 182"/>
                <a:gd name="T38" fmla="*/ 208 w 228"/>
                <a:gd name="T39" fmla="*/ 179 h 182"/>
                <a:gd name="T40" fmla="*/ 228 w 228"/>
                <a:gd name="T41" fmla="*/ 114 h 182"/>
                <a:gd name="T42" fmla="*/ 114 w 228"/>
                <a:gd name="T4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8" h="182">
                  <a:moveTo>
                    <a:pt x="114" y="0"/>
                  </a:moveTo>
                  <a:cubicBezTo>
                    <a:pt x="51" y="0"/>
                    <a:pt x="0" y="51"/>
                    <a:pt x="0" y="114"/>
                  </a:cubicBezTo>
                  <a:cubicBezTo>
                    <a:pt x="0" y="138"/>
                    <a:pt x="7" y="160"/>
                    <a:pt x="20" y="179"/>
                  </a:cubicBezTo>
                  <a:cubicBezTo>
                    <a:pt x="21" y="181"/>
                    <a:pt x="23" y="181"/>
                    <a:pt x="25" y="181"/>
                  </a:cubicBezTo>
                  <a:cubicBezTo>
                    <a:pt x="25" y="181"/>
                    <a:pt x="25" y="181"/>
                    <a:pt x="26" y="181"/>
                  </a:cubicBezTo>
                  <a:cubicBezTo>
                    <a:pt x="26" y="181"/>
                    <a:pt x="26" y="181"/>
                    <a:pt x="27" y="181"/>
                  </a:cubicBezTo>
                  <a:cubicBezTo>
                    <a:pt x="131" y="181"/>
                    <a:pt x="131" y="181"/>
                    <a:pt x="131" y="181"/>
                  </a:cubicBezTo>
                  <a:cubicBezTo>
                    <a:pt x="135" y="181"/>
                    <a:pt x="137" y="179"/>
                    <a:pt x="137" y="175"/>
                  </a:cubicBezTo>
                  <a:cubicBezTo>
                    <a:pt x="137" y="172"/>
                    <a:pt x="135" y="169"/>
                    <a:pt x="131" y="169"/>
                  </a:cubicBezTo>
                  <a:cubicBezTo>
                    <a:pt x="28" y="169"/>
                    <a:pt x="28" y="169"/>
                    <a:pt x="28" y="169"/>
                  </a:cubicBezTo>
                  <a:cubicBezTo>
                    <a:pt x="18" y="153"/>
                    <a:pt x="12" y="134"/>
                    <a:pt x="12" y="114"/>
                  </a:cubicBezTo>
                  <a:cubicBezTo>
                    <a:pt x="12" y="58"/>
                    <a:pt x="58" y="12"/>
                    <a:pt x="114" y="12"/>
                  </a:cubicBezTo>
                  <a:cubicBezTo>
                    <a:pt x="170" y="12"/>
                    <a:pt x="216" y="58"/>
                    <a:pt x="216" y="114"/>
                  </a:cubicBezTo>
                  <a:cubicBezTo>
                    <a:pt x="216" y="134"/>
                    <a:pt x="211" y="153"/>
                    <a:pt x="200" y="169"/>
                  </a:cubicBezTo>
                  <a:cubicBezTo>
                    <a:pt x="153" y="169"/>
                    <a:pt x="153" y="169"/>
                    <a:pt x="153" y="169"/>
                  </a:cubicBezTo>
                  <a:cubicBezTo>
                    <a:pt x="150" y="169"/>
                    <a:pt x="147" y="172"/>
                    <a:pt x="147" y="175"/>
                  </a:cubicBezTo>
                  <a:cubicBezTo>
                    <a:pt x="147" y="179"/>
                    <a:pt x="150" y="181"/>
                    <a:pt x="153" y="181"/>
                  </a:cubicBezTo>
                  <a:cubicBezTo>
                    <a:pt x="200" y="181"/>
                    <a:pt x="200" y="181"/>
                    <a:pt x="200" y="181"/>
                  </a:cubicBezTo>
                  <a:cubicBezTo>
                    <a:pt x="201" y="181"/>
                    <a:pt x="201" y="181"/>
                    <a:pt x="202" y="181"/>
                  </a:cubicBezTo>
                  <a:cubicBezTo>
                    <a:pt x="204" y="182"/>
                    <a:pt x="207" y="181"/>
                    <a:pt x="208" y="179"/>
                  </a:cubicBezTo>
                  <a:cubicBezTo>
                    <a:pt x="221" y="160"/>
                    <a:pt x="228" y="138"/>
                    <a:pt x="228" y="114"/>
                  </a:cubicBezTo>
                  <a:cubicBezTo>
                    <a:pt x="228" y="51"/>
                    <a:pt x="177" y="0"/>
                    <a:pt x="1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6">
              <a:extLst>
                <a:ext uri="{FF2B5EF4-FFF2-40B4-BE49-F238E27FC236}">
                  <a16:creationId xmlns:a16="http://schemas.microsoft.com/office/drawing/2014/main" id="{AE3774D2-08AE-46F7-8ABA-4576802D2D17}"/>
                </a:ext>
              </a:extLst>
            </p:cNvPr>
            <p:cNvSpPr>
              <a:spLocks/>
            </p:cNvSpPr>
            <p:nvPr/>
          </p:nvSpPr>
          <p:spPr bwMode="auto">
            <a:xfrm>
              <a:off x="13866813" y="1546225"/>
              <a:ext cx="296863" cy="158750"/>
            </a:xfrm>
            <a:custGeom>
              <a:avLst/>
              <a:gdLst>
                <a:gd name="T0" fmla="*/ 5 w 69"/>
                <a:gd name="T1" fmla="*/ 15 h 37"/>
                <a:gd name="T2" fmla="*/ 34 w 69"/>
                <a:gd name="T3" fmla="*/ 21 h 37"/>
                <a:gd name="T4" fmla="*/ 41 w 69"/>
                <a:gd name="T5" fmla="*/ 32 h 37"/>
                <a:gd name="T6" fmla="*/ 64 w 69"/>
                <a:gd name="T7" fmla="*/ 28 h 37"/>
                <a:gd name="T8" fmla="*/ 60 w 69"/>
                <a:gd name="T9" fmla="*/ 5 h 37"/>
                <a:gd name="T10" fmla="*/ 37 w 69"/>
                <a:gd name="T11" fmla="*/ 9 h 37"/>
                <a:gd name="T12" fmla="*/ 36 w 69"/>
                <a:gd name="T13" fmla="*/ 9 h 37"/>
                <a:gd name="T14" fmla="*/ 8 w 69"/>
                <a:gd name="T15" fmla="*/ 4 h 37"/>
                <a:gd name="T16" fmla="*/ 1 w 69"/>
                <a:gd name="T17" fmla="*/ 8 h 37"/>
                <a:gd name="T18" fmla="*/ 5 w 69"/>
                <a:gd name="T19" fmla="*/ 1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37">
                  <a:moveTo>
                    <a:pt x="5" y="15"/>
                  </a:moveTo>
                  <a:cubicBezTo>
                    <a:pt x="34" y="21"/>
                    <a:pt x="34" y="21"/>
                    <a:pt x="34" y="21"/>
                  </a:cubicBezTo>
                  <a:cubicBezTo>
                    <a:pt x="35" y="25"/>
                    <a:pt x="37" y="29"/>
                    <a:pt x="41" y="32"/>
                  </a:cubicBezTo>
                  <a:cubicBezTo>
                    <a:pt x="48" y="37"/>
                    <a:pt x="58" y="35"/>
                    <a:pt x="64" y="28"/>
                  </a:cubicBezTo>
                  <a:cubicBezTo>
                    <a:pt x="69" y="21"/>
                    <a:pt x="67" y="10"/>
                    <a:pt x="60" y="5"/>
                  </a:cubicBezTo>
                  <a:cubicBezTo>
                    <a:pt x="52" y="0"/>
                    <a:pt x="42" y="1"/>
                    <a:pt x="37" y="9"/>
                  </a:cubicBezTo>
                  <a:cubicBezTo>
                    <a:pt x="37" y="9"/>
                    <a:pt x="37" y="9"/>
                    <a:pt x="36" y="9"/>
                  </a:cubicBezTo>
                  <a:cubicBezTo>
                    <a:pt x="8" y="4"/>
                    <a:pt x="8" y="4"/>
                    <a:pt x="8" y="4"/>
                  </a:cubicBezTo>
                  <a:cubicBezTo>
                    <a:pt x="5" y="3"/>
                    <a:pt x="1" y="5"/>
                    <a:pt x="1" y="8"/>
                  </a:cubicBezTo>
                  <a:cubicBezTo>
                    <a:pt x="0" y="12"/>
                    <a:pt x="2" y="15"/>
                    <a:pt x="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7">
              <a:extLst>
                <a:ext uri="{FF2B5EF4-FFF2-40B4-BE49-F238E27FC236}">
                  <a16:creationId xmlns:a16="http://schemas.microsoft.com/office/drawing/2014/main" id="{BB29E18D-E7CD-4894-A508-58BEF3FA552D}"/>
                </a:ext>
              </a:extLst>
            </p:cNvPr>
            <p:cNvSpPr>
              <a:spLocks/>
            </p:cNvSpPr>
            <p:nvPr/>
          </p:nvSpPr>
          <p:spPr bwMode="auto">
            <a:xfrm>
              <a:off x="13896975" y="2297113"/>
              <a:ext cx="125413" cy="111125"/>
            </a:xfrm>
            <a:custGeom>
              <a:avLst/>
              <a:gdLst>
                <a:gd name="T0" fmla="*/ 38 w 79"/>
                <a:gd name="T1" fmla="*/ 40 h 70"/>
                <a:gd name="T2" fmla="*/ 27 w 79"/>
                <a:gd name="T3" fmla="*/ 0 h 70"/>
                <a:gd name="T4" fmla="*/ 0 w 79"/>
                <a:gd name="T5" fmla="*/ 0 h 70"/>
                <a:gd name="T6" fmla="*/ 0 w 79"/>
                <a:gd name="T7" fmla="*/ 70 h 70"/>
                <a:gd name="T8" fmla="*/ 16 w 79"/>
                <a:gd name="T9" fmla="*/ 70 h 70"/>
                <a:gd name="T10" fmla="*/ 16 w 79"/>
                <a:gd name="T11" fmla="*/ 16 h 70"/>
                <a:gd name="T12" fmla="*/ 30 w 79"/>
                <a:gd name="T13" fmla="*/ 70 h 70"/>
                <a:gd name="T14" fmla="*/ 46 w 79"/>
                <a:gd name="T15" fmla="*/ 70 h 70"/>
                <a:gd name="T16" fmla="*/ 60 w 79"/>
                <a:gd name="T17" fmla="*/ 16 h 70"/>
                <a:gd name="T18" fmla="*/ 60 w 79"/>
                <a:gd name="T19" fmla="*/ 70 h 70"/>
                <a:gd name="T20" fmla="*/ 79 w 79"/>
                <a:gd name="T21" fmla="*/ 70 h 70"/>
                <a:gd name="T22" fmla="*/ 79 w 79"/>
                <a:gd name="T23" fmla="*/ 0 h 70"/>
                <a:gd name="T24" fmla="*/ 49 w 79"/>
                <a:gd name="T25" fmla="*/ 0 h 70"/>
                <a:gd name="T26" fmla="*/ 38 w 79"/>
                <a:gd name="T27"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70">
                  <a:moveTo>
                    <a:pt x="38" y="40"/>
                  </a:moveTo>
                  <a:lnTo>
                    <a:pt x="27" y="0"/>
                  </a:lnTo>
                  <a:lnTo>
                    <a:pt x="0" y="0"/>
                  </a:lnTo>
                  <a:lnTo>
                    <a:pt x="0" y="70"/>
                  </a:lnTo>
                  <a:lnTo>
                    <a:pt x="16" y="70"/>
                  </a:lnTo>
                  <a:lnTo>
                    <a:pt x="16" y="16"/>
                  </a:lnTo>
                  <a:lnTo>
                    <a:pt x="30" y="70"/>
                  </a:lnTo>
                  <a:lnTo>
                    <a:pt x="46" y="70"/>
                  </a:lnTo>
                  <a:lnTo>
                    <a:pt x="60" y="16"/>
                  </a:lnTo>
                  <a:lnTo>
                    <a:pt x="60" y="70"/>
                  </a:lnTo>
                  <a:lnTo>
                    <a:pt x="79" y="70"/>
                  </a:lnTo>
                  <a:lnTo>
                    <a:pt x="79" y="0"/>
                  </a:lnTo>
                  <a:lnTo>
                    <a:pt x="49" y="0"/>
                  </a:lnTo>
                  <a:lnTo>
                    <a:pt x="3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8">
              <a:extLst>
                <a:ext uri="{FF2B5EF4-FFF2-40B4-BE49-F238E27FC236}">
                  <a16:creationId xmlns:a16="http://schemas.microsoft.com/office/drawing/2014/main" id="{17C12346-538E-4A50-8F60-98D952E41A22}"/>
                </a:ext>
              </a:extLst>
            </p:cNvPr>
            <p:cNvSpPr>
              <a:spLocks noEditPoints="1"/>
            </p:cNvSpPr>
            <p:nvPr/>
          </p:nvSpPr>
          <p:spPr bwMode="auto">
            <a:xfrm>
              <a:off x="14043025" y="2297113"/>
              <a:ext cx="93663" cy="111125"/>
            </a:xfrm>
            <a:custGeom>
              <a:avLst/>
              <a:gdLst>
                <a:gd name="T0" fmla="*/ 14 w 22"/>
                <a:gd name="T1" fmla="*/ 0 h 26"/>
                <a:gd name="T2" fmla="*/ 0 w 22"/>
                <a:gd name="T3" fmla="*/ 0 h 26"/>
                <a:gd name="T4" fmla="*/ 0 w 22"/>
                <a:gd name="T5" fmla="*/ 26 h 26"/>
                <a:gd name="T6" fmla="*/ 8 w 22"/>
                <a:gd name="T7" fmla="*/ 26 h 26"/>
                <a:gd name="T8" fmla="*/ 8 w 22"/>
                <a:gd name="T9" fmla="*/ 16 h 26"/>
                <a:gd name="T10" fmla="*/ 13 w 22"/>
                <a:gd name="T11" fmla="*/ 16 h 26"/>
                <a:gd name="T12" fmla="*/ 20 w 22"/>
                <a:gd name="T13" fmla="*/ 14 h 26"/>
                <a:gd name="T14" fmla="*/ 22 w 22"/>
                <a:gd name="T15" fmla="*/ 8 h 26"/>
                <a:gd name="T16" fmla="*/ 20 w 22"/>
                <a:gd name="T17" fmla="*/ 2 h 26"/>
                <a:gd name="T18" fmla="*/ 14 w 22"/>
                <a:gd name="T19" fmla="*/ 0 h 26"/>
                <a:gd name="T20" fmla="*/ 14 w 22"/>
                <a:gd name="T21" fmla="*/ 10 h 26"/>
                <a:gd name="T22" fmla="*/ 10 w 22"/>
                <a:gd name="T23" fmla="*/ 11 h 26"/>
                <a:gd name="T24" fmla="*/ 8 w 22"/>
                <a:gd name="T25" fmla="*/ 11 h 26"/>
                <a:gd name="T26" fmla="*/ 8 w 22"/>
                <a:gd name="T27" fmla="*/ 5 h 26"/>
                <a:gd name="T28" fmla="*/ 11 w 22"/>
                <a:gd name="T29" fmla="*/ 5 h 26"/>
                <a:gd name="T30" fmla="*/ 14 w 22"/>
                <a:gd name="T31" fmla="*/ 6 h 26"/>
                <a:gd name="T32" fmla="*/ 15 w 22"/>
                <a:gd name="T33" fmla="*/ 8 h 26"/>
                <a:gd name="T34" fmla="*/ 14 w 22"/>
                <a:gd name="T3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6">
                  <a:moveTo>
                    <a:pt x="14" y="0"/>
                  </a:moveTo>
                  <a:cubicBezTo>
                    <a:pt x="0" y="0"/>
                    <a:pt x="0" y="0"/>
                    <a:pt x="0" y="0"/>
                  </a:cubicBezTo>
                  <a:cubicBezTo>
                    <a:pt x="0" y="26"/>
                    <a:pt x="0" y="26"/>
                    <a:pt x="0" y="26"/>
                  </a:cubicBezTo>
                  <a:cubicBezTo>
                    <a:pt x="8" y="26"/>
                    <a:pt x="8" y="26"/>
                    <a:pt x="8" y="26"/>
                  </a:cubicBezTo>
                  <a:cubicBezTo>
                    <a:pt x="8" y="16"/>
                    <a:pt x="8" y="16"/>
                    <a:pt x="8" y="16"/>
                  </a:cubicBezTo>
                  <a:cubicBezTo>
                    <a:pt x="13" y="16"/>
                    <a:pt x="13" y="16"/>
                    <a:pt x="13" y="16"/>
                  </a:cubicBezTo>
                  <a:cubicBezTo>
                    <a:pt x="16" y="16"/>
                    <a:pt x="18" y="15"/>
                    <a:pt x="20" y="14"/>
                  </a:cubicBezTo>
                  <a:cubicBezTo>
                    <a:pt x="22" y="12"/>
                    <a:pt x="22" y="10"/>
                    <a:pt x="22" y="8"/>
                  </a:cubicBezTo>
                  <a:cubicBezTo>
                    <a:pt x="22" y="5"/>
                    <a:pt x="22" y="3"/>
                    <a:pt x="20" y="2"/>
                  </a:cubicBezTo>
                  <a:cubicBezTo>
                    <a:pt x="19" y="0"/>
                    <a:pt x="17" y="0"/>
                    <a:pt x="14" y="0"/>
                  </a:cubicBezTo>
                  <a:close/>
                  <a:moveTo>
                    <a:pt x="14" y="10"/>
                  </a:moveTo>
                  <a:cubicBezTo>
                    <a:pt x="13" y="10"/>
                    <a:pt x="12" y="11"/>
                    <a:pt x="10" y="11"/>
                  </a:cubicBezTo>
                  <a:cubicBezTo>
                    <a:pt x="8" y="11"/>
                    <a:pt x="8" y="11"/>
                    <a:pt x="8" y="11"/>
                  </a:cubicBezTo>
                  <a:cubicBezTo>
                    <a:pt x="8" y="5"/>
                    <a:pt x="8" y="5"/>
                    <a:pt x="8" y="5"/>
                  </a:cubicBezTo>
                  <a:cubicBezTo>
                    <a:pt x="11" y="5"/>
                    <a:pt x="11" y="5"/>
                    <a:pt x="11" y="5"/>
                  </a:cubicBezTo>
                  <a:cubicBezTo>
                    <a:pt x="12" y="5"/>
                    <a:pt x="13" y="5"/>
                    <a:pt x="14" y="6"/>
                  </a:cubicBezTo>
                  <a:cubicBezTo>
                    <a:pt x="14" y="6"/>
                    <a:pt x="15" y="7"/>
                    <a:pt x="15" y="8"/>
                  </a:cubicBezTo>
                  <a:cubicBezTo>
                    <a:pt x="15" y="9"/>
                    <a:pt x="14" y="9"/>
                    <a:pt x="1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9">
              <a:extLst>
                <a:ext uri="{FF2B5EF4-FFF2-40B4-BE49-F238E27FC236}">
                  <a16:creationId xmlns:a16="http://schemas.microsoft.com/office/drawing/2014/main" id="{CAC91621-76EF-4B54-BE28-CDD93151026D}"/>
                </a:ext>
              </a:extLst>
            </p:cNvPr>
            <p:cNvSpPr>
              <a:spLocks/>
            </p:cNvSpPr>
            <p:nvPr/>
          </p:nvSpPr>
          <p:spPr bwMode="auto">
            <a:xfrm>
              <a:off x="14158913" y="2297113"/>
              <a:ext cx="106363" cy="111125"/>
            </a:xfrm>
            <a:custGeom>
              <a:avLst/>
              <a:gdLst>
                <a:gd name="T0" fmla="*/ 46 w 67"/>
                <a:gd name="T1" fmla="*/ 24 h 70"/>
                <a:gd name="T2" fmla="*/ 21 w 67"/>
                <a:gd name="T3" fmla="*/ 24 h 70"/>
                <a:gd name="T4" fmla="*/ 21 w 67"/>
                <a:gd name="T5" fmla="*/ 0 h 70"/>
                <a:gd name="T6" fmla="*/ 0 w 67"/>
                <a:gd name="T7" fmla="*/ 0 h 70"/>
                <a:gd name="T8" fmla="*/ 0 w 67"/>
                <a:gd name="T9" fmla="*/ 70 h 70"/>
                <a:gd name="T10" fmla="*/ 21 w 67"/>
                <a:gd name="T11" fmla="*/ 70 h 70"/>
                <a:gd name="T12" fmla="*/ 21 w 67"/>
                <a:gd name="T13" fmla="*/ 40 h 70"/>
                <a:gd name="T14" fmla="*/ 46 w 67"/>
                <a:gd name="T15" fmla="*/ 40 h 70"/>
                <a:gd name="T16" fmla="*/ 46 w 67"/>
                <a:gd name="T17" fmla="*/ 70 h 70"/>
                <a:gd name="T18" fmla="*/ 67 w 67"/>
                <a:gd name="T19" fmla="*/ 70 h 70"/>
                <a:gd name="T20" fmla="*/ 67 w 67"/>
                <a:gd name="T21" fmla="*/ 0 h 70"/>
                <a:gd name="T22" fmla="*/ 46 w 67"/>
                <a:gd name="T23" fmla="*/ 0 h 70"/>
                <a:gd name="T24" fmla="*/ 46 w 67"/>
                <a:gd name="T25" fmla="*/ 2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70">
                  <a:moveTo>
                    <a:pt x="46" y="24"/>
                  </a:moveTo>
                  <a:lnTo>
                    <a:pt x="21" y="24"/>
                  </a:lnTo>
                  <a:lnTo>
                    <a:pt x="21" y="0"/>
                  </a:lnTo>
                  <a:lnTo>
                    <a:pt x="0" y="0"/>
                  </a:lnTo>
                  <a:lnTo>
                    <a:pt x="0" y="70"/>
                  </a:lnTo>
                  <a:lnTo>
                    <a:pt x="21" y="70"/>
                  </a:lnTo>
                  <a:lnTo>
                    <a:pt x="21" y="40"/>
                  </a:lnTo>
                  <a:lnTo>
                    <a:pt x="46" y="40"/>
                  </a:lnTo>
                  <a:lnTo>
                    <a:pt x="46" y="70"/>
                  </a:lnTo>
                  <a:lnTo>
                    <a:pt x="67" y="70"/>
                  </a:lnTo>
                  <a:lnTo>
                    <a:pt x="67" y="0"/>
                  </a:lnTo>
                  <a:lnTo>
                    <a:pt x="46" y="0"/>
                  </a:lnTo>
                  <a:lnTo>
                    <a:pt x="4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0">
              <a:extLst>
                <a:ext uri="{FF2B5EF4-FFF2-40B4-BE49-F238E27FC236}">
                  <a16:creationId xmlns:a16="http://schemas.microsoft.com/office/drawing/2014/main" id="{23DC5BEA-22FD-40BC-8834-36327F14D94D}"/>
                </a:ext>
              </a:extLst>
            </p:cNvPr>
            <p:cNvSpPr>
              <a:spLocks noChangeArrowheads="1"/>
            </p:cNvSpPr>
            <p:nvPr/>
          </p:nvSpPr>
          <p:spPr bwMode="auto">
            <a:xfrm>
              <a:off x="13795375" y="2184400"/>
              <a:ext cx="149225"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
              <a:extLst>
                <a:ext uri="{FF2B5EF4-FFF2-40B4-BE49-F238E27FC236}">
                  <a16:creationId xmlns:a16="http://schemas.microsoft.com/office/drawing/2014/main" id="{D52241F0-9867-469A-9CC0-435CEBCA2D1C}"/>
                </a:ext>
              </a:extLst>
            </p:cNvPr>
            <p:cNvSpPr>
              <a:spLocks/>
            </p:cNvSpPr>
            <p:nvPr/>
          </p:nvSpPr>
          <p:spPr bwMode="auto">
            <a:xfrm>
              <a:off x="13795375" y="2012950"/>
              <a:ext cx="149225" cy="163513"/>
            </a:xfrm>
            <a:custGeom>
              <a:avLst/>
              <a:gdLst>
                <a:gd name="T0" fmla="*/ 94 w 94"/>
                <a:gd name="T1" fmla="*/ 0 h 103"/>
                <a:gd name="T2" fmla="*/ 0 w 94"/>
                <a:gd name="T3" fmla="*/ 41 h 103"/>
                <a:gd name="T4" fmla="*/ 0 w 94"/>
                <a:gd name="T5" fmla="*/ 65 h 103"/>
                <a:gd name="T6" fmla="*/ 94 w 94"/>
                <a:gd name="T7" fmla="*/ 103 h 103"/>
                <a:gd name="T8" fmla="*/ 94 w 94"/>
                <a:gd name="T9" fmla="*/ 73 h 103"/>
                <a:gd name="T10" fmla="*/ 37 w 94"/>
                <a:gd name="T11" fmla="*/ 52 h 103"/>
                <a:gd name="T12" fmla="*/ 94 w 94"/>
                <a:gd name="T13" fmla="*/ 30 h 103"/>
                <a:gd name="T14" fmla="*/ 94 w 94"/>
                <a:gd name="T15" fmla="*/ 0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03">
                  <a:moveTo>
                    <a:pt x="94" y="0"/>
                  </a:moveTo>
                  <a:lnTo>
                    <a:pt x="0" y="41"/>
                  </a:lnTo>
                  <a:lnTo>
                    <a:pt x="0" y="65"/>
                  </a:lnTo>
                  <a:lnTo>
                    <a:pt x="94" y="103"/>
                  </a:lnTo>
                  <a:lnTo>
                    <a:pt x="94" y="73"/>
                  </a:lnTo>
                  <a:lnTo>
                    <a:pt x="37" y="52"/>
                  </a:lnTo>
                  <a:lnTo>
                    <a:pt x="94" y="30"/>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
              <a:extLst>
                <a:ext uri="{FF2B5EF4-FFF2-40B4-BE49-F238E27FC236}">
                  <a16:creationId xmlns:a16="http://schemas.microsoft.com/office/drawing/2014/main" id="{EF956F71-61E8-451D-BF6C-779EFDF26A0E}"/>
                </a:ext>
              </a:extLst>
            </p:cNvPr>
            <p:cNvSpPr>
              <a:spLocks/>
            </p:cNvSpPr>
            <p:nvPr/>
          </p:nvSpPr>
          <p:spPr bwMode="auto">
            <a:xfrm>
              <a:off x="13992225" y="1962150"/>
              <a:ext cx="141288" cy="252413"/>
            </a:xfrm>
            <a:custGeom>
              <a:avLst/>
              <a:gdLst>
                <a:gd name="T0" fmla="*/ 17 w 33"/>
                <a:gd name="T1" fmla="*/ 59 h 59"/>
                <a:gd name="T2" fmla="*/ 33 w 33"/>
                <a:gd name="T3" fmla="*/ 59 h 59"/>
                <a:gd name="T4" fmla="*/ 33 w 33"/>
                <a:gd name="T5" fmla="*/ 0 h 59"/>
                <a:gd name="T6" fmla="*/ 20 w 33"/>
                <a:gd name="T7" fmla="*/ 0 h 59"/>
                <a:gd name="T8" fmla="*/ 13 w 33"/>
                <a:gd name="T9" fmla="*/ 9 h 59"/>
                <a:gd name="T10" fmla="*/ 0 w 33"/>
                <a:gd name="T11" fmla="*/ 15 h 59"/>
                <a:gd name="T12" fmla="*/ 0 w 33"/>
                <a:gd name="T13" fmla="*/ 29 h 59"/>
                <a:gd name="T14" fmla="*/ 9 w 33"/>
                <a:gd name="T15" fmla="*/ 25 h 59"/>
                <a:gd name="T16" fmla="*/ 17 w 33"/>
                <a:gd name="T17" fmla="*/ 20 h 59"/>
                <a:gd name="T18" fmla="*/ 17 w 33"/>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9">
                  <a:moveTo>
                    <a:pt x="17" y="59"/>
                  </a:moveTo>
                  <a:cubicBezTo>
                    <a:pt x="33" y="59"/>
                    <a:pt x="33" y="59"/>
                    <a:pt x="33" y="59"/>
                  </a:cubicBezTo>
                  <a:cubicBezTo>
                    <a:pt x="33" y="0"/>
                    <a:pt x="33" y="0"/>
                    <a:pt x="33" y="0"/>
                  </a:cubicBezTo>
                  <a:cubicBezTo>
                    <a:pt x="20" y="0"/>
                    <a:pt x="20" y="0"/>
                    <a:pt x="20" y="0"/>
                  </a:cubicBezTo>
                  <a:cubicBezTo>
                    <a:pt x="18" y="4"/>
                    <a:pt x="16" y="7"/>
                    <a:pt x="13" y="9"/>
                  </a:cubicBezTo>
                  <a:cubicBezTo>
                    <a:pt x="10" y="12"/>
                    <a:pt x="6" y="14"/>
                    <a:pt x="0" y="15"/>
                  </a:cubicBezTo>
                  <a:cubicBezTo>
                    <a:pt x="0" y="29"/>
                    <a:pt x="0" y="29"/>
                    <a:pt x="0" y="29"/>
                  </a:cubicBezTo>
                  <a:cubicBezTo>
                    <a:pt x="4" y="27"/>
                    <a:pt x="7" y="26"/>
                    <a:pt x="9" y="25"/>
                  </a:cubicBezTo>
                  <a:cubicBezTo>
                    <a:pt x="12" y="24"/>
                    <a:pt x="14" y="22"/>
                    <a:pt x="17" y="20"/>
                  </a:cubicBezTo>
                  <a:lnTo>
                    <a:pt x="1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3">
              <a:extLst>
                <a:ext uri="{FF2B5EF4-FFF2-40B4-BE49-F238E27FC236}">
                  <a16:creationId xmlns:a16="http://schemas.microsoft.com/office/drawing/2014/main" id="{990FDD36-1F03-4990-9CAB-CAC8D510CD2A}"/>
                </a:ext>
              </a:extLst>
            </p:cNvPr>
            <p:cNvSpPr>
              <a:spLocks/>
            </p:cNvSpPr>
            <p:nvPr/>
          </p:nvSpPr>
          <p:spPr bwMode="auto">
            <a:xfrm>
              <a:off x="14179550" y="1966913"/>
              <a:ext cx="206375" cy="252413"/>
            </a:xfrm>
            <a:custGeom>
              <a:avLst/>
              <a:gdLst>
                <a:gd name="T0" fmla="*/ 28 w 48"/>
                <a:gd name="T1" fmla="*/ 19 h 59"/>
                <a:gd name="T2" fmla="*/ 23 w 48"/>
                <a:gd name="T3" fmla="*/ 20 h 59"/>
                <a:gd name="T4" fmla="*/ 18 w 48"/>
                <a:gd name="T5" fmla="*/ 21 h 59"/>
                <a:gd name="T6" fmla="*/ 19 w 48"/>
                <a:gd name="T7" fmla="*/ 13 h 59"/>
                <a:gd name="T8" fmla="*/ 45 w 48"/>
                <a:gd name="T9" fmla="*/ 13 h 59"/>
                <a:gd name="T10" fmla="*/ 45 w 48"/>
                <a:gd name="T11" fmla="*/ 0 h 59"/>
                <a:gd name="T12" fmla="*/ 7 w 48"/>
                <a:gd name="T13" fmla="*/ 0 h 59"/>
                <a:gd name="T14" fmla="*/ 2 w 48"/>
                <a:gd name="T15" fmla="*/ 31 h 59"/>
                <a:gd name="T16" fmla="*/ 16 w 48"/>
                <a:gd name="T17" fmla="*/ 33 h 59"/>
                <a:gd name="T18" fmla="*/ 19 w 48"/>
                <a:gd name="T19" fmla="*/ 30 h 59"/>
                <a:gd name="T20" fmla="*/ 24 w 48"/>
                <a:gd name="T21" fmla="*/ 29 h 59"/>
                <a:gd name="T22" fmla="*/ 29 w 48"/>
                <a:gd name="T23" fmla="*/ 31 h 59"/>
                <a:gd name="T24" fmla="*/ 32 w 48"/>
                <a:gd name="T25" fmla="*/ 39 h 59"/>
                <a:gd name="T26" fmla="*/ 29 w 48"/>
                <a:gd name="T27" fmla="*/ 46 h 59"/>
                <a:gd name="T28" fmla="*/ 24 w 48"/>
                <a:gd name="T29" fmla="*/ 49 h 59"/>
                <a:gd name="T30" fmla="*/ 19 w 48"/>
                <a:gd name="T31" fmla="*/ 47 h 59"/>
                <a:gd name="T32" fmla="*/ 16 w 48"/>
                <a:gd name="T33" fmla="*/ 41 h 59"/>
                <a:gd name="T34" fmla="*/ 0 w 48"/>
                <a:gd name="T35" fmla="*/ 43 h 59"/>
                <a:gd name="T36" fmla="*/ 3 w 48"/>
                <a:gd name="T37" fmla="*/ 49 h 59"/>
                <a:gd name="T38" fmla="*/ 7 w 48"/>
                <a:gd name="T39" fmla="*/ 54 h 59"/>
                <a:gd name="T40" fmla="*/ 14 w 48"/>
                <a:gd name="T41" fmla="*/ 58 h 59"/>
                <a:gd name="T42" fmla="*/ 24 w 48"/>
                <a:gd name="T43" fmla="*/ 59 h 59"/>
                <a:gd name="T44" fmla="*/ 37 w 48"/>
                <a:gd name="T45" fmla="*/ 56 h 59"/>
                <a:gd name="T46" fmla="*/ 45 w 48"/>
                <a:gd name="T47" fmla="*/ 48 h 59"/>
                <a:gd name="T48" fmla="*/ 48 w 48"/>
                <a:gd name="T49" fmla="*/ 37 h 59"/>
                <a:gd name="T50" fmla="*/ 42 w 48"/>
                <a:gd name="T51" fmla="*/ 24 h 59"/>
                <a:gd name="T52" fmla="*/ 28 w 48"/>
                <a:gd name="T53" fmla="*/ 1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59">
                  <a:moveTo>
                    <a:pt x="28" y="19"/>
                  </a:moveTo>
                  <a:cubicBezTo>
                    <a:pt x="27" y="19"/>
                    <a:pt x="25" y="19"/>
                    <a:pt x="23" y="20"/>
                  </a:cubicBezTo>
                  <a:cubicBezTo>
                    <a:pt x="21" y="20"/>
                    <a:pt x="20" y="21"/>
                    <a:pt x="18" y="21"/>
                  </a:cubicBezTo>
                  <a:cubicBezTo>
                    <a:pt x="19" y="13"/>
                    <a:pt x="19" y="13"/>
                    <a:pt x="19" y="13"/>
                  </a:cubicBezTo>
                  <a:cubicBezTo>
                    <a:pt x="45" y="13"/>
                    <a:pt x="45" y="13"/>
                    <a:pt x="45" y="13"/>
                  </a:cubicBezTo>
                  <a:cubicBezTo>
                    <a:pt x="45" y="0"/>
                    <a:pt x="45" y="0"/>
                    <a:pt x="45" y="0"/>
                  </a:cubicBezTo>
                  <a:cubicBezTo>
                    <a:pt x="7" y="0"/>
                    <a:pt x="7" y="0"/>
                    <a:pt x="7" y="0"/>
                  </a:cubicBezTo>
                  <a:cubicBezTo>
                    <a:pt x="2" y="31"/>
                    <a:pt x="2" y="31"/>
                    <a:pt x="2" y="31"/>
                  </a:cubicBezTo>
                  <a:cubicBezTo>
                    <a:pt x="16" y="33"/>
                    <a:pt x="16" y="33"/>
                    <a:pt x="16" y="33"/>
                  </a:cubicBezTo>
                  <a:cubicBezTo>
                    <a:pt x="17" y="32"/>
                    <a:pt x="18" y="31"/>
                    <a:pt x="19" y="30"/>
                  </a:cubicBezTo>
                  <a:cubicBezTo>
                    <a:pt x="20" y="29"/>
                    <a:pt x="22" y="29"/>
                    <a:pt x="24" y="29"/>
                  </a:cubicBezTo>
                  <a:cubicBezTo>
                    <a:pt x="26" y="29"/>
                    <a:pt x="28" y="30"/>
                    <a:pt x="29" y="31"/>
                  </a:cubicBezTo>
                  <a:cubicBezTo>
                    <a:pt x="31" y="33"/>
                    <a:pt x="32" y="35"/>
                    <a:pt x="32" y="39"/>
                  </a:cubicBezTo>
                  <a:cubicBezTo>
                    <a:pt x="32" y="42"/>
                    <a:pt x="31" y="45"/>
                    <a:pt x="29" y="46"/>
                  </a:cubicBezTo>
                  <a:cubicBezTo>
                    <a:pt x="28" y="48"/>
                    <a:pt x="26" y="49"/>
                    <a:pt x="24" y="49"/>
                  </a:cubicBezTo>
                  <a:cubicBezTo>
                    <a:pt x="22" y="49"/>
                    <a:pt x="20" y="48"/>
                    <a:pt x="19" y="47"/>
                  </a:cubicBezTo>
                  <a:cubicBezTo>
                    <a:pt x="17" y="46"/>
                    <a:pt x="16" y="44"/>
                    <a:pt x="16" y="41"/>
                  </a:cubicBezTo>
                  <a:cubicBezTo>
                    <a:pt x="0" y="43"/>
                    <a:pt x="0" y="43"/>
                    <a:pt x="0" y="43"/>
                  </a:cubicBezTo>
                  <a:cubicBezTo>
                    <a:pt x="1" y="45"/>
                    <a:pt x="2" y="48"/>
                    <a:pt x="3" y="49"/>
                  </a:cubicBezTo>
                  <a:cubicBezTo>
                    <a:pt x="4" y="51"/>
                    <a:pt x="5" y="53"/>
                    <a:pt x="7" y="54"/>
                  </a:cubicBezTo>
                  <a:cubicBezTo>
                    <a:pt x="9" y="56"/>
                    <a:pt x="12" y="57"/>
                    <a:pt x="14" y="58"/>
                  </a:cubicBezTo>
                  <a:cubicBezTo>
                    <a:pt x="17" y="58"/>
                    <a:pt x="20" y="59"/>
                    <a:pt x="24" y="59"/>
                  </a:cubicBezTo>
                  <a:cubicBezTo>
                    <a:pt x="29" y="59"/>
                    <a:pt x="34" y="58"/>
                    <a:pt x="37" y="56"/>
                  </a:cubicBezTo>
                  <a:cubicBezTo>
                    <a:pt x="40" y="54"/>
                    <a:pt x="43" y="51"/>
                    <a:pt x="45" y="48"/>
                  </a:cubicBezTo>
                  <a:cubicBezTo>
                    <a:pt x="47" y="45"/>
                    <a:pt x="48" y="41"/>
                    <a:pt x="48" y="37"/>
                  </a:cubicBezTo>
                  <a:cubicBezTo>
                    <a:pt x="48" y="32"/>
                    <a:pt x="46" y="28"/>
                    <a:pt x="42" y="24"/>
                  </a:cubicBezTo>
                  <a:cubicBezTo>
                    <a:pt x="39" y="21"/>
                    <a:pt x="34" y="19"/>
                    <a:pt x="2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4">
              <a:extLst>
                <a:ext uri="{FF2B5EF4-FFF2-40B4-BE49-F238E27FC236}">
                  <a16:creationId xmlns:a16="http://schemas.microsoft.com/office/drawing/2014/main" id="{094069BC-C2D0-4F66-8B73-DF8B31AA6887}"/>
                </a:ext>
              </a:extLst>
            </p:cNvPr>
            <p:cNvSpPr>
              <a:spLocks/>
            </p:cNvSpPr>
            <p:nvPr/>
          </p:nvSpPr>
          <p:spPr bwMode="auto">
            <a:xfrm>
              <a:off x="13712825" y="1636713"/>
              <a:ext cx="120650" cy="88900"/>
            </a:xfrm>
            <a:custGeom>
              <a:avLst/>
              <a:gdLst>
                <a:gd name="T0" fmla="*/ 16 w 28"/>
                <a:gd name="T1" fmla="*/ 1 h 21"/>
                <a:gd name="T2" fmla="*/ 9 w 28"/>
                <a:gd name="T3" fmla="*/ 2 h 21"/>
                <a:gd name="T4" fmla="*/ 2 w 28"/>
                <a:gd name="T5" fmla="*/ 5 h 21"/>
                <a:gd name="T6" fmla="*/ 1 w 28"/>
                <a:gd name="T7" fmla="*/ 12 h 21"/>
                <a:gd name="T8" fmla="*/ 1 w 28"/>
                <a:gd name="T9" fmla="*/ 14 h 21"/>
                <a:gd name="T10" fmla="*/ 1 w 28"/>
                <a:gd name="T11" fmla="*/ 14 h 21"/>
                <a:gd name="T12" fmla="*/ 5 w 28"/>
                <a:gd name="T13" fmla="*/ 20 h 21"/>
                <a:gd name="T14" fmla="*/ 10 w 28"/>
                <a:gd name="T15" fmla="*/ 21 h 21"/>
                <a:gd name="T16" fmla="*/ 12 w 28"/>
                <a:gd name="T17" fmla="*/ 21 h 21"/>
                <a:gd name="T18" fmla="*/ 20 w 28"/>
                <a:gd name="T19" fmla="*/ 19 h 21"/>
                <a:gd name="T20" fmla="*/ 27 w 28"/>
                <a:gd name="T21" fmla="*/ 8 h 21"/>
                <a:gd name="T22" fmla="*/ 16 w 28"/>
                <a:gd name="T23"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16" y="1"/>
                  </a:moveTo>
                  <a:cubicBezTo>
                    <a:pt x="9" y="2"/>
                    <a:pt x="9" y="2"/>
                    <a:pt x="9" y="2"/>
                  </a:cubicBezTo>
                  <a:cubicBezTo>
                    <a:pt x="6" y="2"/>
                    <a:pt x="4" y="3"/>
                    <a:pt x="2" y="5"/>
                  </a:cubicBezTo>
                  <a:cubicBezTo>
                    <a:pt x="1" y="7"/>
                    <a:pt x="0" y="10"/>
                    <a:pt x="1" y="12"/>
                  </a:cubicBezTo>
                  <a:cubicBezTo>
                    <a:pt x="1" y="14"/>
                    <a:pt x="1" y="14"/>
                    <a:pt x="1" y="14"/>
                  </a:cubicBezTo>
                  <a:cubicBezTo>
                    <a:pt x="1" y="14"/>
                    <a:pt x="1" y="14"/>
                    <a:pt x="1" y="14"/>
                  </a:cubicBezTo>
                  <a:cubicBezTo>
                    <a:pt x="1" y="16"/>
                    <a:pt x="3" y="18"/>
                    <a:pt x="5" y="20"/>
                  </a:cubicBezTo>
                  <a:cubicBezTo>
                    <a:pt x="6" y="21"/>
                    <a:pt x="8" y="21"/>
                    <a:pt x="10" y="21"/>
                  </a:cubicBezTo>
                  <a:cubicBezTo>
                    <a:pt x="11" y="21"/>
                    <a:pt x="11" y="21"/>
                    <a:pt x="12" y="21"/>
                  </a:cubicBezTo>
                  <a:cubicBezTo>
                    <a:pt x="20" y="19"/>
                    <a:pt x="20" y="19"/>
                    <a:pt x="20" y="19"/>
                  </a:cubicBezTo>
                  <a:cubicBezTo>
                    <a:pt x="24" y="18"/>
                    <a:pt x="28" y="13"/>
                    <a:pt x="27" y="8"/>
                  </a:cubicBezTo>
                  <a:cubicBezTo>
                    <a:pt x="26" y="3"/>
                    <a:pt x="21" y="0"/>
                    <a:pt x="1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5">
              <a:extLst>
                <a:ext uri="{FF2B5EF4-FFF2-40B4-BE49-F238E27FC236}">
                  <a16:creationId xmlns:a16="http://schemas.microsoft.com/office/drawing/2014/main" id="{D13B011B-8195-492F-B11A-3905266CC886}"/>
                </a:ext>
              </a:extLst>
            </p:cNvPr>
            <p:cNvSpPr>
              <a:spLocks/>
            </p:cNvSpPr>
            <p:nvPr/>
          </p:nvSpPr>
          <p:spPr bwMode="auto">
            <a:xfrm>
              <a:off x="13735050" y="1452563"/>
              <a:ext cx="115888" cy="98425"/>
            </a:xfrm>
            <a:custGeom>
              <a:avLst/>
              <a:gdLst>
                <a:gd name="T0" fmla="*/ 25 w 27"/>
                <a:gd name="T1" fmla="*/ 17 h 23"/>
                <a:gd name="T2" fmla="*/ 21 w 27"/>
                <a:gd name="T3" fmla="*/ 5 h 23"/>
                <a:gd name="T4" fmla="*/ 14 w 27"/>
                <a:gd name="T5" fmla="*/ 1 h 23"/>
                <a:gd name="T6" fmla="*/ 7 w 27"/>
                <a:gd name="T7" fmla="*/ 1 h 23"/>
                <a:gd name="T8" fmla="*/ 1 w 27"/>
                <a:gd name="T9" fmla="*/ 6 h 23"/>
                <a:gd name="T10" fmla="*/ 1 w 27"/>
                <a:gd name="T11" fmla="*/ 7 h 23"/>
                <a:gd name="T12" fmla="*/ 1 w 27"/>
                <a:gd name="T13" fmla="*/ 14 h 23"/>
                <a:gd name="T14" fmla="*/ 6 w 27"/>
                <a:gd name="T15" fmla="*/ 19 h 23"/>
                <a:gd name="T16" fmla="*/ 14 w 27"/>
                <a:gd name="T17" fmla="*/ 22 h 23"/>
                <a:gd name="T18" fmla="*/ 17 w 27"/>
                <a:gd name="T19" fmla="*/ 23 h 23"/>
                <a:gd name="T20" fmla="*/ 25 w 27"/>
                <a:gd name="T2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3">
                  <a:moveTo>
                    <a:pt x="25" y="17"/>
                  </a:moveTo>
                  <a:cubicBezTo>
                    <a:pt x="27" y="12"/>
                    <a:pt x="25" y="7"/>
                    <a:pt x="21" y="5"/>
                  </a:cubicBezTo>
                  <a:cubicBezTo>
                    <a:pt x="14" y="1"/>
                    <a:pt x="14" y="1"/>
                    <a:pt x="14" y="1"/>
                  </a:cubicBezTo>
                  <a:cubicBezTo>
                    <a:pt x="12" y="0"/>
                    <a:pt x="9" y="0"/>
                    <a:pt x="7" y="1"/>
                  </a:cubicBezTo>
                  <a:cubicBezTo>
                    <a:pt x="4" y="2"/>
                    <a:pt x="2" y="4"/>
                    <a:pt x="1" y="6"/>
                  </a:cubicBezTo>
                  <a:cubicBezTo>
                    <a:pt x="1" y="7"/>
                    <a:pt x="1" y="7"/>
                    <a:pt x="1" y="7"/>
                  </a:cubicBezTo>
                  <a:cubicBezTo>
                    <a:pt x="0" y="9"/>
                    <a:pt x="0" y="12"/>
                    <a:pt x="1" y="14"/>
                  </a:cubicBezTo>
                  <a:cubicBezTo>
                    <a:pt x="2" y="17"/>
                    <a:pt x="4" y="18"/>
                    <a:pt x="6" y="19"/>
                  </a:cubicBezTo>
                  <a:cubicBezTo>
                    <a:pt x="14" y="22"/>
                    <a:pt x="14" y="22"/>
                    <a:pt x="14" y="22"/>
                  </a:cubicBezTo>
                  <a:cubicBezTo>
                    <a:pt x="15" y="22"/>
                    <a:pt x="16" y="23"/>
                    <a:pt x="17" y="23"/>
                  </a:cubicBezTo>
                  <a:cubicBezTo>
                    <a:pt x="20" y="23"/>
                    <a:pt x="24" y="20"/>
                    <a:pt x="2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6">
              <a:extLst>
                <a:ext uri="{FF2B5EF4-FFF2-40B4-BE49-F238E27FC236}">
                  <a16:creationId xmlns:a16="http://schemas.microsoft.com/office/drawing/2014/main" id="{D366DB83-0F59-46BD-A4C5-1F326803AD1C}"/>
                </a:ext>
              </a:extLst>
            </p:cNvPr>
            <p:cNvSpPr>
              <a:spLocks/>
            </p:cNvSpPr>
            <p:nvPr/>
          </p:nvSpPr>
          <p:spPr bwMode="auto">
            <a:xfrm>
              <a:off x="13854113" y="1306513"/>
              <a:ext cx="107950" cy="111125"/>
            </a:xfrm>
            <a:custGeom>
              <a:avLst/>
              <a:gdLst>
                <a:gd name="T0" fmla="*/ 7 w 25"/>
                <a:gd name="T1" fmla="*/ 22 h 26"/>
                <a:gd name="T2" fmla="*/ 14 w 25"/>
                <a:gd name="T3" fmla="*/ 26 h 26"/>
                <a:gd name="T4" fmla="*/ 20 w 25"/>
                <a:gd name="T5" fmla="*/ 24 h 26"/>
                <a:gd name="T6" fmla="*/ 22 w 25"/>
                <a:gd name="T7" fmla="*/ 11 h 26"/>
                <a:gd name="T8" fmla="*/ 18 w 25"/>
                <a:gd name="T9" fmla="*/ 5 h 26"/>
                <a:gd name="T10" fmla="*/ 13 w 25"/>
                <a:gd name="T11" fmla="*/ 1 h 26"/>
                <a:gd name="T12" fmla="*/ 5 w 25"/>
                <a:gd name="T13" fmla="*/ 2 h 26"/>
                <a:gd name="T14" fmla="*/ 4 w 25"/>
                <a:gd name="T15" fmla="*/ 2 h 26"/>
                <a:gd name="T16" fmla="*/ 1 w 25"/>
                <a:gd name="T17" fmla="*/ 9 h 26"/>
                <a:gd name="T18" fmla="*/ 2 w 25"/>
                <a:gd name="T19" fmla="*/ 16 h 26"/>
                <a:gd name="T20" fmla="*/ 7 w 25"/>
                <a:gd name="T21" fmla="*/ 22 h 26"/>
                <a:gd name="T22" fmla="*/ 7 w 25"/>
                <a:gd name="T23"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6">
                  <a:moveTo>
                    <a:pt x="7" y="22"/>
                  </a:moveTo>
                  <a:cubicBezTo>
                    <a:pt x="9" y="24"/>
                    <a:pt x="11" y="26"/>
                    <a:pt x="14" y="26"/>
                  </a:cubicBezTo>
                  <a:cubicBezTo>
                    <a:pt x="16" y="26"/>
                    <a:pt x="18" y="25"/>
                    <a:pt x="20" y="24"/>
                  </a:cubicBezTo>
                  <a:cubicBezTo>
                    <a:pt x="24" y="21"/>
                    <a:pt x="25" y="16"/>
                    <a:pt x="22" y="11"/>
                  </a:cubicBezTo>
                  <a:cubicBezTo>
                    <a:pt x="18" y="5"/>
                    <a:pt x="18" y="5"/>
                    <a:pt x="18" y="5"/>
                  </a:cubicBezTo>
                  <a:cubicBezTo>
                    <a:pt x="17" y="3"/>
                    <a:pt x="15" y="1"/>
                    <a:pt x="13" y="1"/>
                  </a:cubicBezTo>
                  <a:cubicBezTo>
                    <a:pt x="10" y="0"/>
                    <a:pt x="8" y="0"/>
                    <a:pt x="5" y="2"/>
                  </a:cubicBezTo>
                  <a:cubicBezTo>
                    <a:pt x="4" y="2"/>
                    <a:pt x="4" y="2"/>
                    <a:pt x="4" y="2"/>
                  </a:cubicBezTo>
                  <a:cubicBezTo>
                    <a:pt x="2" y="4"/>
                    <a:pt x="1" y="6"/>
                    <a:pt x="1" y="9"/>
                  </a:cubicBezTo>
                  <a:cubicBezTo>
                    <a:pt x="0" y="11"/>
                    <a:pt x="1" y="14"/>
                    <a:pt x="2" y="16"/>
                  </a:cubicBezTo>
                  <a:cubicBezTo>
                    <a:pt x="7" y="22"/>
                    <a:pt x="7" y="22"/>
                    <a:pt x="7" y="22"/>
                  </a:cubicBezTo>
                  <a:cubicBezTo>
                    <a:pt x="7" y="22"/>
                    <a:pt x="7" y="22"/>
                    <a:pt x="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7">
              <a:extLst>
                <a:ext uri="{FF2B5EF4-FFF2-40B4-BE49-F238E27FC236}">
                  <a16:creationId xmlns:a16="http://schemas.microsoft.com/office/drawing/2014/main" id="{B6C4FF83-33BF-47A9-B519-98F86F1E71C6}"/>
                </a:ext>
              </a:extLst>
            </p:cNvPr>
            <p:cNvSpPr>
              <a:spLocks/>
            </p:cNvSpPr>
            <p:nvPr/>
          </p:nvSpPr>
          <p:spPr bwMode="auto">
            <a:xfrm>
              <a:off x="14330363" y="1636713"/>
              <a:ext cx="115888" cy="88900"/>
            </a:xfrm>
            <a:custGeom>
              <a:avLst/>
              <a:gdLst>
                <a:gd name="T0" fmla="*/ 11 w 27"/>
                <a:gd name="T1" fmla="*/ 1 h 21"/>
                <a:gd name="T2" fmla="*/ 1 w 27"/>
                <a:gd name="T3" fmla="*/ 8 h 21"/>
                <a:gd name="T4" fmla="*/ 8 w 27"/>
                <a:gd name="T5" fmla="*/ 19 h 21"/>
                <a:gd name="T6" fmla="*/ 15 w 27"/>
                <a:gd name="T7" fmla="*/ 21 h 21"/>
                <a:gd name="T8" fmla="*/ 15 w 27"/>
                <a:gd name="T9" fmla="*/ 21 h 21"/>
                <a:gd name="T10" fmla="*/ 17 w 27"/>
                <a:gd name="T11" fmla="*/ 21 h 21"/>
                <a:gd name="T12" fmla="*/ 22 w 27"/>
                <a:gd name="T13" fmla="*/ 20 h 21"/>
                <a:gd name="T14" fmla="*/ 26 w 27"/>
                <a:gd name="T15" fmla="*/ 14 h 21"/>
                <a:gd name="T16" fmla="*/ 27 w 27"/>
                <a:gd name="T17" fmla="*/ 12 h 21"/>
                <a:gd name="T18" fmla="*/ 25 w 27"/>
                <a:gd name="T19" fmla="*/ 5 h 21"/>
                <a:gd name="T20" fmla="*/ 19 w 27"/>
                <a:gd name="T21" fmla="*/ 2 h 21"/>
                <a:gd name="T22" fmla="*/ 11 w 27"/>
                <a:gd name="T23"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1">
                  <a:moveTo>
                    <a:pt x="11" y="1"/>
                  </a:moveTo>
                  <a:cubicBezTo>
                    <a:pt x="6" y="0"/>
                    <a:pt x="2" y="3"/>
                    <a:pt x="1" y="8"/>
                  </a:cubicBezTo>
                  <a:cubicBezTo>
                    <a:pt x="0" y="13"/>
                    <a:pt x="3" y="18"/>
                    <a:pt x="8" y="19"/>
                  </a:cubicBezTo>
                  <a:cubicBezTo>
                    <a:pt x="15" y="21"/>
                    <a:pt x="15" y="21"/>
                    <a:pt x="15" y="21"/>
                  </a:cubicBezTo>
                  <a:cubicBezTo>
                    <a:pt x="15" y="21"/>
                    <a:pt x="15" y="21"/>
                    <a:pt x="15" y="21"/>
                  </a:cubicBezTo>
                  <a:cubicBezTo>
                    <a:pt x="16" y="21"/>
                    <a:pt x="17" y="21"/>
                    <a:pt x="17" y="21"/>
                  </a:cubicBezTo>
                  <a:cubicBezTo>
                    <a:pt x="19" y="21"/>
                    <a:pt x="21" y="21"/>
                    <a:pt x="22" y="20"/>
                  </a:cubicBezTo>
                  <a:cubicBezTo>
                    <a:pt x="25" y="18"/>
                    <a:pt x="26" y="16"/>
                    <a:pt x="26" y="14"/>
                  </a:cubicBezTo>
                  <a:cubicBezTo>
                    <a:pt x="27" y="12"/>
                    <a:pt x="27" y="12"/>
                    <a:pt x="27" y="12"/>
                  </a:cubicBezTo>
                  <a:cubicBezTo>
                    <a:pt x="27" y="10"/>
                    <a:pt x="27" y="7"/>
                    <a:pt x="25" y="5"/>
                  </a:cubicBezTo>
                  <a:cubicBezTo>
                    <a:pt x="24" y="3"/>
                    <a:pt x="21" y="2"/>
                    <a:pt x="19" y="2"/>
                  </a:cubicBezTo>
                  <a:lnTo>
                    <a:pt x="1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8">
              <a:extLst>
                <a:ext uri="{FF2B5EF4-FFF2-40B4-BE49-F238E27FC236}">
                  <a16:creationId xmlns:a16="http://schemas.microsoft.com/office/drawing/2014/main" id="{FB07AFA9-9102-4BB0-A0A4-6EF173A35372}"/>
                </a:ext>
              </a:extLst>
            </p:cNvPr>
            <p:cNvSpPr>
              <a:spLocks/>
            </p:cNvSpPr>
            <p:nvPr/>
          </p:nvSpPr>
          <p:spPr bwMode="auto">
            <a:xfrm>
              <a:off x="14308138" y="1452563"/>
              <a:ext cx="115888" cy="98425"/>
            </a:xfrm>
            <a:custGeom>
              <a:avLst/>
              <a:gdLst>
                <a:gd name="T0" fmla="*/ 26 w 27"/>
                <a:gd name="T1" fmla="*/ 6 h 23"/>
                <a:gd name="T2" fmla="*/ 21 w 27"/>
                <a:gd name="T3" fmla="*/ 1 h 23"/>
                <a:gd name="T4" fmla="*/ 13 w 27"/>
                <a:gd name="T5" fmla="*/ 1 h 23"/>
                <a:gd name="T6" fmla="*/ 6 w 27"/>
                <a:gd name="T7" fmla="*/ 5 h 23"/>
                <a:gd name="T8" fmla="*/ 2 w 27"/>
                <a:gd name="T9" fmla="*/ 17 h 23"/>
                <a:gd name="T10" fmla="*/ 2 w 27"/>
                <a:gd name="T11" fmla="*/ 17 h 23"/>
                <a:gd name="T12" fmla="*/ 2 w 27"/>
                <a:gd name="T13" fmla="*/ 17 h 23"/>
                <a:gd name="T14" fmla="*/ 11 w 27"/>
                <a:gd name="T15" fmla="*/ 23 h 23"/>
                <a:gd name="T16" fmla="*/ 14 w 27"/>
                <a:gd name="T17" fmla="*/ 22 h 23"/>
                <a:gd name="T18" fmla="*/ 21 w 27"/>
                <a:gd name="T19" fmla="*/ 19 h 23"/>
                <a:gd name="T20" fmla="*/ 26 w 27"/>
                <a:gd name="T21" fmla="*/ 14 h 23"/>
                <a:gd name="T22" fmla="*/ 26 w 27"/>
                <a:gd name="T23" fmla="*/ 7 h 23"/>
                <a:gd name="T24" fmla="*/ 26 w 27"/>
                <a:gd name="T25"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3">
                  <a:moveTo>
                    <a:pt x="26" y="6"/>
                  </a:moveTo>
                  <a:cubicBezTo>
                    <a:pt x="25" y="4"/>
                    <a:pt x="23" y="2"/>
                    <a:pt x="21" y="1"/>
                  </a:cubicBezTo>
                  <a:cubicBezTo>
                    <a:pt x="18" y="0"/>
                    <a:pt x="16" y="0"/>
                    <a:pt x="13" y="1"/>
                  </a:cubicBezTo>
                  <a:cubicBezTo>
                    <a:pt x="6" y="5"/>
                    <a:pt x="6" y="5"/>
                    <a:pt x="6" y="5"/>
                  </a:cubicBezTo>
                  <a:cubicBezTo>
                    <a:pt x="2" y="7"/>
                    <a:pt x="0" y="12"/>
                    <a:pt x="2" y="17"/>
                  </a:cubicBezTo>
                  <a:cubicBezTo>
                    <a:pt x="2" y="17"/>
                    <a:pt x="2" y="17"/>
                    <a:pt x="2" y="17"/>
                  </a:cubicBezTo>
                  <a:cubicBezTo>
                    <a:pt x="2" y="17"/>
                    <a:pt x="2" y="17"/>
                    <a:pt x="2" y="17"/>
                  </a:cubicBezTo>
                  <a:cubicBezTo>
                    <a:pt x="3" y="20"/>
                    <a:pt x="7" y="23"/>
                    <a:pt x="11" y="23"/>
                  </a:cubicBezTo>
                  <a:cubicBezTo>
                    <a:pt x="12" y="23"/>
                    <a:pt x="13" y="22"/>
                    <a:pt x="14" y="22"/>
                  </a:cubicBezTo>
                  <a:cubicBezTo>
                    <a:pt x="21" y="19"/>
                    <a:pt x="21" y="19"/>
                    <a:pt x="21" y="19"/>
                  </a:cubicBezTo>
                  <a:cubicBezTo>
                    <a:pt x="23" y="18"/>
                    <a:pt x="25" y="17"/>
                    <a:pt x="26" y="14"/>
                  </a:cubicBezTo>
                  <a:cubicBezTo>
                    <a:pt x="27" y="12"/>
                    <a:pt x="27" y="9"/>
                    <a:pt x="26" y="7"/>
                  </a:cubicBezTo>
                  <a:lnTo>
                    <a:pt x="2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9">
              <a:extLst>
                <a:ext uri="{FF2B5EF4-FFF2-40B4-BE49-F238E27FC236}">
                  <a16:creationId xmlns:a16="http://schemas.microsoft.com/office/drawing/2014/main" id="{83486E9F-6959-4D61-99B6-767F2822DF0B}"/>
                </a:ext>
              </a:extLst>
            </p:cNvPr>
            <p:cNvSpPr>
              <a:spLocks/>
            </p:cNvSpPr>
            <p:nvPr/>
          </p:nvSpPr>
          <p:spPr bwMode="auto">
            <a:xfrm>
              <a:off x="14197013" y="1306513"/>
              <a:ext cx="107950" cy="111125"/>
            </a:xfrm>
            <a:custGeom>
              <a:avLst/>
              <a:gdLst>
                <a:gd name="T0" fmla="*/ 6 w 25"/>
                <a:gd name="T1" fmla="*/ 24 h 26"/>
                <a:gd name="T2" fmla="*/ 6 w 25"/>
                <a:gd name="T3" fmla="*/ 24 h 26"/>
                <a:gd name="T4" fmla="*/ 11 w 25"/>
                <a:gd name="T5" fmla="*/ 26 h 26"/>
                <a:gd name="T6" fmla="*/ 18 w 25"/>
                <a:gd name="T7" fmla="*/ 22 h 26"/>
                <a:gd name="T8" fmla="*/ 23 w 25"/>
                <a:gd name="T9" fmla="*/ 16 h 26"/>
                <a:gd name="T10" fmla="*/ 25 w 25"/>
                <a:gd name="T11" fmla="*/ 9 h 26"/>
                <a:gd name="T12" fmla="*/ 21 w 25"/>
                <a:gd name="T13" fmla="*/ 3 h 26"/>
                <a:gd name="T14" fmla="*/ 20 w 25"/>
                <a:gd name="T15" fmla="*/ 2 h 26"/>
                <a:gd name="T16" fmla="*/ 13 w 25"/>
                <a:gd name="T17" fmla="*/ 1 h 26"/>
                <a:gd name="T18" fmla="*/ 7 w 25"/>
                <a:gd name="T19" fmla="*/ 5 h 26"/>
                <a:gd name="T20" fmla="*/ 3 w 25"/>
                <a:gd name="T21" fmla="*/ 11 h 26"/>
                <a:gd name="T22" fmla="*/ 6 w 25"/>
                <a:gd name="T23"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6">
                  <a:moveTo>
                    <a:pt x="6" y="24"/>
                  </a:moveTo>
                  <a:cubicBezTo>
                    <a:pt x="6" y="24"/>
                    <a:pt x="6" y="24"/>
                    <a:pt x="6" y="24"/>
                  </a:cubicBezTo>
                  <a:cubicBezTo>
                    <a:pt x="7" y="25"/>
                    <a:pt x="9" y="26"/>
                    <a:pt x="11" y="26"/>
                  </a:cubicBezTo>
                  <a:cubicBezTo>
                    <a:pt x="14" y="26"/>
                    <a:pt x="17" y="24"/>
                    <a:pt x="18" y="22"/>
                  </a:cubicBezTo>
                  <a:cubicBezTo>
                    <a:pt x="23" y="16"/>
                    <a:pt x="23" y="16"/>
                    <a:pt x="23" y="16"/>
                  </a:cubicBezTo>
                  <a:cubicBezTo>
                    <a:pt x="25" y="14"/>
                    <a:pt x="25" y="11"/>
                    <a:pt x="25" y="9"/>
                  </a:cubicBezTo>
                  <a:cubicBezTo>
                    <a:pt x="24" y="6"/>
                    <a:pt x="23" y="4"/>
                    <a:pt x="21" y="3"/>
                  </a:cubicBezTo>
                  <a:cubicBezTo>
                    <a:pt x="20" y="2"/>
                    <a:pt x="20" y="2"/>
                    <a:pt x="20" y="2"/>
                  </a:cubicBezTo>
                  <a:cubicBezTo>
                    <a:pt x="18" y="0"/>
                    <a:pt x="15" y="0"/>
                    <a:pt x="13" y="1"/>
                  </a:cubicBezTo>
                  <a:cubicBezTo>
                    <a:pt x="10" y="1"/>
                    <a:pt x="8" y="3"/>
                    <a:pt x="7" y="5"/>
                  </a:cubicBezTo>
                  <a:cubicBezTo>
                    <a:pt x="3" y="11"/>
                    <a:pt x="3" y="11"/>
                    <a:pt x="3" y="11"/>
                  </a:cubicBezTo>
                  <a:cubicBezTo>
                    <a:pt x="0" y="16"/>
                    <a:pt x="2" y="21"/>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0">
              <a:extLst>
                <a:ext uri="{FF2B5EF4-FFF2-40B4-BE49-F238E27FC236}">
                  <a16:creationId xmlns:a16="http://schemas.microsoft.com/office/drawing/2014/main" id="{15DD834D-3C47-46D0-B755-03EF5F57B5B5}"/>
                </a:ext>
              </a:extLst>
            </p:cNvPr>
            <p:cNvSpPr>
              <a:spLocks/>
            </p:cNvSpPr>
            <p:nvPr/>
          </p:nvSpPr>
          <p:spPr bwMode="auto">
            <a:xfrm>
              <a:off x="14038263" y="1254125"/>
              <a:ext cx="85725" cy="111125"/>
            </a:xfrm>
            <a:custGeom>
              <a:avLst/>
              <a:gdLst>
                <a:gd name="T0" fmla="*/ 10 w 20"/>
                <a:gd name="T1" fmla="*/ 26 h 26"/>
                <a:gd name="T2" fmla="*/ 10 w 20"/>
                <a:gd name="T3" fmla="*/ 26 h 26"/>
                <a:gd name="T4" fmla="*/ 10 w 20"/>
                <a:gd name="T5" fmla="*/ 26 h 26"/>
                <a:gd name="T6" fmla="*/ 19 w 20"/>
                <a:gd name="T7" fmla="*/ 17 h 26"/>
                <a:gd name="T8" fmla="*/ 19 w 20"/>
                <a:gd name="T9" fmla="*/ 9 h 26"/>
                <a:gd name="T10" fmla="*/ 17 w 20"/>
                <a:gd name="T11" fmla="*/ 2 h 26"/>
                <a:gd name="T12" fmla="*/ 10 w 20"/>
                <a:gd name="T13" fmla="*/ 0 h 26"/>
                <a:gd name="T14" fmla="*/ 9 w 20"/>
                <a:gd name="T15" fmla="*/ 0 h 26"/>
                <a:gd name="T16" fmla="*/ 3 w 20"/>
                <a:gd name="T17" fmla="*/ 2 h 26"/>
                <a:gd name="T18" fmla="*/ 0 w 20"/>
                <a:gd name="T19" fmla="*/ 9 h 26"/>
                <a:gd name="T20" fmla="*/ 0 w 20"/>
                <a:gd name="T21" fmla="*/ 17 h 26"/>
                <a:gd name="T22" fmla="*/ 10 w 20"/>
                <a:gd name="T2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6">
                  <a:moveTo>
                    <a:pt x="10" y="26"/>
                  </a:moveTo>
                  <a:cubicBezTo>
                    <a:pt x="10" y="26"/>
                    <a:pt x="10" y="26"/>
                    <a:pt x="10" y="26"/>
                  </a:cubicBezTo>
                  <a:cubicBezTo>
                    <a:pt x="10" y="26"/>
                    <a:pt x="10" y="26"/>
                    <a:pt x="10" y="26"/>
                  </a:cubicBezTo>
                  <a:cubicBezTo>
                    <a:pt x="15" y="26"/>
                    <a:pt x="19" y="22"/>
                    <a:pt x="19" y="17"/>
                  </a:cubicBezTo>
                  <a:cubicBezTo>
                    <a:pt x="19" y="9"/>
                    <a:pt x="19" y="9"/>
                    <a:pt x="19" y="9"/>
                  </a:cubicBezTo>
                  <a:cubicBezTo>
                    <a:pt x="20" y="7"/>
                    <a:pt x="19" y="4"/>
                    <a:pt x="17" y="2"/>
                  </a:cubicBezTo>
                  <a:cubicBezTo>
                    <a:pt x="15" y="1"/>
                    <a:pt x="13" y="0"/>
                    <a:pt x="10" y="0"/>
                  </a:cubicBezTo>
                  <a:cubicBezTo>
                    <a:pt x="9" y="0"/>
                    <a:pt x="9" y="0"/>
                    <a:pt x="9" y="0"/>
                  </a:cubicBezTo>
                  <a:cubicBezTo>
                    <a:pt x="7" y="0"/>
                    <a:pt x="4" y="1"/>
                    <a:pt x="3" y="2"/>
                  </a:cubicBezTo>
                  <a:cubicBezTo>
                    <a:pt x="1" y="4"/>
                    <a:pt x="0" y="7"/>
                    <a:pt x="0" y="9"/>
                  </a:cubicBezTo>
                  <a:cubicBezTo>
                    <a:pt x="0" y="17"/>
                    <a:pt x="0" y="17"/>
                    <a:pt x="0" y="17"/>
                  </a:cubicBezTo>
                  <a:cubicBezTo>
                    <a:pt x="0" y="22"/>
                    <a:pt x="5" y="26"/>
                    <a:pt x="1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0" name="Title 1">
            <a:extLst>
              <a:ext uri="{FF2B5EF4-FFF2-40B4-BE49-F238E27FC236}">
                <a16:creationId xmlns:a16="http://schemas.microsoft.com/office/drawing/2014/main" id="{D58BE781-5A6E-4D42-A867-B385DF75E07A}"/>
              </a:ext>
            </a:extLst>
          </p:cNvPr>
          <p:cNvSpPr txBox="1">
            <a:spLocks/>
          </p:cNvSpPr>
          <p:nvPr/>
        </p:nvSpPr>
        <p:spPr>
          <a:xfrm>
            <a:off x="838200" y="228600"/>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Application Equipment </a:t>
            </a:r>
            <a:br>
              <a:rPr lang="en-US"/>
            </a:br>
            <a:r>
              <a:rPr lang="en-US"/>
              <a:t>and Techniques</a:t>
            </a:r>
            <a:endPar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endParaRPr>
          </a:p>
        </p:txBody>
      </p:sp>
      <p:cxnSp>
        <p:nvCxnSpPr>
          <p:cNvPr id="101" name="Straight Connector 100">
            <a:extLst>
              <a:ext uri="{FF2B5EF4-FFF2-40B4-BE49-F238E27FC236}">
                <a16:creationId xmlns:a16="http://schemas.microsoft.com/office/drawing/2014/main" id="{1C39F8C3-E000-41C2-A69A-E5A9497B2B8E}"/>
              </a:ext>
            </a:extLst>
          </p:cNvPr>
          <p:cNvCxnSpPr/>
          <p:nvPr/>
        </p:nvCxnSpPr>
        <p:spPr>
          <a:xfrm>
            <a:off x="-25880" y="3649254"/>
            <a:ext cx="12192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FA85CBF-1BE3-4081-A896-FE369BDC7503}"/>
              </a:ext>
            </a:extLst>
          </p:cNvPr>
          <p:cNvPicPr>
            <a:picLocks noChangeAspect="1"/>
          </p:cNvPicPr>
          <p:nvPr/>
        </p:nvPicPr>
        <p:blipFill>
          <a:blip r:embed="rId3"/>
          <a:stretch>
            <a:fillRect/>
          </a:stretch>
        </p:blipFill>
        <p:spPr>
          <a:xfrm>
            <a:off x="902483" y="6334034"/>
            <a:ext cx="1171575" cy="495300"/>
          </a:xfrm>
          <a:prstGeom prst="rect">
            <a:avLst/>
          </a:prstGeom>
        </p:spPr>
      </p:pic>
      <p:pic>
        <p:nvPicPr>
          <p:cNvPr id="102" name="Picture 101">
            <a:extLst>
              <a:ext uri="{FF2B5EF4-FFF2-40B4-BE49-F238E27FC236}">
                <a16:creationId xmlns:a16="http://schemas.microsoft.com/office/drawing/2014/main" id="{2475D483-368E-4AEA-93F7-6E9B2A7A881C}"/>
              </a:ext>
            </a:extLst>
          </p:cNvPr>
          <p:cNvPicPr>
            <a:picLocks noChangeAspect="1"/>
          </p:cNvPicPr>
          <p:nvPr/>
        </p:nvPicPr>
        <p:blipFill>
          <a:blip r:embed="rId4"/>
          <a:stretch>
            <a:fillRect/>
          </a:stretch>
        </p:blipFill>
        <p:spPr>
          <a:xfrm>
            <a:off x="838200" y="6393164"/>
            <a:ext cx="1333500" cy="378995"/>
          </a:xfrm>
          <a:prstGeom prst="rect">
            <a:avLst/>
          </a:prstGeom>
        </p:spPr>
      </p:pic>
      <p:sp>
        <p:nvSpPr>
          <p:cNvPr id="103" name="Rectangle 102">
            <a:extLst>
              <a:ext uri="{FF2B5EF4-FFF2-40B4-BE49-F238E27FC236}">
                <a16:creationId xmlns:a16="http://schemas.microsoft.com/office/drawing/2014/main" id="{BEBF4B62-2F75-4C84-A26E-D5E9DC6218B0}"/>
              </a:ext>
            </a:extLst>
          </p:cNvPr>
          <p:cNvSpPr/>
          <p:nvPr/>
        </p:nvSpPr>
        <p:spPr>
          <a:xfrm>
            <a:off x="4162491" y="4619957"/>
            <a:ext cx="3864030" cy="1317136"/>
          </a:xfrm>
          <a:prstGeom prst="rect">
            <a:avLst/>
          </a:prstGeom>
          <a:solidFill>
            <a:srgbClr val="FFFFF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0" fontAlgn="base" hangingPunct="0">
              <a:lnSpc>
                <a:spcPct val="90000"/>
              </a:lnSpc>
              <a:spcBef>
                <a:spcPct val="0"/>
              </a:spcBef>
              <a:spcAft>
                <a:spcPct val="0"/>
              </a:spcAft>
            </a:pPr>
            <a:r>
              <a:rPr lang="en-US" sz="1600">
                <a:solidFill>
                  <a:schemeClr val="tx1"/>
                </a:solidFill>
                <a:latin typeface="Arial Narrow" panose="020B0606020202030204" pitchFamily="34" charset="0"/>
              </a:rPr>
              <a:t>It is important for the applicator to be aware that wind direction may vary during the application. If wind direction shifts such that the wind is blowing toward adjacent non-dicamba tolerant sensitive crops, the applicator </a:t>
            </a:r>
            <a:r>
              <a:rPr lang="en-US" sz="1600" b="1">
                <a:solidFill>
                  <a:schemeClr val="tx1"/>
                </a:solidFill>
                <a:latin typeface="Arial Narrow" panose="020B0606020202030204" pitchFamily="34" charset="0"/>
              </a:rPr>
              <a:t>must STOP</a:t>
            </a:r>
            <a:r>
              <a:rPr lang="en-US" sz="1600">
                <a:solidFill>
                  <a:schemeClr val="tx1"/>
                </a:solidFill>
                <a:latin typeface="Arial Narrow" panose="020B0606020202030204" pitchFamily="34" charset="0"/>
              </a:rPr>
              <a:t> the application.</a:t>
            </a:r>
          </a:p>
        </p:txBody>
      </p:sp>
    </p:spTree>
    <p:extLst>
      <p:ext uri="{BB962C8B-B14F-4D97-AF65-F5344CB8AC3E}">
        <p14:creationId xmlns:p14="http://schemas.microsoft.com/office/powerpoint/2010/main" val="277758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Title 1">
            <a:extLst>
              <a:ext uri="{FF2B5EF4-FFF2-40B4-BE49-F238E27FC236}">
                <a16:creationId xmlns:a16="http://schemas.microsoft.com/office/drawing/2014/main" id="{65789CD6-DCAB-456F-98F6-78CB24862A3D}"/>
              </a:ext>
            </a:extLst>
          </p:cNvPr>
          <p:cNvSpPr txBox="1">
            <a:spLocks/>
          </p:cNvSpPr>
          <p:nvPr/>
        </p:nvSpPr>
        <p:spPr>
          <a:xfrm>
            <a:off x="838200" y="228600"/>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Application Equipment </a:t>
            </a:r>
            <a:br>
              <a:rPr lang="en-US"/>
            </a:br>
            <a:r>
              <a:rPr lang="en-US"/>
              <a:t>and Techniques</a:t>
            </a:r>
            <a:endPar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endParaRPr>
          </a:p>
        </p:txBody>
      </p:sp>
      <p:grpSp>
        <p:nvGrpSpPr>
          <p:cNvPr id="11" name="Group 10">
            <a:extLst>
              <a:ext uri="{FF2B5EF4-FFF2-40B4-BE49-F238E27FC236}">
                <a16:creationId xmlns:a16="http://schemas.microsoft.com/office/drawing/2014/main" id="{D174779C-761D-42DF-B894-C7804939A659}"/>
              </a:ext>
            </a:extLst>
          </p:cNvPr>
          <p:cNvGrpSpPr/>
          <p:nvPr/>
        </p:nvGrpSpPr>
        <p:grpSpPr>
          <a:xfrm>
            <a:off x="8999605" y="1316736"/>
            <a:ext cx="2081774" cy="2416199"/>
            <a:chOff x="13509027" y="1316736"/>
            <a:chExt cx="2081774" cy="2416199"/>
          </a:xfrm>
        </p:grpSpPr>
        <p:sp>
          <p:nvSpPr>
            <p:cNvPr id="126" name="Oval 125">
              <a:extLst>
                <a:ext uri="{FF2B5EF4-FFF2-40B4-BE49-F238E27FC236}">
                  <a16:creationId xmlns:a16="http://schemas.microsoft.com/office/drawing/2014/main" id="{B9044D91-C441-436B-954E-47DF724ACACD}"/>
                </a:ext>
              </a:extLst>
            </p:cNvPr>
            <p:cNvSpPr/>
            <p:nvPr/>
          </p:nvSpPr>
          <p:spPr>
            <a:xfrm>
              <a:off x="13509027" y="1316736"/>
              <a:ext cx="2081774" cy="2416199"/>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32" name="Group 131">
              <a:extLst>
                <a:ext uri="{FF2B5EF4-FFF2-40B4-BE49-F238E27FC236}">
                  <a16:creationId xmlns:a16="http://schemas.microsoft.com/office/drawing/2014/main" id="{8AE79E85-76BC-4B1E-9A84-D8092050A3C6}"/>
                </a:ext>
              </a:extLst>
            </p:cNvPr>
            <p:cNvGrpSpPr/>
            <p:nvPr/>
          </p:nvGrpSpPr>
          <p:grpSpPr>
            <a:xfrm>
              <a:off x="14105852" y="1496168"/>
              <a:ext cx="888125" cy="813153"/>
              <a:chOff x="-7618413" y="517525"/>
              <a:chExt cx="2444750" cy="2238375"/>
            </a:xfrm>
            <a:solidFill>
              <a:schemeClr val="accent6"/>
            </a:solidFill>
          </p:grpSpPr>
          <p:sp>
            <p:nvSpPr>
              <p:cNvPr id="133" name="Oval 5">
                <a:extLst>
                  <a:ext uri="{FF2B5EF4-FFF2-40B4-BE49-F238E27FC236}">
                    <a16:creationId xmlns:a16="http://schemas.microsoft.com/office/drawing/2014/main" id="{06147162-3EB9-4E6B-B50F-EADB96983E9C}"/>
                  </a:ext>
                </a:extLst>
              </p:cNvPr>
              <p:cNvSpPr>
                <a:spLocks noChangeArrowheads="1"/>
              </p:cNvSpPr>
              <p:nvPr/>
            </p:nvSpPr>
            <p:spPr bwMode="auto">
              <a:xfrm>
                <a:off x="-6003925" y="1679575"/>
                <a:ext cx="73025"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6">
                <a:extLst>
                  <a:ext uri="{FF2B5EF4-FFF2-40B4-BE49-F238E27FC236}">
                    <a16:creationId xmlns:a16="http://schemas.microsoft.com/office/drawing/2014/main" id="{FD2C38A2-45D3-4A17-B19F-68BF84C44CA4}"/>
                  </a:ext>
                </a:extLst>
              </p:cNvPr>
              <p:cNvSpPr>
                <a:spLocks noChangeArrowheads="1"/>
              </p:cNvSpPr>
              <p:nvPr/>
            </p:nvSpPr>
            <p:spPr bwMode="auto">
              <a:xfrm>
                <a:off x="-6105525" y="1679575"/>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7">
                <a:extLst>
                  <a:ext uri="{FF2B5EF4-FFF2-40B4-BE49-F238E27FC236}">
                    <a16:creationId xmlns:a16="http://schemas.microsoft.com/office/drawing/2014/main" id="{FBD7820F-CA1F-4FAB-A6F6-ECAED4FC699A}"/>
                  </a:ext>
                </a:extLst>
              </p:cNvPr>
              <p:cNvSpPr>
                <a:spLocks noChangeArrowheads="1"/>
              </p:cNvSpPr>
              <p:nvPr/>
            </p:nvSpPr>
            <p:spPr bwMode="auto">
              <a:xfrm>
                <a:off x="-6405563" y="1679575"/>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8">
                <a:extLst>
                  <a:ext uri="{FF2B5EF4-FFF2-40B4-BE49-F238E27FC236}">
                    <a16:creationId xmlns:a16="http://schemas.microsoft.com/office/drawing/2014/main" id="{10A4C405-5C0E-44B9-8D6F-83A33716FA58}"/>
                  </a:ext>
                </a:extLst>
              </p:cNvPr>
              <p:cNvSpPr>
                <a:spLocks noChangeArrowheads="1"/>
              </p:cNvSpPr>
              <p:nvPr/>
            </p:nvSpPr>
            <p:spPr bwMode="auto">
              <a:xfrm>
                <a:off x="-6303963" y="1679575"/>
                <a:ext cx="7143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9">
                <a:extLst>
                  <a:ext uri="{FF2B5EF4-FFF2-40B4-BE49-F238E27FC236}">
                    <a16:creationId xmlns:a16="http://schemas.microsoft.com/office/drawing/2014/main" id="{DFD44A8D-835A-47C8-A920-77E2317B7255}"/>
                  </a:ext>
                </a:extLst>
              </p:cNvPr>
              <p:cNvSpPr>
                <a:spLocks noChangeArrowheads="1"/>
              </p:cNvSpPr>
              <p:nvPr/>
            </p:nvSpPr>
            <p:spPr bwMode="auto">
              <a:xfrm>
                <a:off x="-6207125" y="1679575"/>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10">
                <a:extLst>
                  <a:ext uri="{FF2B5EF4-FFF2-40B4-BE49-F238E27FC236}">
                    <a16:creationId xmlns:a16="http://schemas.microsoft.com/office/drawing/2014/main" id="{70A970AB-C5CE-40C1-9D07-A47B210E9A43}"/>
                  </a:ext>
                </a:extLst>
              </p:cNvPr>
              <p:cNvSpPr>
                <a:spLocks noChangeArrowheads="1"/>
              </p:cNvSpPr>
              <p:nvPr/>
            </p:nvSpPr>
            <p:spPr bwMode="auto">
              <a:xfrm>
                <a:off x="-6054725" y="1581150"/>
                <a:ext cx="73025"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11">
                <a:extLst>
                  <a:ext uri="{FF2B5EF4-FFF2-40B4-BE49-F238E27FC236}">
                    <a16:creationId xmlns:a16="http://schemas.microsoft.com/office/drawing/2014/main" id="{FC2F1068-0FA5-4F76-8DA4-40E33F208A70}"/>
                  </a:ext>
                </a:extLst>
              </p:cNvPr>
              <p:cNvSpPr>
                <a:spLocks noChangeArrowheads="1"/>
              </p:cNvSpPr>
              <p:nvPr/>
            </p:nvSpPr>
            <p:spPr bwMode="auto">
              <a:xfrm>
                <a:off x="-6156325" y="1581150"/>
                <a:ext cx="76200"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2">
                <a:extLst>
                  <a:ext uri="{FF2B5EF4-FFF2-40B4-BE49-F238E27FC236}">
                    <a16:creationId xmlns:a16="http://schemas.microsoft.com/office/drawing/2014/main" id="{7C32418F-9249-447C-9B0B-0405CB346C21}"/>
                  </a:ext>
                </a:extLst>
              </p:cNvPr>
              <p:cNvSpPr>
                <a:spLocks noChangeArrowheads="1"/>
              </p:cNvSpPr>
              <p:nvPr/>
            </p:nvSpPr>
            <p:spPr bwMode="auto">
              <a:xfrm>
                <a:off x="-6354763" y="1581150"/>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3">
                <a:extLst>
                  <a:ext uri="{FF2B5EF4-FFF2-40B4-BE49-F238E27FC236}">
                    <a16:creationId xmlns:a16="http://schemas.microsoft.com/office/drawing/2014/main" id="{510E9568-E7B9-41A3-A694-45F3C825B4BF}"/>
                  </a:ext>
                </a:extLst>
              </p:cNvPr>
              <p:cNvSpPr>
                <a:spLocks noChangeArrowheads="1"/>
              </p:cNvSpPr>
              <p:nvPr/>
            </p:nvSpPr>
            <p:spPr bwMode="auto">
              <a:xfrm>
                <a:off x="-6253163" y="1581150"/>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4">
                <a:extLst>
                  <a:ext uri="{FF2B5EF4-FFF2-40B4-BE49-F238E27FC236}">
                    <a16:creationId xmlns:a16="http://schemas.microsoft.com/office/drawing/2014/main" id="{767C9D68-9E13-4288-AF38-0A3195DB3CC9}"/>
                  </a:ext>
                </a:extLst>
              </p:cNvPr>
              <p:cNvSpPr>
                <a:spLocks noChangeArrowheads="1"/>
              </p:cNvSpPr>
              <p:nvPr/>
            </p:nvSpPr>
            <p:spPr bwMode="auto">
              <a:xfrm>
                <a:off x="-6105525" y="1479550"/>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15">
                <a:extLst>
                  <a:ext uri="{FF2B5EF4-FFF2-40B4-BE49-F238E27FC236}">
                    <a16:creationId xmlns:a16="http://schemas.microsoft.com/office/drawing/2014/main" id="{02B97AFA-B01B-45DF-8802-603E2FEAD79C}"/>
                  </a:ext>
                </a:extLst>
              </p:cNvPr>
              <p:cNvSpPr>
                <a:spLocks noChangeArrowheads="1"/>
              </p:cNvSpPr>
              <p:nvPr/>
            </p:nvSpPr>
            <p:spPr bwMode="auto">
              <a:xfrm>
                <a:off x="-6207125" y="1479550"/>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6">
                <a:extLst>
                  <a:ext uri="{FF2B5EF4-FFF2-40B4-BE49-F238E27FC236}">
                    <a16:creationId xmlns:a16="http://schemas.microsoft.com/office/drawing/2014/main" id="{5032486E-739F-45B9-BD8A-00539130E11C}"/>
                  </a:ext>
                </a:extLst>
              </p:cNvPr>
              <p:cNvSpPr>
                <a:spLocks noChangeArrowheads="1"/>
              </p:cNvSpPr>
              <p:nvPr/>
            </p:nvSpPr>
            <p:spPr bwMode="auto">
              <a:xfrm>
                <a:off x="-6303963" y="1479550"/>
                <a:ext cx="7143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7">
                <a:extLst>
                  <a:ext uri="{FF2B5EF4-FFF2-40B4-BE49-F238E27FC236}">
                    <a16:creationId xmlns:a16="http://schemas.microsoft.com/office/drawing/2014/main" id="{1E11B688-A24C-4AC9-9758-5B2920044BAF}"/>
                  </a:ext>
                </a:extLst>
              </p:cNvPr>
              <p:cNvSpPr>
                <a:spLocks noEditPoints="1"/>
              </p:cNvSpPr>
              <p:nvPr/>
            </p:nvSpPr>
            <p:spPr bwMode="auto">
              <a:xfrm>
                <a:off x="-7618413" y="517525"/>
                <a:ext cx="2444750" cy="2238375"/>
              </a:xfrm>
              <a:custGeom>
                <a:avLst/>
                <a:gdLst>
                  <a:gd name="T0" fmla="*/ 447 w 577"/>
                  <a:gd name="T1" fmla="*/ 122 h 526"/>
                  <a:gd name="T2" fmla="*/ 428 w 577"/>
                  <a:gd name="T3" fmla="*/ 100 h 526"/>
                  <a:gd name="T4" fmla="*/ 402 w 577"/>
                  <a:gd name="T5" fmla="*/ 69 h 526"/>
                  <a:gd name="T6" fmla="*/ 244 w 577"/>
                  <a:gd name="T7" fmla="*/ 0 h 526"/>
                  <a:gd name="T8" fmla="*/ 115 w 577"/>
                  <a:gd name="T9" fmla="*/ 107 h 526"/>
                  <a:gd name="T10" fmla="*/ 87 w 577"/>
                  <a:gd name="T11" fmla="*/ 174 h 526"/>
                  <a:gd name="T12" fmla="*/ 121 w 577"/>
                  <a:gd name="T13" fmla="*/ 417 h 526"/>
                  <a:gd name="T14" fmla="*/ 66 w 577"/>
                  <a:gd name="T15" fmla="*/ 502 h 526"/>
                  <a:gd name="T16" fmla="*/ 0 w 577"/>
                  <a:gd name="T17" fmla="*/ 514 h 526"/>
                  <a:gd name="T18" fmla="*/ 66 w 577"/>
                  <a:gd name="T19" fmla="*/ 526 h 526"/>
                  <a:gd name="T20" fmla="*/ 144 w 577"/>
                  <a:gd name="T21" fmla="*/ 420 h 526"/>
                  <a:gd name="T22" fmla="*/ 168 w 577"/>
                  <a:gd name="T23" fmla="*/ 438 h 526"/>
                  <a:gd name="T24" fmla="*/ 256 w 577"/>
                  <a:gd name="T25" fmla="*/ 420 h 526"/>
                  <a:gd name="T26" fmla="*/ 425 w 577"/>
                  <a:gd name="T27" fmla="*/ 438 h 526"/>
                  <a:gd name="T28" fmla="*/ 514 w 577"/>
                  <a:gd name="T29" fmla="*/ 420 h 526"/>
                  <a:gd name="T30" fmla="*/ 577 w 577"/>
                  <a:gd name="T31" fmla="*/ 369 h 526"/>
                  <a:gd name="T32" fmla="*/ 525 w 577"/>
                  <a:gd name="T33" fmla="*/ 122 h 526"/>
                  <a:gd name="T34" fmla="*/ 404 w 577"/>
                  <a:gd name="T35" fmla="*/ 95 h 526"/>
                  <a:gd name="T36" fmla="*/ 351 w 577"/>
                  <a:gd name="T37" fmla="*/ 100 h 526"/>
                  <a:gd name="T38" fmla="*/ 402 w 577"/>
                  <a:gd name="T39" fmla="*/ 93 h 526"/>
                  <a:gd name="T40" fmla="*/ 259 w 577"/>
                  <a:gd name="T41" fmla="*/ 100 h 526"/>
                  <a:gd name="T42" fmla="*/ 261 w 577"/>
                  <a:gd name="T43" fmla="*/ 93 h 526"/>
                  <a:gd name="T44" fmla="*/ 327 w 577"/>
                  <a:gd name="T45" fmla="*/ 100 h 526"/>
                  <a:gd name="T46" fmla="*/ 244 w 577"/>
                  <a:gd name="T47" fmla="*/ 24 h 526"/>
                  <a:gd name="T48" fmla="*/ 261 w 577"/>
                  <a:gd name="T49" fmla="*/ 69 h 526"/>
                  <a:gd name="T50" fmla="*/ 235 w 577"/>
                  <a:gd name="T51" fmla="*/ 100 h 526"/>
                  <a:gd name="T52" fmla="*/ 216 w 577"/>
                  <a:gd name="T53" fmla="*/ 122 h 526"/>
                  <a:gd name="T54" fmla="*/ 139 w 577"/>
                  <a:gd name="T55" fmla="*/ 107 h 526"/>
                  <a:gd name="T56" fmla="*/ 553 w 577"/>
                  <a:gd name="T57" fmla="*/ 369 h 526"/>
                  <a:gd name="T58" fmla="*/ 502 w 577"/>
                  <a:gd name="T59" fmla="*/ 397 h 526"/>
                  <a:gd name="T60" fmla="*/ 490 w 577"/>
                  <a:gd name="T61" fmla="*/ 414 h 526"/>
                  <a:gd name="T62" fmla="*/ 431 w 577"/>
                  <a:gd name="T63" fmla="*/ 409 h 526"/>
                  <a:gd name="T64" fmla="*/ 402 w 577"/>
                  <a:gd name="T65" fmla="*/ 397 h 526"/>
                  <a:gd name="T66" fmla="*/ 390 w 577"/>
                  <a:gd name="T67" fmla="*/ 348 h 526"/>
                  <a:gd name="T68" fmla="*/ 379 w 577"/>
                  <a:gd name="T69" fmla="*/ 397 h 526"/>
                  <a:gd name="T70" fmla="*/ 284 w 577"/>
                  <a:gd name="T71" fmla="*/ 360 h 526"/>
                  <a:gd name="T72" fmla="*/ 260 w 577"/>
                  <a:gd name="T73" fmla="*/ 360 h 526"/>
                  <a:gd name="T74" fmla="*/ 244 w 577"/>
                  <a:gd name="T75" fmla="*/ 397 h 526"/>
                  <a:gd name="T76" fmla="*/ 233 w 577"/>
                  <a:gd name="T77" fmla="*/ 414 h 526"/>
                  <a:gd name="T78" fmla="*/ 173 w 577"/>
                  <a:gd name="T79" fmla="*/ 409 h 526"/>
                  <a:gd name="T80" fmla="*/ 138 w 577"/>
                  <a:gd name="T81" fmla="*/ 397 h 526"/>
                  <a:gd name="T82" fmla="*/ 110 w 577"/>
                  <a:gd name="T83" fmla="*/ 174 h 526"/>
                  <a:gd name="T84" fmla="*/ 192 w 577"/>
                  <a:gd name="T85" fmla="*/ 146 h 526"/>
                  <a:gd name="T86" fmla="*/ 192 w 577"/>
                  <a:gd name="T87" fmla="*/ 282 h 526"/>
                  <a:gd name="T88" fmla="*/ 216 w 577"/>
                  <a:gd name="T89" fmla="*/ 282 h 526"/>
                  <a:gd name="T90" fmla="*/ 216 w 577"/>
                  <a:gd name="T91" fmla="*/ 146 h 526"/>
                  <a:gd name="T92" fmla="*/ 248 w 577"/>
                  <a:gd name="T93" fmla="*/ 124 h 526"/>
                  <a:gd name="T94" fmla="*/ 327 w 577"/>
                  <a:gd name="T95" fmla="*/ 154 h 526"/>
                  <a:gd name="T96" fmla="*/ 307 w 577"/>
                  <a:gd name="T97" fmla="*/ 166 h 526"/>
                  <a:gd name="T98" fmla="*/ 319 w 577"/>
                  <a:gd name="T99" fmla="*/ 215 h 526"/>
                  <a:gd name="T100" fmla="*/ 376 w 577"/>
                  <a:gd name="T101" fmla="*/ 203 h 526"/>
                  <a:gd name="T102" fmla="*/ 364 w 577"/>
                  <a:gd name="T103" fmla="*/ 154 h 526"/>
                  <a:gd name="T104" fmla="*/ 351 w 577"/>
                  <a:gd name="T105" fmla="*/ 124 h 526"/>
                  <a:gd name="T106" fmla="*/ 447 w 577"/>
                  <a:gd name="T107" fmla="*/ 146 h 526"/>
                  <a:gd name="T108" fmla="*/ 454 w 577"/>
                  <a:gd name="T109" fmla="*/ 147 h 526"/>
                  <a:gd name="T110" fmla="*/ 466 w 577"/>
                  <a:gd name="T111" fmla="*/ 294 h 526"/>
                  <a:gd name="T112" fmla="*/ 478 w 577"/>
                  <a:gd name="T113" fmla="*/ 147 h 526"/>
                  <a:gd name="T114" fmla="*/ 525 w 577"/>
                  <a:gd name="T115" fmla="*/ 146 h 526"/>
                  <a:gd name="T116" fmla="*/ 553 w 577"/>
                  <a:gd name="T117" fmla="*/ 369 h 526"/>
                  <a:gd name="T118" fmla="*/ 353 w 577"/>
                  <a:gd name="T119" fmla="*/ 178 h 526"/>
                  <a:gd name="T120" fmla="*/ 331 w 577"/>
                  <a:gd name="T121" fmla="*/ 19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7" h="526">
                    <a:moveTo>
                      <a:pt x="525" y="122"/>
                    </a:moveTo>
                    <a:cubicBezTo>
                      <a:pt x="447" y="122"/>
                      <a:pt x="447" y="122"/>
                      <a:pt x="447" y="122"/>
                    </a:cubicBezTo>
                    <a:cubicBezTo>
                      <a:pt x="441" y="122"/>
                      <a:pt x="436" y="117"/>
                      <a:pt x="436" y="112"/>
                    </a:cubicBezTo>
                    <a:cubicBezTo>
                      <a:pt x="436" y="106"/>
                      <a:pt x="433" y="102"/>
                      <a:pt x="428" y="100"/>
                    </a:cubicBezTo>
                    <a:cubicBezTo>
                      <a:pt x="428" y="95"/>
                      <a:pt x="428" y="95"/>
                      <a:pt x="428" y="95"/>
                    </a:cubicBezTo>
                    <a:cubicBezTo>
                      <a:pt x="428" y="81"/>
                      <a:pt x="416" y="69"/>
                      <a:pt x="402" y="69"/>
                    </a:cubicBezTo>
                    <a:cubicBezTo>
                      <a:pt x="344" y="69"/>
                      <a:pt x="344" y="69"/>
                      <a:pt x="344" y="69"/>
                    </a:cubicBezTo>
                    <a:cubicBezTo>
                      <a:pt x="329" y="29"/>
                      <a:pt x="290" y="0"/>
                      <a:pt x="244" y="0"/>
                    </a:cubicBezTo>
                    <a:cubicBezTo>
                      <a:pt x="221" y="0"/>
                      <a:pt x="221" y="0"/>
                      <a:pt x="221" y="0"/>
                    </a:cubicBezTo>
                    <a:cubicBezTo>
                      <a:pt x="163" y="0"/>
                      <a:pt x="115" y="48"/>
                      <a:pt x="115" y="107"/>
                    </a:cubicBezTo>
                    <a:cubicBezTo>
                      <a:pt x="115" y="128"/>
                      <a:pt x="115" y="128"/>
                      <a:pt x="115" y="128"/>
                    </a:cubicBezTo>
                    <a:cubicBezTo>
                      <a:pt x="98" y="136"/>
                      <a:pt x="87" y="154"/>
                      <a:pt x="87" y="174"/>
                    </a:cubicBezTo>
                    <a:cubicBezTo>
                      <a:pt x="87" y="369"/>
                      <a:pt x="87" y="369"/>
                      <a:pt x="87" y="369"/>
                    </a:cubicBezTo>
                    <a:cubicBezTo>
                      <a:pt x="87" y="391"/>
                      <a:pt x="101" y="410"/>
                      <a:pt x="121" y="417"/>
                    </a:cubicBezTo>
                    <a:cubicBezTo>
                      <a:pt x="121" y="438"/>
                      <a:pt x="121" y="438"/>
                      <a:pt x="121" y="438"/>
                    </a:cubicBezTo>
                    <a:cubicBezTo>
                      <a:pt x="121" y="474"/>
                      <a:pt x="96" y="502"/>
                      <a:pt x="66" y="502"/>
                    </a:cubicBezTo>
                    <a:cubicBezTo>
                      <a:pt x="12" y="502"/>
                      <a:pt x="12" y="502"/>
                      <a:pt x="12" y="502"/>
                    </a:cubicBezTo>
                    <a:cubicBezTo>
                      <a:pt x="5" y="502"/>
                      <a:pt x="0" y="508"/>
                      <a:pt x="0" y="514"/>
                    </a:cubicBezTo>
                    <a:cubicBezTo>
                      <a:pt x="0" y="521"/>
                      <a:pt x="5" y="526"/>
                      <a:pt x="12" y="526"/>
                    </a:cubicBezTo>
                    <a:cubicBezTo>
                      <a:pt x="66" y="526"/>
                      <a:pt x="66" y="526"/>
                      <a:pt x="66" y="526"/>
                    </a:cubicBezTo>
                    <a:cubicBezTo>
                      <a:pt x="109" y="526"/>
                      <a:pt x="144" y="487"/>
                      <a:pt x="144" y="438"/>
                    </a:cubicBezTo>
                    <a:cubicBezTo>
                      <a:pt x="144" y="420"/>
                      <a:pt x="144" y="420"/>
                      <a:pt x="144" y="420"/>
                    </a:cubicBezTo>
                    <a:cubicBezTo>
                      <a:pt x="150" y="420"/>
                      <a:pt x="150" y="420"/>
                      <a:pt x="150" y="420"/>
                    </a:cubicBezTo>
                    <a:cubicBezTo>
                      <a:pt x="150" y="430"/>
                      <a:pt x="158" y="438"/>
                      <a:pt x="168" y="438"/>
                    </a:cubicBezTo>
                    <a:cubicBezTo>
                      <a:pt x="238" y="438"/>
                      <a:pt x="238" y="438"/>
                      <a:pt x="238" y="438"/>
                    </a:cubicBezTo>
                    <a:cubicBezTo>
                      <a:pt x="248" y="438"/>
                      <a:pt x="256" y="430"/>
                      <a:pt x="256" y="420"/>
                    </a:cubicBezTo>
                    <a:cubicBezTo>
                      <a:pt x="407" y="420"/>
                      <a:pt x="407" y="420"/>
                      <a:pt x="407" y="420"/>
                    </a:cubicBezTo>
                    <a:cubicBezTo>
                      <a:pt x="407" y="430"/>
                      <a:pt x="415" y="438"/>
                      <a:pt x="425" y="438"/>
                    </a:cubicBezTo>
                    <a:cubicBezTo>
                      <a:pt x="495" y="438"/>
                      <a:pt x="495" y="438"/>
                      <a:pt x="495" y="438"/>
                    </a:cubicBezTo>
                    <a:cubicBezTo>
                      <a:pt x="505" y="438"/>
                      <a:pt x="513" y="430"/>
                      <a:pt x="514" y="420"/>
                    </a:cubicBezTo>
                    <a:cubicBezTo>
                      <a:pt x="525" y="420"/>
                      <a:pt x="525" y="420"/>
                      <a:pt x="525" y="420"/>
                    </a:cubicBezTo>
                    <a:cubicBezTo>
                      <a:pt x="554" y="420"/>
                      <a:pt x="577" y="397"/>
                      <a:pt x="577" y="369"/>
                    </a:cubicBezTo>
                    <a:cubicBezTo>
                      <a:pt x="577" y="174"/>
                      <a:pt x="577" y="174"/>
                      <a:pt x="577" y="174"/>
                    </a:cubicBezTo>
                    <a:cubicBezTo>
                      <a:pt x="577" y="145"/>
                      <a:pt x="554" y="122"/>
                      <a:pt x="525" y="122"/>
                    </a:cubicBezTo>
                    <a:close/>
                    <a:moveTo>
                      <a:pt x="402" y="93"/>
                    </a:moveTo>
                    <a:cubicBezTo>
                      <a:pt x="403" y="93"/>
                      <a:pt x="404" y="94"/>
                      <a:pt x="404" y="95"/>
                    </a:cubicBezTo>
                    <a:cubicBezTo>
                      <a:pt x="404" y="100"/>
                      <a:pt x="404" y="100"/>
                      <a:pt x="404" y="100"/>
                    </a:cubicBezTo>
                    <a:cubicBezTo>
                      <a:pt x="351" y="100"/>
                      <a:pt x="351" y="100"/>
                      <a:pt x="351" y="100"/>
                    </a:cubicBezTo>
                    <a:cubicBezTo>
                      <a:pt x="350" y="97"/>
                      <a:pt x="350" y="95"/>
                      <a:pt x="350" y="93"/>
                    </a:cubicBezTo>
                    <a:lnTo>
                      <a:pt x="402" y="93"/>
                    </a:lnTo>
                    <a:close/>
                    <a:moveTo>
                      <a:pt x="327" y="100"/>
                    </a:moveTo>
                    <a:cubicBezTo>
                      <a:pt x="259" y="100"/>
                      <a:pt x="259" y="100"/>
                      <a:pt x="259" y="100"/>
                    </a:cubicBezTo>
                    <a:cubicBezTo>
                      <a:pt x="259" y="95"/>
                      <a:pt x="259" y="95"/>
                      <a:pt x="259" y="95"/>
                    </a:cubicBezTo>
                    <a:cubicBezTo>
                      <a:pt x="259" y="94"/>
                      <a:pt x="260" y="93"/>
                      <a:pt x="261" y="93"/>
                    </a:cubicBezTo>
                    <a:cubicBezTo>
                      <a:pt x="326" y="93"/>
                      <a:pt x="326" y="93"/>
                      <a:pt x="326" y="93"/>
                    </a:cubicBezTo>
                    <a:cubicBezTo>
                      <a:pt x="326" y="95"/>
                      <a:pt x="327" y="97"/>
                      <a:pt x="327" y="100"/>
                    </a:cubicBezTo>
                    <a:close/>
                    <a:moveTo>
                      <a:pt x="221" y="24"/>
                    </a:moveTo>
                    <a:cubicBezTo>
                      <a:pt x="244" y="24"/>
                      <a:pt x="244" y="24"/>
                      <a:pt x="244" y="24"/>
                    </a:cubicBezTo>
                    <a:cubicBezTo>
                      <a:pt x="277" y="24"/>
                      <a:pt x="305" y="42"/>
                      <a:pt x="318" y="69"/>
                    </a:cubicBezTo>
                    <a:cubicBezTo>
                      <a:pt x="261" y="69"/>
                      <a:pt x="261" y="69"/>
                      <a:pt x="261" y="69"/>
                    </a:cubicBezTo>
                    <a:cubicBezTo>
                      <a:pt x="247" y="69"/>
                      <a:pt x="235" y="81"/>
                      <a:pt x="235" y="95"/>
                    </a:cubicBezTo>
                    <a:cubicBezTo>
                      <a:pt x="235" y="100"/>
                      <a:pt x="235" y="100"/>
                      <a:pt x="235" y="100"/>
                    </a:cubicBezTo>
                    <a:cubicBezTo>
                      <a:pt x="230" y="102"/>
                      <a:pt x="227" y="106"/>
                      <a:pt x="227" y="112"/>
                    </a:cubicBezTo>
                    <a:cubicBezTo>
                      <a:pt x="227" y="117"/>
                      <a:pt x="222" y="122"/>
                      <a:pt x="216" y="122"/>
                    </a:cubicBezTo>
                    <a:cubicBezTo>
                      <a:pt x="139" y="122"/>
                      <a:pt x="139" y="122"/>
                      <a:pt x="139" y="122"/>
                    </a:cubicBezTo>
                    <a:cubicBezTo>
                      <a:pt x="139" y="107"/>
                      <a:pt x="139" y="107"/>
                      <a:pt x="139" y="107"/>
                    </a:cubicBezTo>
                    <a:cubicBezTo>
                      <a:pt x="139" y="61"/>
                      <a:pt x="176" y="24"/>
                      <a:pt x="221" y="24"/>
                    </a:cubicBezTo>
                    <a:close/>
                    <a:moveTo>
                      <a:pt x="553" y="369"/>
                    </a:moveTo>
                    <a:cubicBezTo>
                      <a:pt x="553" y="384"/>
                      <a:pt x="540" y="397"/>
                      <a:pt x="525" y="397"/>
                    </a:cubicBezTo>
                    <a:cubicBezTo>
                      <a:pt x="502" y="397"/>
                      <a:pt x="502" y="397"/>
                      <a:pt x="502" y="397"/>
                    </a:cubicBezTo>
                    <a:cubicBezTo>
                      <a:pt x="495" y="397"/>
                      <a:pt x="490" y="402"/>
                      <a:pt x="490" y="409"/>
                    </a:cubicBezTo>
                    <a:cubicBezTo>
                      <a:pt x="490" y="414"/>
                      <a:pt x="490" y="414"/>
                      <a:pt x="490" y="414"/>
                    </a:cubicBezTo>
                    <a:cubicBezTo>
                      <a:pt x="431" y="414"/>
                      <a:pt x="431" y="414"/>
                      <a:pt x="431" y="414"/>
                    </a:cubicBezTo>
                    <a:cubicBezTo>
                      <a:pt x="431" y="409"/>
                      <a:pt x="431" y="409"/>
                      <a:pt x="431" y="409"/>
                    </a:cubicBezTo>
                    <a:cubicBezTo>
                      <a:pt x="431" y="402"/>
                      <a:pt x="425" y="397"/>
                      <a:pt x="419" y="397"/>
                    </a:cubicBezTo>
                    <a:cubicBezTo>
                      <a:pt x="402" y="397"/>
                      <a:pt x="402" y="397"/>
                      <a:pt x="402" y="397"/>
                    </a:cubicBezTo>
                    <a:cubicBezTo>
                      <a:pt x="402" y="360"/>
                      <a:pt x="402" y="360"/>
                      <a:pt x="402" y="360"/>
                    </a:cubicBezTo>
                    <a:cubicBezTo>
                      <a:pt x="402" y="353"/>
                      <a:pt x="397" y="348"/>
                      <a:pt x="390" y="348"/>
                    </a:cubicBezTo>
                    <a:cubicBezTo>
                      <a:pt x="384" y="348"/>
                      <a:pt x="379" y="353"/>
                      <a:pt x="379" y="360"/>
                    </a:cubicBezTo>
                    <a:cubicBezTo>
                      <a:pt x="379" y="397"/>
                      <a:pt x="379" y="397"/>
                      <a:pt x="379" y="397"/>
                    </a:cubicBezTo>
                    <a:cubicBezTo>
                      <a:pt x="284" y="397"/>
                      <a:pt x="284" y="397"/>
                      <a:pt x="284" y="397"/>
                    </a:cubicBezTo>
                    <a:cubicBezTo>
                      <a:pt x="284" y="360"/>
                      <a:pt x="284" y="360"/>
                      <a:pt x="284" y="360"/>
                    </a:cubicBezTo>
                    <a:cubicBezTo>
                      <a:pt x="284" y="353"/>
                      <a:pt x="279" y="348"/>
                      <a:pt x="272" y="348"/>
                    </a:cubicBezTo>
                    <a:cubicBezTo>
                      <a:pt x="265" y="348"/>
                      <a:pt x="260" y="353"/>
                      <a:pt x="260" y="360"/>
                    </a:cubicBezTo>
                    <a:cubicBezTo>
                      <a:pt x="260" y="397"/>
                      <a:pt x="260" y="397"/>
                      <a:pt x="260" y="397"/>
                    </a:cubicBezTo>
                    <a:cubicBezTo>
                      <a:pt x="244" y="397"/>
                      <a:pt x="244" y="397"/>
                      <a:pt x="244" y="397"/>
                    </a:cubicBezTo>
                    <a:cubicBezTo>
                      <a:pt x="238" y="397"/>
                      <a:pt x="233" y="402"/>
                      <a:pt x="233" y="409"/>
                    </a:cubicBezTo>
                    <a:cubicBezTo>
                      <a:pt x="233" y="414"/>
                      <a:pt x="233" y="414"/>
                      <a:pt x="233" y="414"/>
                    </a:cubicBezTo>
                    <a:cubicBezTo>
                      <a:pt x="173" y="414"/>
                      <a:pt x="173" y="414"/>
                      <a:pt x="173" y="414"/>
                    </a:cubicBezTo>
                    <a:cubicBezTo>
                      <a:pt x="173" y="409"/>
                      <a:pt x="173" y="409"/>
                      <a:pt x="173" y="409"/>
                    </a:cubicBezTo>
                    <a:cubicBezTo>
                      <a:pt x="173" y="402"/>
                      <a:pt x="168" y="397"/>
                      <a:pt x="161" y="397"/>
                    </a:cubicBezTo>
                    <a:cubicBezTo>
                      <a:pt x="138" y="397"/>
                      <a:pt x="138" y="397"/>
                      <a:pt x="138" y="397"/>
                    </a:cubicBezTo>
                    <a:cubicBezTo>
                      <a:pt x="123" y="397"/>
                      <a:pt x="110" y="384"/>
                      <a:pt x="110" y="369"/>
                    </a:cubicBezTo>
                    <a:cubicBezTo>
                      <a:pt x="110" y="174"/>
                      <a:pt x="110" y="174"/>
                      <a:pt x="110" y="174"/>
                    </a:cubicBezTo>
                    <a:cubicBezTo>
                      <a:pt x="110" y="158"/>
                      <a:pt x="123" y="146"/>
                      <a:pt x="138" y="146"/>
                    </a:cubicBezTo>
                    <a:cubicBezTo>
                      <a:pt x="192" y="146"/>
                      <a:pt x="192" y="146"/>
                      <a:pt x="192" y="146"/>
                    </a:cubicBezTo>
                    <a:cubicBezTo>
                      <a:pt x="192" y="146"/>
                      <a:pt x="192" y="146"/>
                      <a:pt x="192" y="147"/>
                    </a:cubicBezTo>
                    <a:cubicBezTo>
                      <a:pt x="192" y="282"/>
                      <a:pt x="192" y="282"/>
                      <a:pt x="192" y="282"/>
                    </a:cubicBezTo>
                    <a:cubicBezTo>
                      <a:pt x="192" y="289"/>
                      <a:pt x="197" y="294"/>
                      <a:pt x="204" y="294"/>
                    </a:cubicBezTo>
                    <a:cubicBezTo>
                      <a:pt x="210" y="294"/>
                      <a:pt x="216" y="289"/>
                      <a:pt x="216" y="282"/>
                    </a:cubicBezTo>
                    <a:cubicBezTo>
                      <a:pt x="216" y="147"/>
                      <a:pt x="216" y="147"/>
                      <a:pt x="216" y="147"/>
                    </a:cubicBezTo>
                    <a:cubicBezTo>
                      <a:pt x="216" y="146"/>
                      <a:pt x="216" y="146"/>
                      <a:pt x="216" y="146"/>
                    </a:cubicBezTo>
                    <a:cubicBezTo>
                      <a:pt x="216" y="146"/>
                      <a:pt x="216" y="146"/>
                      <a:pt x="216" y="146"/>
                    </a:cubicBezTo>
                    <a:cubicBezTo>
                      <a:pt x="231" y="146"/>
                      <a:pt x="243" y="136"/>
                      <a:pt x="248" y="124"/>
                    </a:cubicBezTo>
                    <a:cubicBezTo>
                      <a:pt x="327" y="124"/>
                      <a:pt x="327" y="124"/>
                      <a:pt x="327" y="124"/>
                    </a:cubicBezTo>
                    <a:cubicBezTo>
                      <a:pt x="327" y="154"/>
                      <a:pt x="327" y="154"/>
                      <a:pt x="327" y="154"/>
                    </a:cubicBezTo>
                    <a:cubicBezTo>
                      <a:pt x="319" y="154"/>
                      <a:pt x="319" y="154"/>
                      <a:pt x="319" y="154"/>
                    </a:cubicBezTo>
                    <a:cubicBezTo>
                      <a:pt x="313" y="154"/>
                      <a:pt x="307" y="160"/>
                      <a:pt x="307" y="166"/>
                    </a:cubicBezTo>
                    <a:cubicBezTo>
                      <a:pt x="307" y="203"/>
                      <a:pt x="307" y="203"/>
                      <a:pt x="307" y="203"/>
                    </a:cubicBezTo>
                    <a:cubicBezTo>
                      <a:pt x="307" y="210"/>
                      <a:pt x="313" y="215"/>
                      <a:pt x="319" y="215"/>
                    </a:cubicBezTo>
                    <a:cubicBezTo>
                      <a:pt x="364" y="215"/>
                      <a:pt x="364" y="215"/>
                      <a:pt x="364" y="215"/>
                    </a:cubicBezTo>
                    <a:cubicBezTo>
                      <a:pt x="371" y="215"/>
                      <a:pt x="376" y="210"/>
                      <a:pt x="376" y="203"/>
                    </a:cubicBezTo>
                    <a:cubicBezTo>
                      <a:pt x="376" y="166"/>
                      <a:pt x="376" y="166"/>
                      <a:pt x="376" y="166"/>
                    </a:cubicBezTo>
                    <a:cubicBezTo>
                      <a:pt x="376" y="160"/>
                      <a:pt x="371" y="154"/>
                      <a:pt x="364" y="154"/>
                    </a:cubicBezTo>
                    <a:cubicBezTo>
                      <a:pt x="351" y="154"/>
                      <a:pt x="351" y="154"/>
                      <a:pt x="351" y="154"/>
                    </a:cubicBezTo>
                    <a:cubicBezTo>
                      <a:pt x="351" y="124"/>
                      <a:pt x="351" y="124"/>
                      <a:pt x="351" y="124"/>
                    </a:cubicBezTo>
                    <a:cubicBezTo>
                      <a:pt x="415" y="124"/>
                      <a:pt x="415" y="124"/>
                      <a:pt x="415" y="124"/>
                    </a:cubicBezTo>
                    <a:cubicBezTo>
                      <a:pt x="420" y="136"/>
                      <a:pt x="432" y="146"/>
                      <a:pt x="447" y="146"/>
                    </a:cubicBezTo>
                    <a:cubicBezTo>
                      <a:pt x="454" y="146"/>
                      <a:pt x="454" y="146"/>
                      <a:pt x="454" y="146"/>
                    </a:cubicBezTo>
                    <a:cubicBezTo>
                      <a:pt x="454" y="146"/>
                      <a:pt x="454" y="146"/>
                      <a:pt x="454" y="147"/>
                    </a:cubicBezTo>
                    <a:cubicBezTo>
                      <a:pt x="454" y="282"/>
                      <a:pt x="454" y="282"/>
                      <a:pt x="454" y="282"/>
                    </a:cubicBezTo>
                    <a:cubicBezTo>
                      <a:pt x="454" y="289"/>
                      <a:pt x="459" y="294"/>
                      <a:pt x="466" y="294"/>
                    </a:cubicBezTo>
                    <a:cubicBezTo>
                      <a:pt x="472" y="294"/>
                      <a:pt x="478" y="289"/>
                      <a:pt x="478" y="282"/>
                    </a:cubicBezTo>
                    <a:cubicBezTo>
                      <a:pt x="478" y="147"/>
                      <a:pt x="478" y="147"/>
                      <a:pt x="478" y="147"/>
                    </a:cubicBezTo>
                    <a:cubicBezTo>
                      <a:pt x="478" y="146"/>
                      <a:pt x="477" y="146"/>
                      <a:pt x="477" y="146"/>
                    </a:cubicBezTo>
                    <a:cubicBezTo>
                      <a:pt x="525" y="146"/>
                      <a:pt x="525" y="146"/>
                      <a:pt x="525" y="146"/>
                    </a:cubicBezTo>
                    <a:cubicBezTo>
                      <a:pt x="540" y="146"/>
                      <a:pt x="553" y="158"/>
                      <a:pt x="553" y="174"/>
                    </a:cubicBezTo>
                    <a:lnTo>
                      <a:pt x="553" y="369"/>
                    </a:lnTo>
                    <a:close/>
                    <a:moveTo>
                      <a:pt x="331" y="178"/>
                    </a:moveTo>
                    <a:cubicBezTo>
                      <a:pt x="353" y="178"/>
                      <a:pt x="353" y="178"/>
                      <a:pt x="353" y="178"/>
                    </a:cubicBezTo>
                    <a:cubicBezTo>
                      <a:pt x="353" y="192"/>
                      <a:pt x="353" y="192"/>
                      <a:pt x="353" y="192"/>
                    </a:cubicBezTo>
                    <a:cubicBezTo>
                      <a:pt x="331" y="192"/>
                      <a:pt x="331" y="192"/>
                      <a:pt x="331" y="192"/>
                    </a:cubicBezTo>
                    <a:lnTo>
                      <a:pt x="331"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8">
                <a:extLst>
                  <a:ext uri="{FF2B5EF4-FFF2-40B4-BE49-F238E27FC236}">
                    <a16:creationId xmlns:a16="http://schemas.microsoft.com/office/drawing/2014/main" id="{1C170BED-5016-4792-B495-E036AFD20DE9}"/>
                  </a:ext>
                </a:extLst>
              </p:cNvPr>
              <p:cNvSpPr>
                <a:spLocks/>
              </p:cNvSpPr>
              <p:nvPr/>
            </p:nvSpPr>
            <p:spPr bwMode="auto">
              <a:xfrm>
                <a:off x="-5694363" y="1833563"/>
                <a:ext cx="101600" cy="215900"/>
              </a:xfrm>
              <a:custGeom>
                <a:avLst/>
                <a:gdLst>
                  <a:gd name="T0" fmla="*/ 12 w 24"/>
                  <a:gd name="T1" fmla="*/ 0 h 51"/>
                  <a:gd name="T2" fmla="*/ 0 w 24"/>
                  <a:gd name="T3" fmla="*/ 11 h 51"/>
                  <a:gd name="T4" fmla="*/ 0 w 24"/>
                  <a:gd name="T5" fmla="*/ 39 h 51"/>
                  <a:gd name="T6" fmla="*/ 12 w 24"/>
                  <a:gd name="T7" fmla="*/ 51 h 51"/>
                  <a:gd name="T8" fmla="*/ 24 w 24"/>
                  <a:gd name="T9" fmla="*/ 39 h 51"/>
                  <a:gd name="T10" fmla="*/ 24 w 24"/>
                  <a:gd name="T11" fmla="*/ 11 h 51"/>
                  <a:gd name="T12" fmla="*/ 12 w 24"/>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4" h="51">
                    <a:moveTo>
                      <a:pt x="12" y="0"/>
                    </a:moveTo>
                    <a:cubicBezTo>
                      <a:pt x="5" y="0"/>
                      <a:pt x="0" y="5"/>
                      <a:pt x="0" y="11"/>
                    </a:cubicBezTo>
                    <a:cubicBezTo>
                      <a:pt x="0" y="39"/>
                      <a:pt x="0" y="39"/>
                      <a:pt x="0" y="39"/>
                    </a:cubicBezTo>
                    <a:cubicBezTo>
                      <a:pt x="0" y="46"/>
                      <a:pt x="5" y="51"/>
                      <a:pt x="12" y="51"/>
                    </a:cubicBezTo>
                    <a:cubicBezTo>
                      <a:pt x="18" y="51"/>
                      <a:pt x="24" y="46"/>
                      <a:pt x="24" y="39"/>
                    </a:cubicBezTo>
                    <a:cubicBezTo>
                      <a:pt x="24" y="11"/>
                      <a:pt x="24" y="11"/>
                      <a:pt x="24" y="11"/>
                    </a:cubicBezTo>
                    <a:cubicBezTo>
                      <a:pt x="24" y="5"/>
                      <a:pt x="18"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9">
                <a:extLst>
                  <a:ext uri="{FF2B5EF4-FFF2-40B4-BE49-F238E27FC236}">
                    <a16:creationId xmlns:a16="http://schemas.microsoft.com/office/drawing/2014/main" id="{4E5300E0-9F0E-4898-856A-7E5AE611BD6D}"/>
                  </a:ext>
                </a:extLst>
              </p:cNvPr>
              <p:cNvSpPr>
                <a:spLocks/>
              </p:cNvSpPr>
              <p:nvPr/>
            </p:nvSpPr>
            <p:spPr bwMode="auto">
              <a:xfrm>
                <a:off x="-6804025" y="1833563"/>
                <a:ext cx="101600" cy="215900"/>
              </a:xfrm>
              <a:custGeom>
                <a:avLst/>
                <a:gdLst>
                  <a:gd name="T0" fmla="*/ 12 w 24"/>
                  <a:gd name="T1" fmla="*/ 0 h 51"/>
                  <a:gd name="T2" fmla="*/ 0 w 24"/>
                  <a:gd name="T3" fmla="*/ 11 h 51"/>
                  <a:gd name="T4" fmla="*/ 0 w 24"/>
                  <a:gd name="T5" fmla="*/ 39 h 51"/>
                  <a:gd name="T6" fmla="*/ 12 w 24"/>
                  <a:gd name="T7" fmla="*/ 51 h 51"/>
                  <a:gd name="T8" fmla="*/ 24 w 24"/>
                  <a:gd name="T9" fmla="*/ 39 h 51"/>
                  <a:gd name="T10" fmla="*/ 24 w 24"/>
                  <a:gd name="T11" fmla="*/ 11 h 51"/>
                  <a:gd name="T12" fmla="*/ 12 w 24"/>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4" h="51">
                    <a:moveTo>
                      <a:pt x="12" y="0"/>
                    </a:moveTo>
                    <a:cubicBezTo>
                      <a:pt x="5" y="0"/>
                      <a:pt x="0" y="5"/>
                      <a:pt x="0" y="11"/>
                    </a:cubicBezTo>
                    <a:cubicBezTo>
                      <a:pt x="0" y="39"/>
                      <a:pt x="0" y="39"/>
                      <a:pt x="0" y="39"/>
                    </a:cubicBezTo>
                    <a:cubicBezTo>
                      <a:pt x="0" y="46"/>
                      <a:pt x="5" y="51"/>
                      <a:pt x="12" y="51"/>
                    </a:cubicBezTo>
                    <a:cubicBezTo>
                      <a:pt x="18" y="51"/>
                      <a:pt x="24" y="46"/>
                      <a:pt x="24" y="39"/>
                    </a:cubicBezTo>
                    <a:cubicBezTo>
                      <a:pt x="24" y="11"/>
                      <a:pt x="24" y="11"/>
                      <a:pt x="24" y="11"/>
                    </a:cubicBezTo>
                    <a:cubicBezTo>
                      <a:pt x="24" y="5"/>
                      <a:pt x="18"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a:extLst>
              <a:ext uri="{FF2B5EF4-FFF2-40B4-BE49-F238E27FC236}">
                <a16:creationId xmlns:a16="http://schemas.microsoft.com/office/drawing/2014/main" id="{B0883F0E-A80C-4019-B1B2-0C5BC31DC10B}"/>
              </a:ext>
            </a:extLst>
          </p:cNvPr>
          <p:cNvGrpSpPr/>
          <p:nvPr/>
        </p:nvGrpSpPr>
        <p:grpSpPr>
          <a:xfrm>
            <a:off x="6384129" y="1316736"/>
            <a:ext cx="2081774" cy="2416199"/>
            <a:chOff x="9117672" y="1316736"/>
            <a:chExt cx="2081774" cy="2416199"/>
          </a:xfrm>
        </p:grpSpPr>
        <p:sp>
          <p:nvSpPr>
            <p:cNvPr id="19" name="Oval 18">
              <a:extLst>
                <a:ext uri="{FF2B5EF4-FFF2-40B4-BE49-F238E27FC236}">
                  <a16:creationId xmlns:a16="http://schemas.microsoft.com/office/drawing/2014/main" id="{AEF9590E-BA14-3D48-951A-A5E2A98FBB98}"/>
                </a:ext>
              </a:extLst>
            </p:cNvPr>
            <p:cNvSpPr/>
            <p:nvPr/>
          </p:nvSpPr>
          <p:spPr>
            <a:xfrm>
              <a:off x="9117672" y="1316736"/>
              <a:ext cx="2081774" cy="2416199"/>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17" name="Group 116">
              <a:extLst>
                <a:ext uri="{FF2B5EF4-FFF2-40B4-BE49-F238E27FC236}">
                  <a16:creationId xmlns:a16="http://schemas.microsoft.com/office/drawing/2014/main" id="{D48DA437-6D46-49D5-BD52-EDA2A9A8A7BE}"/>
                </a:ext>
              </a:extLst>
            </p:cNvPr>
            <p:cNvGrpSpPr/>
            <p:nvPr/>
          </p:nvGrpSpPr>
          <p:grpSpPr>
            <a:xfrm>
              <a:off x="9773839" y="1471614"/>
              <a:ext cx="769441" cy="770216"/>
              <a:chOff x="-3875088" y="841375"/>
              <a:chExt cx="3149600" cy="3152775"/>
            </a:xfrm>
            <a:solidFill>
              <a:schemeClr val="accent6"/>
            </a:solidFill>
          </p:grpSpPr>
          <p:sp>
            <p:nvSpPr>
              <p:cNvPr id="118" name="Freeform 47">
                <a:extLst>
                  <a:ext uri="{FF2B5EF4-FFF2-40B4-BE49-F238E27FC236}">
                    <a16:creationId xmlns:a16="http://schemas.microsoft.com/office/drawing/2014/main" id="{C8289EBC-A322-4426-80E6-34405A445827}"/>
                  </a:ext>
                </a:extLst>
              </p:cNvPr>
              <p:cNvSpPr>
                <a:spLocks noEditPoints="1"/>
              </p:cNvSpPr>
              <p:nvPr/>
            </p:nvSpPr>
            <p:spPr bwMode="auto">
              <a:xfrm>
                <a:off x="-3875088" y="841375"/>
                <a:ext cx="3149600" cy="3152775"/>
              </a:xfrm>
              <a:custGeom>
                <a:avLst/>
                <a:gdLst>
                  <a:gd name="T0" fmla="*/ 610 w 1220"/>
                  <a:gd name="T1" fmla="*/ 0 h 1220"/>
                  <a:gd name="T2" fmla="*/ 182 w 1220"/>
                  <a:gd name="T3" fmla="*/ 176 h 1220"/>
                  <a:gd name="T4" fmla="*/ 179 w 1220"/>
                  <a:gd name="T5" fmla="*/ 179 h 1220"/>
                  <a:gd name="T6" fmla="*/ 176 w 1220"/>
                  <a:gd name="T7" fmla="*/ 181 h 1220"/>
                  <a:gd name="T8" fmla="*/ 0 w 1220"/>
                  <a:gd name="T9" fmla="*/ 610 h 1220"/>
                  <a:gd name="T10" fmla="*/ 610 w 1220"/>
                  <a:gd name="T11" fmla="*/ 1220 h 1220"/>
                  <a:gd name="T12" fmla="*/ 1038 w 1220"/>
                  <a:gd name="T13" fmla="*/ 1043 h 1220"/>
                  <a:gd name="T14" fmla="*/ 1041 w 1220"/>
                  <a:gd name="T15" fmla="*/ 1041 h 1220"/>
                  <a:gd name="T16" fmla="*/ 1043 w 1220"/>
                  <a:gd name="T17" fmla="*/ 1038 h 1220"/>
                  <a:gd name="T18" fmla="*/ 1220 w 1220"/>
                  <a:gd name="T19" fmla="*/ 610 h 1220"/>
                  <a:gd name="T20" fmla="*/ 610 w 1220"/>
                  <a:gd name="T21" fmla="*/ 0 h 1220"/>
                  <a:gd name="T22" fmla="*/ 610 w 1220"/>
                  <a:gd name="T23" fmla="*/ 1152 h 1220"/>
                  <a:gd name="T24" fmla="*/ 68 w 1220"/>
                  <a:gd name="T25" fmla="*/ 610 h 1220"/>
                  <a:gd name="T26" fmla="*/ 204 w 1220"/>
                  <a:gd name="T27" fmla="*/ 251 h 1220"/>
                  <a:gd name="T28" fmla="*/ 635 w 1220"/>
                  <a:gd name="T29" fmla="*/ 683 h 1220"/>
                  <a:gd name="T30" fmla="*/ 395 w 1220"/>
                  <a:gd name="T31" fmla="*/ 806 h 1220"/>
                  <a:gd name="T32" fmla="*/ 290 w 1220"/>
                  <a:gd name="T33" fmla="*/ 787 h 1220"/>
                  <a:gd name="T34" fmla="*/ 261 w 1220"/>
                  <a:gd name="T35" fmla="*/ 796 h 1220"/>
                  <a:gd name="T36" fmla="*/ 260 w 1220"/>
                  <a:gd name="T37" fmla="*/ 826 h 1220"/>
                  <a:gd name="T38" fmla="*/ 577 w 1220"/>
                  <a:gd name="T39" fmla="*/ 989 h 1220"/>
                  <a:gd name="T40" fmla="*/ 840 w 1220"/>
                  <a:gd name="T41" fmla="*/ 888 h 1220"/>
                  <a:gd name="T42" fmla="*/ 968 w 1220"/>
                  <a:gd name="T43" fmla="*/ 1016 h 1220"/>
                  <a:gd name="T44" fmla="*/ 610 w 1220"/>
                  <a:gd name="T45" fmla="*/ 1152 h 1220"/>
                  <a:gd name="T46" fmla="*/ 671 w 1220"/>
                  <a:gd name="T47" fmla="*/ 719 h 1220"/>
                  <a:gd name="T48" fmla="*/ 804 w 1220"/>
                  <a:gd name="T49" fmla="*/ 851 h 1220"/>
                  <a:gd name="T50" fmla="*/ 577 w 1220"/>
                  <a:gd name="T51" fmla="*/ 938 h 1220"/>
                  <a:gd name="T52" fmla="*/ 355 w 1220"/>
                  <a:gd name="T53" fmla="*/ 855 h 1220"/>
                  <a:gd name="T54" fmla="*/ 395 w 1220"/>
                  <a:gd name="T55" fmla="*/ 857 h 1220"/>
                  <a:gd name="T56" fmla="*/ 671 w 1220"/>
                  <a:gd name="T57" fmla="*/ 719 h 1220"/>
                  <a:gd name="T58" fmla="*/ 1016 w 1220"/>
                  <a:gd name="T59" fmla="*/ 968 h 1220"/>
                  <a:gd name="T60" fmla="*/ 886 w 1220"/>
                  <a:gd name="T61" fmla="*/ 838 h 1220"/>
                  <a:gd name="T62" fmla="*/ 967 w 1220"/>
                  <a:gd name="T63" fmla="*/ 599 h 1220"/>
                  <a:gd name="T64" fmla="*/ 577 w 1220"/>
                  <a:gd name="T65" fmla="*/ 209 h 1220"/>
                  <a:gd name="T66" fmla="*/ 570 w 1220"/>
                  <a:gd name="T67" fmla="*/ 210 h 1220"/>
                  <a:gd name="T68" fmla="*/ 567 w 1220"/>
                  <a:gd name="T69" fmla="*/ 210 h 1220"/>
                  <a:gd name="T70" fmla="*/ 542 w 1220"/>
                  <a:gd name="T71" fmla="*/ 236 h 1220"/>
                  <a:gd name="T72" fmla="*/ 568 w 1220"/>
                  <a:gd name="T73" fmla="*/ 260 h 1220"/>
                  <a:gd name="T74" fmla="*/ 571 w 1220"/>
                  <a:gd name="T75" fmla="*/ 260 h 1220"/>
                  <a:gd name="T76" fmla="*/ 577 w 1220"/>
                  <a:gd name="T77" fmla="*/ 260 h 1220"/>
                  <a:gd name="T78" fmla="*/ 917 w 1220"/>
                  <a:gd name="T79" fmla="*/ 599 h 1220"/>
                  <a:gd name="T80" fmla="*/ 849 w 1220"/>
                  <a:gd name="T81" fmla="*/ 801 h 1220"/>
                  <a:gd name="T82" fmla="*/ 704 w 1220"/>
                  <a:gd name="T83" fmla="*/ 656 h 1220"/>
                  <a:gd name="T84" fmla="*/ 728 w 1220"/>
                  <a:gd name="T85" fmla="*/ 528 h 1220"/>
                  <a:gd name="T86" fmla="*/ 677 w 1220"/>
                  <a:gd name="T87" fmla="*/ 346 h 1220"/>
                  <a:gd name="T88" fmla="*/ 644 w 1220"/>
                  <a:gd name="T89" fmla="*/ 301 h 1220"/>
                  <a:gd name="T90" fmla="*/ 608 w 1220"/>
                  <a:gd name="T91" fmla="*/ 298 h 1220"/>
                  <a:gd name="T92" fmla="*/ 606 w 1220"/>
                  <a:gd name="T93" fmla="*/ 334 h 1220"/>
                  <a:gd name="T94" fmla="*/ 634 w 1220"/>
                  <a:gd name="T95" fmla="*/ 372 h 1220"/>
                  <a:gd name="T96" fmla="*/ 677 w 1220"/>
                  <a:gd name="T97" fmla="*/ 528 h 1220"/>
                  <a:gd name="T98" fmla="*/ 665 w 1220"/>
                  <a:gd name="T99" fmla="*/ 617 h 1220"/>
                  <a:gd name="T100" fmla="*/ 251 w 1220"/>
                  <a:gd name="T101" fmla="*/ 203 h 1220"/>
                  <a:gd name="T102" fmla="*/ 610 w 1220"/>
                  <a:gd name="T103" fmla="*/ 68 h 1220"/>
                  <a:gd name="T104" fmla="*/ 1152 w 1220"/>
                  <a:gd name="T105" fmla="*/ 610 h 1220"/>
                  <a:gd name="T106" fmla="*/ 1016 w 1220"/>
                  <a:gd name="T107" fmla="*/ 968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220">
                    <a:moveTo>
                      <a:pt x="610" y="0"/>
                    </a:moveTo>
                    <a:cubicBezTo>
                      <a:pt x="443" y="0"/>
                      <a:pt x="292" y="67"/>
                      <a:pt x="182" y="176"/>
                    </a:cubicBezTo>
                    <a:cubicBezTo>
                      <a:pt x="181" y="177"/>
                      <a:pt x="180" y="178"/>
                      <a:pt x="179" y="179"/>
                    </a:cubicBezTo>
                    <a:cubicBezTo>
                      <a:pt x="178" y="179"/>
                      <a:pt x="177" y="180"/>
                      <a:pt x="176" y="181"/>
                    </a:cubicBezTo>
                    <a:cubicBezTo>
                      <a:pt x="67" y="292"/>
                      <a:pt x="0" y="443"/>
                      <a:pt x="0" y="610"/>
                    </a:cubicBezTo>
                    <a:cubicBezTo>
                      <a:pt x="0" y="946"/>
                      <a:pt x="274" y="1220"/>
                      <a:pt x="610" y="1220"/>
                    </a:cubicBezTo>
                    <a:cubicBezTo>
                      <a:pt x="777" y="1220"/>
                      <a:pt x="928" y="1152"/>
                      <a:pt x="1038" y="1043"/>
                    </a:cubicBezTo>
                    <a:cubicBezTo>
                      <a:pt x="1039" y="1043"/>
                      <a:pt x="1040" y="1042"/>
                      <a:pt x="1041" y="1041"/>
                    </a:cubicBezTo>
                    <a:cubicBezTo>
                      <a:pt x="1042" y="1040"/>
                      <a:pt x="1043" y="1039"/>
                      <a:pt x="1043" y="1038"/>
                    </a:cubicBezTo>
                    <a:cubicBezTo>
                      <a:pt x="1152" y="928"/>
                      <a:pt x="1220" y="777"/>
                      <a:pt x="1220" y="610"/>
                    </a:cubicBezTo>
                    <a:cubicBezTo>
                      <a:pt x="1220" y="273"/>
                      <a:pt x="946" y="0"/>
                      <a:pt x="610" y="0"/>
                    </a:cubicBezTo>
                    <a:close/>
                    <a:moveTo>
                      <a:pt x="610" y="1152"/>
                    </a:moveTo>
                    <a:cubicBezTo>
                      <a:pt x="311" y="1152"/>
                      <a:pt x="68" y="909"/>
                      <a:pt x="68" y="610"/>
                    </a:cubicBezTo>
                    <a:cubicBezTo>
                      <a:pt x="68" y="472"/>
                      <a:pt x="119" y="347"/>
                      <a:pt x="204" y="251"/>
                    </a:cubicBezTo>
                    <a:cubicBezTo>
                      <a:pt x="635" y="683"/>
                      <a:pt x="635" y="683"/>
                      <a:pt x="635" y="683"/>
                    </a:cubicBezTo>
                    <a:cubicBezTo>
                      <a:pt x="587" y="759"/>
                      <a:pt x="501" y="806"/>
                      <a:pt x="395" y="806"/>
                    </a:cubicBezTo>
                    <a:cubicBezTo>
                      <a:pt x="359" y="806"/>
                      <a:pt x="323" y="800"/>
                      <a:pt x="290" y="787"/>
                    </a:cubicBezTo>
                    <a:cubicBezTo>
                      <a:pt x="279" y="784"/>
                      <a:pt x="268" y="787"/>
                      <a:pt x="261" y="796"/>
                    </a:cubicBezTo>
                    <a:cubicBezTo>
                      <a:pt x="254" y="805"/>
                      <a:pt x="254" y="817"/>
                      <a:pt x="260" y="826"/>
                    </a:cubicBezTo>
                    <a:cubicBezTo>
                      <a:pt x="333" y="928"/>
                      <a:pt x="452" y="989"/>
                      <a:pt x="577" y="989"/>
                    </a:cubicBezTo>
                    <a:cubicBezTo>
                      <a:pt x="678" y="989"/>
                      <a:pt x="770" y="951"/>
                      <a:pt x="840" y="888"/>
                    </a:cubicBezTo>
                    <a:cubicBezTo>
                      <a:pt x="968" y="1016"/>
                      <a:pt x="968" y="1016"/>
                      <a:pt x="968" y="1016"/>
                    </a:cubicBezTo>
                    <a:cubicBezTo>
                      <a:pt x="873" y="1101"/>
                      <a:pt x="747" y="1152"/>
                      <a:pt x="610" y="1152"/>
                    </a:cubicBezTo>
                    <a:close/>
                    <a:moveTo>
                      <a:pt x="671" y="719"/>
                    </a:moveTo>
                    <a:cubicBezTo>
                      <a:pt x="804" y="851"/>
                      <a:pt x="804" y="851"/>
                      <a:pt x="804" y="851"/>
                    </a:cubicBezTo>
                    <a:cubicBezTo>
                      <a:pt x="744" y="905"/>
                      <a:pt x="664" y="938"/>
                      <a:pt x="577" y="938"/>
                    </a:cubicBezTo>
                    <a:cubicBezTo>
                      <a:pt x="495" y="938"/>
                      <a:pt x="416" y="908"/>
                      <a:pt x="355" y="855"/>
                    </a:cubicBezTo>
                    <a:cubicBezTo>
                      <a:pt x="368" y="856"/>
                      <a:pt x="381" y="857"/>
                      <a:pt x="395" y="857"/>
                    </a:cubicBezTo>
                    <a:cubicBezTo>
                      <a:pt x="514" y="857"/>
                      <a:pt x="613" y="804"/>
                      <a:pt x="671" y="719"/>
                    </a:cubicBezTo>
                    <a:close/>
                    <a:moveTo>
                      <a:pt x="1016" y="968"/>
                    </a:moveTo>
                    <a:cubicBezTo>
                      <a:pt x="886" y="838"/>
                      <a:pt x="886" y="838"/>
                      <a:pt x="886" y="838"/>
                    </a:cubicBezTo>
                    <a:cubicBezTo>
                      <a:pt x="937" y="772"/>
                      <a:pt x="967" y="689"/>
                      <a:pt x="967" y="599"/>
                    </a:cubicBezTo>
                    <a:cubicBezTo>
                      <a:pt x="967" y="384"/>
                      <a:pt x="792" y="209"/>
                      <a:pt x="577" y="209"/>
                    </a:cubicBezTo>
                    <a:cubicBezTo>
                      <a:pt x="575" y="209"/>
                      <a:pt x="572" y="210"/>
                      <a:pt x="570" y="210"/>
                    </a:cubicBezTo>
                    <a:cubicBezTo>
                      <a:pt x="567" y="210"/>
                      <a:pt x="567" y="210"/>
                      <a:pt x="567" y="210"/>
                    </a:cubicBezTo>
                    <a:cubicBezTo>
                      <a:pt x="553" y="210"/>
                      <a:pt x="542" y="222"/>
                      <a:pt x="542" y="236"/>
                    </a:cubicBezTo>
                    <a:cubicBezTo>
                      <a:pt x="542" y="250"/>
                      <a:pt x="554" y="261"/>
                      <a:pt x="568" y="260"/>
                    </a:cubicBezTo>
                    <a:cubicBezTo>
                      <a:pt x="571" y="260"/>
                      <a:pt x="571" y="260"/>
                      <a:pt x="571" y="260"/>
                    </a:cubicBezTo>
                    <a:cubicBezTo>
                      <a:pt x="573" y="260"/>
                      <a:pt x="575" y="260"/>
                      <a:pt x="577" y="260"/>
                    </a:cubicBezTo>
                    <a:cubicBezTo>
                      <a:pt x="764" y="260"/>
                      <a:pt x="917" y="412"/>
                      <a:pt x="917" y="599"/>
                    </a:cubicBezTo>
                    <a:cubicBezTo>
                      <a:pt x="917" y="675"/>
                      <a:pt x="891" y="745"/>
                      <a:pt x="849" y="801"/>
                    </a:cubicBezTo>
                    <a:cubicBezTo>
                      <a:pt x="704" y="656"/>
                      <a:pt x="704" y="656"/>
                      <a:pt x="704" y="656"/>
                    </a:cubicBezTo>
                    <a:cubicBezTo>
                      <a:pt x="720" y="617"/>
                      <a:pt x="728" y="574"/>
                      <a:pt x="728" y="528"/>
                    </a:cubicBezTo>
                    <a:cubicBezTo>
                      <a:pt x="728" y="463"/>
                      <a:pt x="710" y="400"/>
                      <a:pt x="677" y="346"/>
                    </a:cubicBezTo>
                    <a:cubicBezTo>
                      <a:pt x="667" y="330"/>
                      <a:pt x="656" y="315"/>
                      <a:pt x="644" y="301"/>
                    </a:cubicBezTo>
                    <a:cubicBezTo>
                      <a:pt x="635" y="290"/>
                      <a:pt x="619" y="289"/>
                      <a:pt x="608" y="298"/>
                    </a:cubicBezTo>
                    <a:cubicBezTo>
                      <a:pt x="598" y="307"/>
                      <a:pt x="596" y="323"/>
                      <a:pt x="606" y="334"/>
                    </a:cubicBezTo>
                    <a:cubicBezTo>
                      <a:pt x="616" y="346"/>
                      <a:pt x="625" y="359"/>
                      <a:pt x="634" y="372"/>
                    </a:cubicBezTo>
                    <a:cubicBezTo>
                      <a:pt x="662" y="419"/>
                      <a:pt x="677" y="473"/>
                      <a:pt x="677" y="528"/>
                    </a:cubicBezTo>
                    <a:cubicBezTo>
                      <a:pt x="677" y="559"/>
                      <a:pt x="673" y="589"/>
                      <a:pt x="665" y="617"/>
                    </a:cubicBezTo>
                    <a:cubicBezTo>
                      <a:pt x="251" y="203"/>
                      <a:pt x="251" y="203"/>
                      <a:pt x="251" y="203"/>
                    </a:cubicBezTo>
                    <a:cubicBezTo>
                      <a:pt x="347" y="119"/>
                      <a:pt x="473" y="68"/>
                      <a:pt x="610" y="68"/>
                    </a:cubicBezTo>
                    <a:cubicBezTo>
                      <a:pt x="909" y="68"/>
                      <a:pt x="1152" y="311"/>
                      <a:pt x="1152" y="610"/>
                    </a:cubicBezTo>
                    <a:cubicBezTo>
                      <a:pt x="1152" y="747"/>
                      <a:pt x="1101" y="873"/>
                      <a:pt x="1016" y="9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48">
                <a:extLst>
                  <a:ext uri="{FF2B5EF4-FFF2-40B4-BE49-F238E27FC236}">
                    <a16:creationId xmlns:a16="http://schemas.microsoft.com/office/drawing/2014/main" id="{85115F99-7A0C-49B4-B79A-2F13853CB398}"/>
                  </a:ext>
                </a:extLst>
              </p:cNvPr>
              <p:cNvSpPr>
                <a:spLocks/>
              </p:cNvSpPr>
              <p:nvPr/>
            </p:nvSpPr>
            <p:spPr bwMode="auto">
              <a:xfrm>
                <a:off x="-2819401" y="1368425"/>
                <a:ext cx="160338" cy="152400"/>
              </a:xfrm>
              <a:custGeom>
                <a:avLst/>
                <a:gdLst>
                  <a:gd name="T0" fmla="*/ 65 w 101"/>
                  <a:gd name="T1" fmla="*/ 33 h 96"/>
                  <a:gd name="T2" fmla="*/ 50 w 101"/>
                  <a:gd name="T3" fmla="*/ 0 h 96"/>
                  <a:gd name="T4" fmla="*/ 34 w 101"/>
                  <a:gd name="T5" fmla="*/ 33 h 96"/>
                  <a:gd name="T6" fmla="*/ 0 w 101"/>
                  <a:gd name="T7" fmla="*/ 38 h 96"/>
                  <a:gd name="T8" fmla="*/ 24 w 101"/>
                  <a:gd name="T9" fmla="*/ 62 h 96"/>
                  <a:gd name="T10" fmla="*/ 19 w 101"/>
                  <a:gd name="T11" fmla="*/ 96 h 96"/>
                  <a:gd name="T12" fmla="*/ 50 w 101"/>
                  <a:gd name="T13" fmla="*/ 80 h 96"/>
                  <a:gd name="T14" fmla="*/ 81 w 101"/>
                  <a:gd name="T15" fmla="*/ 96 h 96"/>
                  <a:gd name="T16" fmla="*/ 75 w 101"/>
                  <a:gd name="T17" fmla="*/ 62 h 96"/>
                  <a:gd name="T18" fmla="*/ 101 w 101"/>
                  <a:gd name="T19" fmla="*/ 38 h 96"/>
                  <a:gd name="T20" fmla="*/ 65 w 101"/>
                  <a:gd name="T21"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96">
                    <a:moveTo>
                      <a:pt x="65" y="33"/>
                    </a:moveTo>
                    <a:lnTo>
                      <a:pt x="50" y="0"/>
                    </a:lnTo>
                    <a:lnTo>
                      <a:pt x="34" y="33"/>
                    </a:lnTo>
                    <a:lnTo>
                      <a:pt x="0" y="38"/>
                    </a:lnTo>
                    <a:lnTo>
                      <a:pt x="24" y="62"/>
                    </a:lnTo>
                    <a:lnTo>
                      <a:pt x="19" y="96"/>
                    </a:lnTo>
                    <a:lnTo>
                      <a:pt x="50" y="80"/>
                    </a:lnTo>
                    <a:lnTo>
                      <a:pt x="81" y="96"/>
                    </a:lnTo>
                    <a:lnTo>
                      <a:pt x="75" y="62"/>
                    </a:lnTo>
                    <a:lnTo>
                      <a:pt x="101" y="38"/>
                    </a:lnTo>
                    <a:lnTo>
                      <a:pt x="65"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49">
                <a:extLst>
                  <a:ext uri="{FF2B5EF4-FFF2-40B4-BE49-F238E27FC236}">
                    <a16:creationId xmlns:a16="http://schemas.microsoft.com/office/drawing/2014/main" id="{0811F95D-C1B6-40B8-9D45-FC6DB2B8B69D}"/>
                  </a:ext>
                </a:extLst>
              </p:cNvPr>
              <p:cNvSpPr>
                <a:spLocks/>
              </p:cNvSpPr>
              <p:nvPr/>
            </p:nvSpPr>
            <p:spPr bwMode="auto">
              <a:xfrm>
                <a:off x="-1216026" y="2546350"/>
                <a:ext cx="161925" cy="152400"/>
              </a:xfrm>
              <a:custGeom>
                <a:avLst/>
                <a:gdLst>
                  <a:gd name="T0" fmla="*/ 67 w 102"/>
                  <a:gd name="T1" fmla="*/ 31 h 96"/>
                  <a:gd name="T2" fmla="*/ 50 w 102"/>
                  <a:gd name="T3" fmla="*/ 0 h 96"/>
                  <a:gd name="T4" fmla="*/ 36 w 102"/>
                  <a:gd name="T5" fmla="*/ 31 h 96"/>
                  <a:gd name="T6" fmla="*/ 0 w 102"/>
                  <a:gd name="T7" fmla="*/ 36 h 96"/>
                  <a:gd name="T8" fmla="*/ 26 w 102"/>
                  <a:gd name="T9" fmla="*/ 62 h 96"/>
                  <a:gd name="T10" fmla="*/ 19 w 102"/>
                  <a:gd name="T11" fmla="*/ 96 h 96"/>
                  <a:gd name="T12" fmla="*/ 50 w 102"/>
                  <a:gd name="T13" fmla="*/ 80 h 96"/>
                  <a:gd name="T14" fmla="*/ 83 w 102"/>
                  <a:gd name="T15" fmla="*/ 96 h 96"/>
                  <a:gd name="T16" fmla="*/ 76 w 102"/>
                  <a:gd name="T17" fmla="*/ 62 h 96"/>
                  <a:gd name="T18" fmla="*/ 102 w 102"/>
                  <a:gd name="T19" fmla="*/ 36 h 96"/>
                  <a:gd name="T20" fmla="*/ 67 w 102"/>
                  <a:gd name="T21"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96">
                    <a:moveTo>
                      <a:pt x="67" y="31"/>
                    </a:moveTo>
                    <a:lnTo>
                      <a:pt x="50" y="0"/>
                    </a:lnTo>
                    <a:lnTo>
                      <a:pt x="36" y="31"/>
                    </a:lnTo>
                    <a:lnTo>
                      <a:pt x="0" y="36"/>
                    </a:lnTo>
                    <a:lnTo>
                      <a:pt x="26" y="62"/>
                    </a:lnTo>
                    <a:lnTo>
                      <a:pt x="19" y="96"/>
                    </a:lnTo>
                    <a:lnTo>
                      <a:pt x="50" y="80"/>
                    </a:lnTo>
                    <a:lnTo>
                      <a:pt x="83" y="96"/>
                    </a:lnTo>
                    <a:lnTo>
                      <a:pt x="76" y="62"/>
                    </a:lnTo>
                    <a:lnTo>
                      <a:pt x="102" y="36"/>
                    </a:lnTo>
                    <a:lnTo>
                      <a:pt x="67"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0">
                <a:extLst>
                  <a:ext uri="{FF2B5EF4-FFF2-40B4-BE49-F238E27FC236}">
                    <a16:creationId xmlns:a16="http://schemas.microsoft.com/office/drawing/2014/main" id="{8647DFC2-5CF0-417F-A2BD-FD36C23F4113}"/>
                  </a:ext>
                </a:extLst>
              </p:cNvPr>
              <p:cNvSpPr>
                <a:spLocks/>
              </p:cNvSpPr>
              <p:nvPr/>
            </p:nvSpPr>
            <p:spPr bwMode="auto">
              <a:xfrm>
                <a:off x="-3314701" y="2187575"/>
                <a:ext cx="296863" cy="284163"/>
              </a:xfrm>
              <a:custGeom>
                <a:avLst/>
                <a:gdLst>
                  <a:gd name="T0" fmla="*/ 94 w 187"/>
                  <a:gd name="T1" fmla="*/ 148 h 179"/>
                  <a:gd name="T2" fmla="*/ 151 w 187"/>
                  <a:gd name="T3" fmla="*/ 179 h 179"/>
                  <a:gd name="T4" fmla="*/ 139 w 187"/>
                  <a:gd name="T5" fmla="*/ 114 h 179"/>
                  <a:gd name="T6" fmla="*/ 187 w 187"/>
                  <a:gd name="T7" fmla="*/ 69 h 179"/>
                  <a:gd name="T8" fmla="*/ 122 w 187"/>
                  <a:gd name="T9" fmla="*/ 59 h 179"/>
                  <a:gd name="T10" fmla="*/ 94 w 187"/>
                  <a:gd name="T11" fmla="*/ 0 h 179"/>
                  <a:gd name="T12" fmla="*/ 65 w 187"/>
                  <a:gd name="T13" fmla="*/ 59 h 179"/>
                  <a:gd name="T14" fmla="*/ 0 w 187"/>
                  <a:gd name="T15" fmla="*/ 69 h 179"/>
                  <a:gd name="T16" fmla="*/ 47 w 187"/>
                  <a:gd name="T17" fmla="*/ 114 h 179"/>
                  <a:gd name="T18" fmla="*/ 35 w 187"/>
                  <a:gd name="T19" fmla="*/ 179 h 179"/>
                  <a:gd name="T20" fmla="*/ 94 w 187"/>
                  <a:gd name="T21" fmla="*/ 14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179">
                    <a:moveTo>
                      <a:pt x="94" y="148"/>
                    </a:moveTo>
                    <a:lnTo>
                      <a:pt x="151" y="179"/>
                    </a:lnTo>
                    <a:lnTo>
                      <a:pt x="139" y="114"/>
                    </a:lnTo>
                    <a:lnTo>
                      <a:pt x="187" y="69"/>
                    </a:lnTo>
                    <a:lnTo>
                      <a:pt x="122" y="59"/>
                    </a:lnTo>
                    <a:lnTo>
                      <a:pt x="94" y="0"/>
                    </a:lnTo>
                    <a:lnTo>
                      <a:pt x="65" y="59"/>
                    </a:lnTo>
                    <a:lnTo>
                      <a:pt x="0" y="69"/>
                    </a:lnTo>
                    <a:lnTo>
                      <a:pt x="47" y="114"/>
                    </a:lnTo>
                    <a:lnTo>
                      <a:pt x="35" y="179"/>
                    </a:lnTo>
                    <a:lnTo>
                      <a:pt x="94"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1">
                <a:extLst>
                  <a:ext uri="{FF2B5EF4-FFF2-40B4-BE49-F238E27FC236}">
                    <a16:creationId xmlns:a16="http://schemas.microsoft.com/office/drawing/2014/main" id="{5E3D0AFA-9A6A-466E-B382-E3394D175347}"/>
                  </a:ext>
                </a:extLst>
              </p:cNvPr>
              <p:cNvSpPr>
                <a:spLocks/>
              </p:cNvSpPr>
              <p:nvPr/>
            </p:nvSpPr>
            <p:spPr bwMode="auto">
              <a:xfrm>
                <a:off x="-1270001" y="2182813"/>
                <a:ext cx="223838" cy="211138"/>
              </a:xfrm>
              <a:custGeom>
                <a:avLst/>
                <a:gdLst>
                  <a:gd name="T0" fmla="*/ 70 w 141"/>
                  <a:gd name="T1" fmla="*/ 111 h 133"/>
                  <a:gd name="T2" fmla="*/ 114 w 141"/>
                  <a:gd name="T3" fmla="*/ 133 h 133"/>
                  <a:gd name="T4" fmla="*/ 106 w 141"/>
                  <a:gd name="T5" fmla="*/ 85 h 133"/>
                  <a:gd name="T6" fmla="*/ 141 w 141"/>
                  <a:gd name="T7" fmla="*/ 50 h 133"/>
                  <a:gd name="T8" fmla="*/ 92 w 141"/>
                  <a:gd name="T9" fmla="*/ 44 h 133"/>
                  <a:gd name="T10" fmla="*/ 70 w 141"/>
                  <a:gd name="T11" fmla="*/ 0 h 133"/>
                  <a:gd name="T12" fmla="*/ 49 w 141"/>
                  <a:gd name="T13" fmla="*/ 44 h 133"/>
                  <a:gd name="T14" fmla="*/ 0 w 141"/>
                  <a:gd name="T15" fmla="*/ 50 h 133"/>
                  <a:gd name="T16" fmla="*/ 36 w 141"/>
                  <a:gd name="T17" fmla="*/ 85 h 133"/>
                  <a:gd name="T18" fmla="*/ 27 w 141"/>
                  <a:gd name="T19" fmla="*/ 133 h 133"/>
                  <a:gd name="T20" fmla="*/ 70 w 141"/>
                  <a:gd name="T21" fmla="*/ 1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33">
                    <a:moveTo>
                      <a:pt x="70" y="111"/>
                    </a:moveTo>
                    <a:lnTo>
                      <a:pt x="114" y="133"/>
                    </a:lnTo>
                    <a:lnTo>
                      <a:pt x="106" y="85"/>
                    </a:lnTo>
                    <a:lnTo>
                      <a:pt x="141" y="50"/>
                    </a:lnTo>
                    <a:lnTo>
                      <a:pt x="92" y="44"/>
                    </a:lnTo>
                    <a:lnTo>
                      <a:pt x="70" y="0"/>
                    </a:lnTo>
                    <a:lnTo>
                      <a:pt x="49" y="44"/>
                    </a:lnTo>
                    <a:lnTo>
                      <a:pt x="0" y="50"/>
                    </a:lnTo>
                    <a:lnTo>
                      <a:pt x="36" y="85"/>
                    </a:lnTo>
                    <a:lnTo>
                      <a:pt x="27" y="133"/>
                    </a:lnTo>
                    <a:lnTo>
                      <a:pt x="7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2">
                <a:extLst>
                  <a:ext uri="{FF2B5EF4-FFF2-40B4-BE49-F238E27FC236}">
                    <a16:creationId xmlns:a16="http://schemas.microsoft.com/office/drawing/2014/main" id="{634F74AE-BA74-4E23-B4C6-4F62CDEC69B9}"/>
                  </a:ext>
                </a:extLst>
              </p:cNvPr>
              <p:cNvSpPr>
                <a:spLocks/>
              </p:cNvSpPr>
              <p:nvPr/>
            </p:nvSpPr>
            <p:spPr bwMode="auto">
              <a:xfrm>
                <a:off x="-2538413" y="3509963"/>
                <a:ext cx="163513" cy="152400"/>
              </a:xfrm>
              <a:custGeom>
                <a:avLst/>
                <a:gdLst>
                  <a:gd name="T0" fmla="*/ 67 w 103"/>
                  <a:gd name="T1" fmla="*/ 33 h 96"/>
                  <a:gd name="T2" fmla="*/ 51 w 103"/>
                  <a:gd name="T3" fmla="*/ 0 h 96"/>
                  <a:gd name="T4" fmla="*/ 36 w 103"/>
                  <a:gd name="T5" fmla="*/ 33 h 96"/>
                  <a:gd name="T6" fmla="*/ 0 w 103"/>
                  <a:gd name="T7" fmla="*/ 38 h 96"/>
                  <a:gd name="T8" fmla="*/ 26 w 103"/>
                  <a:gd name="T9" fmla="*/ 62 h 96"/>
                  <a:gd name="T10" fmla="*/ 20 w 103"/>
                  <a:gd name="T11" fmla="*/ 96 h 96"/>
                  <a:gd name="T12" fmla="*/ 51 w 103"/>
                  <a:gd name="T13" fmla="*/ 80 h 96"/>
                  <a:gd name="T14" fmla="*/ 83 w 103"/>
                  <a:gd name="T15" fmla="*/ 96 h 96"/>
                  <a:gd name="T16" fmla="*/ 77 w 103"/>
                  <a:gd name="T17" fmla="*/ 62 h 96"/>
                  <a:gd name="T18" fmla="*/ 103 w 103"/>
                  <a:gd name="T19" fmla="*/ 38 h 96"/>
                  <a:gd name="T20" fmla="*/ 67 w 103"/>
                  <a:gd name="T21"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96">
                    <a:moveTo>
                      <a:pt x="67" y="33"/>
                    </a:moveTo>
                    <a:lnTo>
                      <a:pt x="51" y="0"/>
                    </a:lnTo>
                    <a:lnTo>
                      <a:pt x="36" y="33"/>
                    </a:lnTo>
                    <a:lnTo>
                      <a:pt x="0" y="38"/>
                    </a:lnTo>
                    <a:lnTo>
                      <a:pt x="26" y="62"/>
                    </a:lnTo>
                    <a:lnTo>
                      <a:pt x="20" y="96"/>
                    </a:lnTo>
                    <a:lnTo>
                      <a:pt x="51" y="80"/>
                    </a:lnTo>
                    <a:lnTo>
                      <a:pt x="83" y="96"/>
                    </a:lnTo>
                    <a:lnTo>
                      <a:pt x="77" y="62"/>
                    </a:lnTo>
                    <a:lnTo>
                      <a:pt x="103" y="38"/>
                    </a:lnTo>
                    <a:lnTo>
                      <a:pt x="6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3">
                <a:extLst>
                  <a:ext uri="{FF2B5EF4-FFF2-40B4-BE49-F238E27FC236}">
                    <a16:creationId xmlns:a16="http://schemas.microsoft.com/office/drawing/2014/main" id="{1D9F7A74-06D0-4FEA-B3D7-169E6648A1DF}"/>
                  </a:ext>
                </a:extLst>
              </p:cNvPr>
              <p:cNvSpPr>
                <a:spLocks/>
              </p:cNvSpPr>
              <p:nvPr/>
            </p:nvSpPr>
            <p:spPr bwMode="auto">
              <a:xfrm>
                <a:off x="-2816226" y="2593975"/>
                <a:ext cx="158750" cy="152400"/>
              </a:xfrm>
              <a:custGeom>
                <a:avLst/>
                <a:gdLst>
                  <a:gd name="T0" fmla="*/ 19 w 100"/>
                  <a:gd name="T1" fmla="*/ 96 h 96"/>
                  <a:gd name="T2" fmla="*/ 50 w 100"/>
                  <a:gd name="T3" fmla="*/ 79 h 96"/>
                  <a:gd name="T4" fmla="*/ 81 w 100"/>
                  <a:gd name="T5" fmla="*/ 96 h 96"/>
                  <a:gd name="T6" fmla="*/ 76 w 100"/>
                  <a:gd name="T7" fmla="*/ 61 h 96"/>
                  <a:gd name="T8" fmla="*/ 100 w 100"/>
                  <a:gd name="T9" fmla="*/ 37 h 96"/>
                  <a:gd name="T10" fmla="*/ 66 w 100"/>
                  <a:gd name="T11" fmla="*/ 32 h 96"/>
                  <a:gd name="T12" fmla="*/ 50 w 100"/>
                  <a:gd name="T13" fmla="*/ 0 h 96"/>
                  <a:gd name="T14" fmla="*/ 34 w 100"/>
                  <a:gd name="T15" fmla="*/ 32 h 96"/>
                  <a:gd name="T16" fmla="*/ 0 w 100"/>
                  <a:gd name="T17" fmla="*/ 37 h 96"/>
                  <a:gd name="T18" fmla="*/ 24 w 100"/>
                  <a:gd name="T19" fmla="*/ 61 h 96"/>
                  <a:gd name="T20" fmla="*/ 19 w 100"/>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6">
                    <a:moveTo>
                      <a:pt x="19" y="96"/>
                    </a:moveTo>
                    <a:lnTo>
                      <a:pt x="50" y="79"/>
                    </a:lnTo>
                    <a:lnTo>
                      <a:pt x="81" y="96"/>
                    </a:lnTo>
                    <a:lnTo>
                      <a:pt x="76" y="61"/>
                    </a:lnTo>
                    <a:lnTo>
                      <a:pt x="100" y="37"/>
                    </a:lnTo>
                    <a:lnTo>
                      <a:pt x="66" y="32"/>
                    </a:lnTo>
                    <a:lnTo>
                      <a:pt x="50" y="0"/>
                    </a:lnTo>
                    <a:lnTo>
                      <a:pt x="34" y="32"/>
                    </a:lnTo>
                    <a:lnTo>
                      <a:pt x="0" y="37"/>
                    </a:lnTo>
                    <a:lnTo>
                      <a:pt x="24" y="61"/>
                    </a:lnTo>
                    <a:lnTo>
                      <a:pt x="19"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 8">
            <a:extLst>
              <a:ext uri="{FF2B5EF4-FFF2-40B4-BE49-F238E27FC236}">
                <a16:creationId xmlns:a16="http://schemas.microsoft.com/office/drawing/2014/main" id="{9A1D0BBB-55B8-48FE-AF83-EC036FC5F9CD}"/>
              </a:ext>
            </a:extLst>
          </p:cNvPr>
          <p:cNvGrpSpPr/>
          <p:nvPr/>
        </p:nvGrpSpPr>
        <p:grpSpPr>
          <a:xfrm>
            <a:off x="3765986" y="1316736"/>
            <a:ext cx="2081774" cy="2416199"/>
            <a:chOff x="5050769" y="1316736"/>
            <a:chExt cx="2081774" cy="2416199"/>
          </a:xfrm>
        </p:grpSpPr>
        <p:sp>
          <p:nvSpPr>
            <p:cNvPr id="20" name="Oval 19">
              <a:extLst>
                <a:ext uri="{FF2B5EF4-FFF2-40B4-BE49-F238E27FC236}">
                  <a16:creationId xmlns:a16="http://schemas.microsoft.com/office/drawing/2014/main" id="{13FA31CF-B764-F84D-9071-2485DFF316C4}"/>
                </a:ext>
              </a:extLst>
            </p:cNvPr>
            <p:cNvSpPr/>
            <p:nvPr/>
          </p:nvSpPr>
          <p:spPr>
            <a:xfrm>
              <a:off x="5050769" y="1316736"/>
              <a:ext cx="2081774" cy="2416199"/>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48" name="Group 147">
              <a:extLst>
                <a:ext uri="{FF2B5EF4-FFF2-40B4-BE49-F238E27FC236}">
                  <a16:creationId xmlns:a16="http://schemas.microsoft.com/office/drawing/2014/main" id="{E8025D5F-075C-4122-A08C-A10C15746C45}"/>
                </a:ext>
              </a:extLst>
            </p:cNvPr>
            <p:cNvGrpSpPr/>
            <p:nvPr/>
          </p:nvGrpSpPr>
          <p:grpSpPr>
            <a:xfrm>
              <a:off x="5662938" y="1377943"/>
              <a:ext cx="857436" cy="863887"/>
              <a:chOff x="-3140076" y="1228726"/>
              <a:chExt cx="2109788" cy="2125662"/>
            </a:xfrm>
            <a:solidFill>
              <a:schemeClr val="accent6"/>
            </a:solidFill>
          </p:grpSpPr>
          <p:sp>
            <p:nvSpPr>
              <p:cNvPr id="149" name="Freeform 57">
                <a:extLst>
                  <a:ext uri="{FF2B5EF4-FFF2-40B4-BE49-F238E27FC236}">
                    <a16:creationId xmlns:a16="http://schemas.microsoft.com/office/drawing/2014/main" id="{BDC5B6F1-2D39-4C9F-9C5F-3E490842E992}"/>
                  </a:ext>
                </a:extLst>
              </p:cNvPr>
              <p:cNvSpPr>
                <a:spLocks/>
              </p:cNvSpPr>
              <p:nvPr/>
            </p:nvSpPr>
            <p:spPr bwMode="auto">
              <a:xfrm>
                <a:off x="-1198563" y="1927226"/>
                <a:ext cx="168275" cy="71438"/>
              </a:xfrm>
              <a:custGeom>
                <a:avLst/>
                <a:gdLst>
                  <a:gd name="T0" fmla="*/ 19 w 88"/>
                  <a:gd name="T1" fmla="*/ 38 h 38"/>
                  <a:gd name="T2" fmla="*/ 69 w 88"/>
                  <a:gd name="T3" fmla="*/ 38 h 38"/>
                  <a:gd name="T4" fmla="*/ 88 w 88"/>
                  <a:gd name="T5" fmla="*/ 19 h 38"/>
                  <a:gd name="T6" fmla="*/ 69 w 88"/>
                  <a:gd name="T7" fmla="*/ 0 h 38"/>
                  <a:gd name="T8" fmla="*/ 19 w 88"/>
                  <a:gd name="T9" fmla="*/ 0 h 38"/>
                  <a:gd name="T10" fmla="*/ 0 w 88"/>
                  <a:gd name="T11" fmla="*/ 19 h 38"/>
                  <a:gd name="T12" fmla="*/ 19 w 88"/>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88" h="38">
                    <a:moveTo>
                      <a:pt x="19" y="38"/>
                    </a:moveTo>
                    <a:cubicBezTo>
                      <a:pt x="69" y="38"/>
                      <a:pt x="69" y="38"/>
                      <a:pt x="69" y="38"/>
                    </a:cubicBezTo>
                    <a:cubicBezTo>
                      <a:pt x="79" y="38"/>
                      <a:pt x="88" y="29"/>
                      <a:pt x="88" y="19"/>
                    </a:cubicBezTo>
                    <a:cubicBezTo>
                      <a:pt x="88" y="9"/>
                      <a:pt x="79" y="0"/>
                      <a:pt x="69" y="0"/>
                    </a:cubicBezTo>
                    <a:cubicBezTo>
                      <a:pt x="19" y="0"/>
                      <a:pt x="19" y="0"/>
                      <a:pt x="19" y="0"/>
                    </a:cubicBezTo>
                    <a:cubicBezTo>
                      <a:pt x="9" y="0"/>
                      <a:pt x="0" y="9"/>
                      <a:pt x="0" y="19"/>
                    </a:cubicBezTo>
                    <a:cubicBezTo>
                      <a:pt x="0" y="29"/>
                      <a:pt x="9" y="38"/>
                      <a:pt x="19" y="38"/>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58">
                <a:extLst>
                  <a:ext uri="{FF2B5EF4-FFF2-40B4-BE49-F238E27FC236}">
                    <a16:creationId xmlns:a16="http://schemas.microsoft.com/office/drawing/2014/main" id="{93F9325B-A858-497A-A587-B594C9550CD3}"/>
                  </a:ext>
                </a:extLst>
              </p:cNvPr>
              <p:cNvSpPr>
                <a:spLocks/>
              </p:cNvSpPr>
              <p:nvPr/>
            </p:nvSpPr>
            <p:spPr bwMode="auto">
              <a:xfrm>
                <a:off x="-2840038" y="1927226"/>
                <a:ext cx="276225" cy="71438"/>
              </a:xfrm>
              <a:custGeom>
                <a:avLst/>
                <a:gdLst>
                  <a:gd name="T0" fmla="*/ 127 w 145"/>
                  <a:gd name="T1" fmla="*/ 0 h 38"/>
                  <a:gd name="T2" fmla="*/ 19 w 145"/>
                  <a:gd name="T3" fmla="*/ 0 h 38"/>
                  <a:gd name="T4" fmla="*/ 0 w 145"/>
                  <a:gd name="T5" fmla="*/ 19 h 38"/>
                  <a:gd name="T6" fmla="*/ 19 w 145"/>
                  <a:gd name="T7" fmla="*/ 38 h 38"/>
                  <a:gd name="T8" fmla="*/ 127 w 145"/>
                  <a:gd name="T9" fmla="*/ 38 h 38"/>
                  <a:gd name="T10" fmla="*/ 145 w 145"/>
                  <a:gd name="T11" fmla="*/ 19 h 38"/>
                  <a:gd name="T12" fmla="*/ 127 w 145"/>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45" h="38">
                    <a:moveTo>
                      <a:pt x="127" y="0"/>
                    </a:moveTo>
                    <a:cubicBezTo>
                      <a:pt x="19" y="0"/>
                      <a:pt x="19" y="0"/>
                      <a:pt x="19" y="0"/>
                    </a:cubicBezTo>
                    <a:cubicBezTo>
                      <a:pt x="9" y="0"/>
                      <a:pt x="0" y="9"/>
                      <a:pt x="0" y="19"/>
                    </a:cubicBezTo>
                    <a:cubicBezTo>
                      <a:pt x="0" y="29"/>
                      <a:pt x="9" y="38"/>
                      <a:pt x="19" y="38"/>
                    </a:cubicBezTo>
                    <a:cubicBezTo>
                      <a:pt x="127" y="38"/>
                      <a:pt x="127" y="38"/>
                      <a:pt x="127" y="38"/>
                    </a:cubicBezTo>
                    <a:cubicBezTo>
                      <a:pt x="137" y="38"/>
                      <a:pt x="145" y="29"/>
                      <a:pt x="145" y="19"/>
                    </a:cubicBezTo>
                    <a:cubicBezTo>
                      <a:pt x="145" y="9"/>
                      <a:pt x="137" y="0"/>
                      <a:pt x="127"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59">
                <a:extLst>
                  <a:ext uri="{FF2B5EF4-FFF2-40B4-BE49-F238E27FC236}">
                    <a16:creationId xmlns:a16="http://schemas.microsoft.com/office/drawing/2014/main" id="{3458A196-E707-4268-A6AE-95170ECA70E3}"/>
                  </a:ext>
                </a:extLst>
              </p:cNvPr>
              <p:cNvSpPr>
                <a:spLocks/>
              </p:cNvSpPr>
              <p:nvPr/>
            </p:nvSpPr>
            <p:spPr bwMode="auto">
              <a:xfrm>
                <a:off x="-2430463" y="1927226"/>
                <a:ext cx="277813" cy="71438"/>
              </a:xfrm>
              <a:custGeom>
                <a:avLst/>
                <a:gdLst>
                  <a:gd name="T0" fmla="*/ 0 w 145"/>
                  <a:gd name="T1" fmla="*/ 19 h 38"/>
                  <a:gd name="T2" fmla="*/ 19 w 145"/>
                  <a:gd name="T3" fmla="*/ 38 h 38"/>
                  <a:gd name="T4" fmla="*/ 127 w 145"/>
                  <a:gd name="T5" fmla="*/ 38 h 38"/>
                  <a:gd name="T6" fmla="*/ 145 w 145"/>
                  <a:gd name="T7" fmla="*/ 19 h 38"/>
                  <a:gd name="T8" fmla="*/ 127 w 145"/>
                  <a:gd name="T9" fmla="*/ 0 h 38"/>
                  <a:gd name="T10" fmla="*/ 19 w 145"/>
                  <a:gd name="T11" fmla="*/ 0 h 38"/>
                  <a:gd name="T12" fmla="*/ 0 w 145"/>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145" h="38">
                    <a:moveTo>
                      <a:pt x="0" y="19"/>
                    </a:moveTo>
                    <a:cubicBezTo>
                      <a:pt x="0" y="29"/>
                      <a:pt x="9" y="38"/>
                      <a:pt x="19" y="38"/>
                    </a:cubicBezTo>
                    <a:cubicBezTo>
                      <a:pt x="127" y="38"/>
                      <a:pt x="127" y="38"/>
                      <a:pt x="127" y="38"/>
                    </a:cubicBezTo>
                    <a:cubicBezTo>
                      <a:pt x="137" y="38"/>
                      <a:pt x="145" y="29"/>
                      <a:pt x="145" y="19"/>
                    </a:cubicBezTo>
                    <a:cubicBezTo>
                      <a:pt x="145" y="9"/>
                      <a:pt x="137" y="0"/>
                      <a:pt x="127" y="0"/>
                    </a:cubicBezTo>
                    <a:cubicBezTo>
                      <a:pt x="19" y="0"/>
                      <a:pt x="19" y="0"/>
                      <a:pt x="19" y="0"/>
                    </a:cubicBezTo>
                    <a:cubicBezTo>
                      <a:pt x="9" y="0"/>
                      <a:pt x="0" y="9"/>
                      <a:pt x="0" y="19"/>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60">
                <a:extLst>
                  <a:ext uri="{FF2B5EF4-FFF2-40B4-BE49-F238E27FC236}">
                    <a16:creationId xmlns:a16="http://schemas.microsoft.com/office/drawing/2014/main" id="{37ABE5B9-2C9C-405C-89B2-6295E4D45EC8}"/>
                  </a:ext>
                </a:extLst>
              </p:cNvPr>
              <p:cNvSpPr>
                <a:spLocks/>
              </p:cNvSpPr>
              <p:nvPr/>
            </p:nvSpPr>
            <p:spPr bwMode="auto">
              <a:xfrm>
                <a:off x="-2019301" y="1927226"/>
                <a:ext cx="276225" cy="71438"/>
              </a:xfrm>
              <a:custGeom>
                <a:avLst/>
                <a:gdLst>
                  <a:gd name="T0" fmla="*/ 19 w 145"/>
                  <a:gd name="T1" fmla="*/ 38 h 38"/>
                  <a:gd name="T2" fmla="*/ 127 w 145"/>
                  <a:gd name="T3" fmla="*/ 38 h 38"/>
                  <a:gd name="T4" fmla="*/ 145 w 145"/>
                  <a:gd name="T5" fmla="*/ 19 h 38"/>
                  <a:gd name="T6" fmla="*/ 127 w 145"/>
                  <a:gd name="T7" fmla="*/ 0 h 38"/>
                  <a:gd name="T8" fmla="*/ 19 w 145"/>
                  <a:gd name="T9" fmla="*/ 0 h 38"/>
                  <a:gd name="T10" fmla="*/ 0 w 145"/>
                  <a:gd name="T11" fmla="*/ 19 h 38"/>
                  <a:gd name="T12" fmla="*/ 19 w 145"/>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45" h="38">
                    <a:moveTo>
                      <a:pt x="19" y="38"/>
                    </a:moveTo>
                    <a:cubicBezTo>
                      <a:pt x="127" y="38"/>
                      <a:pt x="127" y="38"/>
                      <a:pt x="127" y="38"/>
                    </a:cubicBezTo>
                    <a:cubicBezTo>
                      <a:pt x="137" y="38"/>
                      <a:pt x="145" y="29"/>
                      <a:pt x="145" y="19"/>
                    </a:cubicBezTo>
                    <a:cubicBezTo>
                      <a:pt x="145" y="9"/>
                      <a:pt x="137" y="0"/>
                      <a:pt x="127" y="0"/>
                    </a:cubicBezTo>
                    <a:cubicBezTo>
                      <a:pt x="19" y="0"/>
                      <a:pt x="19" y="0"/>
                      <a:pt x="19" y="0"/>
                    </a:cubicBezTo>
                    <a:cubicBezTo>
                      <a:pt x="9" y="0"/>
                      <a:pt x="0" y="9"/>
                      <a:pt x="0" y="19"/>
                    </a:cubicBezTo>
                    <a:cubicBezTo>
                      <a:pt x="0" y="29"/>
                      <a:pt x="9" y="38"/>
                      <a:pt x="19" y="38"/>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61">
                <a:extLst>
                  <a:ext uri="{FF2B5EF4-FFF2-40B4-BE49-F238E27FC236}">
                    <a16:creationId xmlns:a16="http://schemas.microsoft.com/office/drawing/2014/main" id="{F4077086-689C-4F69-969F-4F8734449E39}"/>
                  </a:ext>
                </a:extLst>
              </p:cNvPr>
              <p:cNvSpPr>
                <a:spLocks/>
              </p:cNvSpPr>
              <p:nvPr/>
            </p:nvSpPr>
            <p:spPr bwMode="auto">
              <a:xfrm>
                <a:off x="-1608138" y="1927226"/>
                <a:ext cx="276225" cy="71438"/>
              </a:xfrm>
              <a:custGeom>
                <a:avLst/>
                <a:gdLst>
                  <a:gd name="T0" fmla="*/ 127 w 145"/>
                  <a:gd name="T1" fmla="*/ 0 h 38"/>
                  <a:gd name="T2" fmla="*/ 19 w 145"/>
                  <a:gd name="T3" fmla="*/ 0 h 38"/>
                  <a:gd name="T4" fmla="*/ 0 w 145"/>
                  <a:gd name="T5" fmla="*/ 19 h 38"/>
                  <a:gd name="T6" fmla="*/ 19 w 145"/>
                  <a:gd name="T7" fmla="*/ 38 h 38"/>
                  <a:gd name="T8" fmla="*/ 127 w 145"/>
                  <a:gd name="T9" fmla="*/ 38 h 38"/>
                  <a:gd name="T10" fmla="*/ 145 w 145"/>
                  <a:gd name="T11" fmla="*/ 19 h 38"/>
                  <a:gd name="T12" fmla="*/ 127 w 145"/>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45" h="38">
                    <a:moveTo>
                      <a:pt x="127" y="0"/>
                    </a:moveTo>
                    <a:cubicBezTo>
                      <a:pt x="19" y="0"/>
                      <a:pt x="19" y="0"/>
                      <a:pt x="19" y="0"/>
                    </a:cubicBezTo>
                    <a:cubicBezTo>
                      <a:pt x="9" y="0"/>
                      <a:pt x="0" y="9"/>
                      <a:pt x="0" y="19"/>
                    </a:cubicBezTo>
                    <a:cubicBezTo>
                      <a:pt x="0" y="29"/>
                      <a:pt x="9" y="38"/>
                      <a:pt x="19" y="38"/>
                    </a:cubicBezTo>
                    <a:cubicBezTo>
                      <a:pt x="127" y="38"/>
                      <a:pt x="127" y="38"/>
                      <a:pt x="127" y="38"/>
                    </a:cubicBezTo>
                    <a:cubicBezTo>
                      <a:pt x="137" y="38"/>
                      <a:pt x="145" y="29"/>
                      <a:pt x="145" y="19"/>
                    </a:cubicBezTo>
                    <a:cubicBezTo>
                      <a:pt x="145" y="9"/>
                      <a:pt x="137" y="0"/>
                      <a:pt x="127"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62">
                <a:extLst>
                  <a:ext uri="{FF2B5EF4-FFF2-40B4-BE49-F238E27FC236}">
                    <a16:creationId xmlns:a16="http://schemas.microsoft.com/office/drawing/2014/main" id="{8650D583-D476-45E0-8DB3-A08BA2AA6835}"/>
                  </a:ext>
                </a:extLst>
              </p:cNvPr>
              <p:cNvSpPr>
                <a:spLocks/>
              </p:cNvSpPr>
              <p:nvPr/>
            </p:nvSpPr>
            <p:spPr bwMode="auto">
              <a:xfrm>
                <a:off x="-3140076" y="1927226"/>
                <a:ext cx="165100" cy="71438"/>
              </a:xfrm>
              <a:custGeom>
                <a:avLst/>
                <a:gdLst>
                  <a:gd name="T0" fmla="*/ 19 w 87"/>
                  <a:gd name="T1" fmla="*/ 38 h 38"/>
                  <a:gd name="T2" fmla="*/ 69 w 87"/>
                  <a:gd name="T3" fmla="*/ 38 h 38"/>
                  <a:gd name="T4" fmla="*/ 87 w 87"/>
                  <a:gd name="T5" fmla="*/ 19 h 38"/>
                  <a:gd name="T6" fmla="*/ 69 w 87"/>
                  <a:gd name="T7" fmla="*/ 0 h 38"/>
                  <a:gd name="T8" fmla="*/ 19 w 87"/>
                  <a:gd name="T9" fmla="*/ 0 h 38"/>
                  <a:gd name="T10" fmla="*/ 0 w 87"/>
                  <a:gd name="T11" fmla="*/ 19 h 38"/>
                  <a:gd name="T12" fmla="*/ 19 w 87"/>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87" h="38">
                    <a:moveTo>
                      <a:pt x="19" y="38"/>
                    </a:moveTo>
                    <a:cubicBezTo>
                      <a:pt x="69" y="38"/>
                      <a:pt x="69" y="38"/>
                      <a:pt x="69" y="38"/>
                    </a:cubicBezTo>
                    <a:cubicBezTo>
                      <a:pt x="79" y="38"/>
                      <a:pt x="87" y="29"/>
                      <a:pt x="87" y="19"/>
                    </a:cubicBezTo>
                    <a:cubicBezTo>
                      <a:pt x="87" y="9"/>
                      <a:pt x="79" y="0"/>
                      <a:pt x="69" y="0"/>
                    </a:cubicBezTo>
                    <a:cubicBezTo>
                      <a:pt x="19" y="0"/>
                      <a:pt x="19" y="0"/>
                      <a:pt x="19" y="0"/>
                    </a:cubicBezTo>
                    <a:cubicBezTo>
                      <a:pt x="8" y="0"/>
                      <a:pt x="0" y="9"/>
                      <a:pt x="0" y="19"/>
                    </a:cubicBezTo>
                    <a:cubicBezTo>
                      <a:pt x="0" y="29"/>
                      <a:pt x="8" y="38"/>
                      <a:pt x="19" y="38"/>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63">
                <a:extLst>
                  <a:ext uri="{FF2B5EF4-FFF2-40B4-BE49-F238E27FC236}">
                    <a16:creationId xmlns:a16="http://schemas.microsoft.com/office/drawing/2014/main" id="{33975112-2D30-4CA3-B4BC-E990303655B8}"/>
                  </a:ext>
                </a:extLst>
              </p:cNvPr>
              <p:cNvSpPr>
                <a:spLocks/>
              </p:cNvSpPr>
              <p:nvPr/>
            </p:nvSpPr>
            <p:spPr bwMode="auto">
              <a:xfrm>
                <a:off x="-1198563" y="2276476"/>
                <a:ext cx="168275" cy="71438"/>
              </a:xfrm>
              <a:custGeom>
                <a:avLst/>
                <a:gdLst>
                  <a:gd name="T0" fmla="*/ 69 w 88"/>
                  <a:gd name="T1" fmla="*/ 0 h 37"/>
                  <a:gd name="T2" fmla="*/ 19 w 88"/>
                  <a:gd name="T3" fmla="*/ 0 h 37"/>
                  <a:gd name="T4" fmla="*/ 0 w 88"/>
                  <a:gd name="T5" fmla="*/ 19 h 37"/>
                  <a:gd name="T6" fmla="*/ 19 w 88"/>
                  <a:gd name="T7" fmla="*/ 37 h 37"/>
                  <a:gd name="T8" fmla="*/ 69 w 88"/>
                  <a:gd name="T9" fmla="*/ 37 h 37"/>
                  <a:gd name="T10" fmla="*/ 88 w 88"/>
                  <a:gd name="T11" fmla="*/ 19 h 37"/>
                  <a:gd name="T12" fmla="*/ 69 w 88"/>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88" h="37">
                    <a:moveTo>
                      <a:pt x="69" y="0"/>
                    </a:moveTo>
                    <a:cubicBezTo>
                      <a:pt x="19" y="0"/>
                      <a:pt x="19" y="0"/>
                      <a:pt x="19" y="0"/>
                    </a:cubicBezTo>
                    <a:cubicBezTo>
                      <a:pt x="9" y="0"/>
                      <a:pt x="0" y="8"/>
                      <a:pt x="0" y="19"/>
                    </a:cubicBezTo>
                    <a:cubicBezTo>
                      <a:pt x="0" y="29"/>
                      <a:pt x="9" y="37"/>
                      <a:pt x="19" y="37"/>
                    </a:cubicBezTo>
                    <a:cubicBezTo>
                      <a:pt x="69" y="37"/>
                      <a:pt x="69" y="37"/>
                      <a:pt x="69" y="37"/>
                    </a:cubicBezTo>
                    <a:cubicBezTo>
                      <a:pt x="79" y="37"/>
                      <a:pt x="88" y="29"/>
                      <a:pt x="88" y="19"/>
                    </a:cubicBezTo>
                    <a:cubicBezTo>
                      <a:pt x="88" y="8"/>
                      <a:pt x="79" y="0"/>
                      <a:pt x="69"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64">
                <a:extLst>
                  <a:ext uri="{FF2B5EF4-FFF2-40B4-BE49-F238E27FC236}">
                    <a16:creationId xmlns:a16="http://schemas.microsoft.com/office/drawing/2014/main" id="{30A3EC6A-F09B-4E93-8945-062BA8A5C8DB}"/>
                  </a:ext>
                </a:extLst>
              </p:cNvPr>
              <p:cNvSpPr>
                <a:spLocks/>
              </p:cNvSpPr>
              <p:nvPr/>
            </p:nvSpPr>
            <p:spPr bwMode="auto">
              <a:xfrm>
                <a:off x="-2430463" y="2276476"/>
                <a:ext cx="277813" cy="71438"/>
              </a:xfrm>
              <a:custGeom>
                <a:avLst/>
                <a:gdLst>
                  <a:gd name="T0" fmla="*/ 127 w 145"/>
                  <a:gd name="T1" fmla="*/ 0 h 37"/>
                  <a:gd name="T2" fmla="*/ 19 w 145"/>
                  <a:gd name="T3" fmla="*/ 0 h 37"/>
                  <a:gd name="T4" fmla="*/ 0 w 145"/>
                  <a:gd name="T5" fmla="*/ 19 h 37"/>
                  <a:gd name="T6" fmla="*/ 19 w 145"/>
                  <a:gd name="T7" fmla="*/ 37 h 37"/>
                  <a:gd name="T8" fmla="*/ 127 w 145"/>
                  <a:gd name="T9" fmla="*/ 37 h 37"/>
                  <a:gd name="T10" fmla="*/ 145 w 145"/>
                  <a:gd name="T11" fmla="*/ 19 h 37"/>
                  <a:gd name="T12" fmla="*/ 127 w 14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45" h="37">
                    <a:moveTo>
                      <a:pt x="127" y="0"/>
                    </a:moveTo>
                    <a:cubicBezTo>
                      <a:pt x="19" y="0"/>
                      <a:pt x="19" y="0"/>
                      <a:pt x="19" y="0"/>
                    </a:cubicBezTo>
                    <a:cubicBezTo>
                      <a:pt x="9" y="0"/>
                      <a:pt x="0" y="8"/>
                      <a:pt x="0" y="19"/>
                    </a:cubicBezTo>
                    <a:cubicBezTo>
                      <a:pt x="0" y="29"/>
                      <a:pt x="9" y="37"/>
                      <a:pt x="19" y="37"/>
                    </a:cubicBezTo>
                    <a:cubicBezTo>
                      <a:pt x="127" y="37"/>
                      <a:pt x="127" y="37"/>
                      <a:pt x="127" y="37"/>
                    </a:cubicBezTo>
                    <a:cubicBezTo>
                      <a:pt x="137" y="37"/>
                      <a:pt x="145" y="29"/>
                      <a:pt x="145" y="19"/>
                    </a:cubicBezTo>
                    <a:cubicBezTo>
                      <a:pt x="145" y="8"/>
                      <a:pt x="137" y="0"/>
                      <a:pt x="127"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65">
                <a:extLst>
                  <a:ext uri="{FF2B5EF4-FFF2-40B4-BE49-F238E27FC236}">
                    <a16:creationId xmlns:a16="http://schemas.microsoft.com/office/drawing/2014/main" id="{C8792A1B-CE6B-4F16-950B-C122BCFC884E}"/>
                  </a:ext>
                </a:extLst>
              </p:cNvPr>
              <p:cNvSpPr>
                <a:spLocks/>
              </p:cNvSpPr>
              <p:nvPr/>
            </p:nvSpPr>
            <p:spPr bwMode="auto">
              <a:xfrm>
                <a:off x="-2019301" y="2276476"/>
                <a:ext cx="276225" cy="71438"/>
              </a:xfrm>
              <a:custGeom>
                <a:avLst/>
                <a:gdLst>
                  <a:gd name="T0" fmla="*/ 19 w 145"/>
                  <a:gd name="T1" fmla="*/ 37 h 37"/>
                  <a:gd name="T2" fmla="*/ 127 w 145"/>
                  <a:gd name="T3" fmla="*/ 37 h 37"/>
                  <a:gd name="T4" fmla="*/ 145 w 145"/>
                  <a:gd name="T5" fmla="*/ 19 h 37"/>
                  <a:gd name="T6" fmla="*/ 127 w 145"/>
                  <a:gd name="T7" fmla="*/ 0 h 37"/>
                  <a:gd name="T8" fmla="*/ 19 w 145"/>
                  <a:gd name="T9" fmla="*/ 0 h 37"/>
                  <a:gd name="T10" fmla="*/ 0 w 145"/>
                  <a:gd name="T11" fmla="*/ 19 h 37"/>
                  <a:gd name="T12" fmla="*/ 19 w 14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45" h="37">
                    <a:moveTo>
                      <a:pt x="19" y="37"/>
                    </a:moveTo>
                    <a:cubicBezTo>
                      <a:pt x="127" y="37"/>
                      <a:pt x="127" y="37"/>
                      <a:pt x="127" y="37"/>
                    </a:cubicBezTo>
                    <a:cubicBezTo>
                      <a:pt x="137" y="37"/>
                      <a:pt x="145" y="29"/>
                      <a:pt x="145" y="19"/>
                    </a:cubicBezTo>
                    <a:cubicBezTo>
                      <a:pt x="145" y="8"/>
                      <a:pt x="137" y="0"/>
                      <a:pt x="127" y="0"/>
                    </a:cubicBezTo>
                    <a:cubicBezTo>
                      <a:pt x="19" y="0"/>
                      <a:pt x="19" y="0"/>
                      <a:pt x="19" y="0"/>
                    </a:cubicBezTo>
                    <a:cubicBezTo>
                      <a:pt x="9" y="0"/>
                      <a:pt x="0" y="8"/>
                      <a:pt x="0" y="19"/>
                    </a:cubicBezTo>
                    <a:cubicBezTo>
                      <a:pt x="0" y="29"/>
                      <a:pt x="9" y="37"/>
                      <a:pt x="19" y="37"/>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66">
                <a:extLst>
                  <a:ext uri="{FF2B5EF4-FFF2-40B4-BE49-F238E27FC236}">
                    <a16:creationId xmlns:a16="http://schemas.microsoft.com/office/drawing/2014/main" id="{3F0CF0A3-7F35-42E5-88B7-7F5640B50727}"/>
                  </a:ext>
                </a:extLst>
              </p:cNvPr>
              <p:cNvSpPr>
                <a:spLocks/>
              </p:cNvSpPr>
              <p:nvPr/>
            </p:nvSpPr>
            <p:spPr bwMode="auto">
              <a:xfrm>
                <a:off x="-2840038" y="2276476"/>
                <a:ext cx="276225" cy="71438"/>
              </a:xfrm>
              <a:custGeom>
                <a:avLst/>
                <a:gdLst>
                  <a:gd name="T0" fmla="*/ 127 w 145"/>
                  <a:gd name="T1" fmla="*/ 0 h 37"/>
                  <a:gd name="T2" fmla="*/ 19 w 145"/>
                  <a:gd name="T3" fmla="*/ 0 h 37"/>
                  <a:gd name="T4" fmla="*/ 0 w 145"/>
                  <a:gd name="T5" fmla="*/ 19 h 37"/>
                  <a:gd name="T6" fmla="*/ 19 w 145"/>
                  <a:gd name="T7" fmla="*/ 37 h 37"/>
                  <a:gd name="T8" fmla="*/ 127 w 145"/>
                  <a:gd name="T9" fmla="*/ 37 h 37"/>
                  <a:gd name="T10" fmla="*/ 145 w 145"/>
                  <a:gd name="T11" fmla="*/ 19 h 37"/>
                  <a:gd name="T12" fmla="*/ 127 w 14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45" h="37">
                    <a:moveTo>
                      <a:pt x="127" y="0"/>
                    </a:moveTo>
                    <a:cubicBezTo>
                      <a:pt x="19" y="0"/>
                      <a:pt x="19" y="0"/>
                      <a:pt x="19" y="0"/>
                    </a:cubicBezTo>
                    <a:cubicBezTo>
                      <a:pt x="9" y="0"/>
                      <a:pt x="0" y="8"/>
                      <a:pt x="0" y="19"/>
                    </a:cubicBezTo>
                    <a:cubicBezTo>
                      <a:pt x="0" y="29"/>
                      <a:pt x="9" y="37"/>
                      <a:pt x="19" y="37"/>
                    </a:cubicBezTo>
                    <a:cubicBezTo>
                      <a:pt x="127" y="37"/>
                      <a:pt x="127" y="37"/>
                      <a:pt x="127" y="37"/>
                    </a:cubicBezTo>
                    <a:cubicBezTo>
                      <a:pt x="137" y="37"/>
                      <a:pt x="145" y="29"/>
                      <a:pt x="145" y="19"/>
                    </a:cubicBezTo>
                    <a:cubicBezTo>
                      <a:pt x="145" y="8"/>
                      <a:pt x="137" y="0"/>
                      <a:pt x="127"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67">
                <a:extLst>
                  <a:ext uri="{FF2B5EF4-FFF2-40B4-BE49-F238E27FC236}">
                    <a16:creationId xmlns:a16="http://schemas.microsoft.com/office/drawing/2014/main" id="{DB1B40D7-3D3B-4FE7-B46D-631D3AC070B3}"/>
                  </a:ext>
                </a:extLst>
              </p:cNvPr>
              <p:cNvSpPr>
                <a:spLocks/>
              </p:cNvSpPr>
              <p:nvPr/>
            </p:nvSpPr>
            <p:spPr bwMode="auto">
              <a:xfrm>
                <a:off x="-1608138" y="2276476"/>
                <a:ext cx="276225" cy="71438"/>
              </a:xfrm>
              <a:custGeom>
                <a:avLst/>
                <a:gdLst>
                  <a:gd name="T0" fmla="*/ 127 w 145"/>
                  <a:gd name="T1" fmla="*/ 0 h 37"/>
                  <a:gd name="T2" fmla="*/ 19 w 145"/>
                  <a:gd name="T3" fmla="*/ 0 h 37"/>
                  <a:gd name="T4" fmla="*/ 0 w 145"/>
                  <a:gd name="T5" fmla="*/ 19 h 37"/>
                  <a:gd name="T6" fmla="*/ 19 w 145"/>
                  <a:gd name="T7" fmla="*/ 37 h 37"/>
                  <a:gd name="T8" fmla="*/ 127 w 145"/>
                  <a:gd name="T9" fmla="*/ 37 h 37"/>
                  <a:gd name="T10" fmla="*/ 145 w 145"/>
                  <a:gd name="T11" fmla="*/ 19 h 37"/>
                  <a:gd name="T12" fmla="*/ 127 w 14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45" h="37">
                    <a:moveTo>
                      <a:pt x="127" y="0"/>
                    </a:moveTo>
                    <a:cubicBezTo>
                      <a:pt x="19" y="0"/>
                      <a:pt x="19" y="0"/>
                      <a:pt x="19" y="0"/>
                    </a:cubicBezTo>
                    <a:cubicBezTo>
                      <a:pt x="9" y="0"/>
                      <a:pt x="0" y="8"/>
                      <a:pt x="0" y="19"/>
                    </a:cubicBezTo>
                    <a:cubicBezTo>
                      <a:pt x="0" y="29"/>
                      <a:pt x="9" y="37"/>
                      <a:pt x="19" y="37"/>
                    </a:cubicBezTo>
                    <a:cubicBezTo>
                      <a:pt x="127" y="37"/>
                      <a:pt x="127" y="37"/>
                      <a:pt x="127" y="37"/>
                    </a:cubicBezTo>
                    <a:cubicBezTo>
                      <a:pt x="137" y="37"/>
                      <a:pt x="145" y="29"/>
                      <a:pt x="145" y="19"/>
                    </a:cubicBezTo>
                    <a:cubicBezTo>
                      <a:pt x="145" y="8"/>
                      <a:pt x="137" y="0"/>
                      <a:pt x="127"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68">
                <a:extLst>
                  <a:ext uri="{FF2B5EF4-FFF2-40B4-BE49-F238E27FC236}">
                    <a16:creationId xmlns:a16="http://schemas.microsoft.com/office/drawing/2014/main" id="{82F30E8F-B13D-4C28-B2EE-CBFFA1CBB4AD}"/>
                  </a:ext>
                </a:extLst>
              </p:cNvPr>
              <p:cNvSpPr>
                <a:spLocks/>
              </p:cNvSpPr>
              <p:nvPr/>
            </p:nvSpPr>
            <p:spPr bwMode="auto">
              <a:xfrm>
                <a:off x="-3140076" y="2276476"/>
                <a:ext cx="165100" cy="71438"/>
              </a:xfrm>
              <a:custGeom>
                <a:avLst/>
                <a:gdLst>
                  <a:gd name="T0" fmla="*/ 19 w 87"/>
                  <a:gd name="T1" fmla="*/ 37 h 37"/>
                  <a:gd name="T2" fmla="*/ 69 w 87"/>
                  <a:gd name="T3" fmla="*/ 37 h 37"/>
                  <a:gd name="T4" fmla="*/ 87 w 87"/>
                  <a:gd name="T5" fmla="*/ 19 h 37"/>
                  <a:gd name="T6" fmla="*/ 69 w 87"/>
                  <a:gd name="T7" fmla="*/ 0 h 37"/>
                  <a:gd name="T8" fmla="*/ 19 w 87"/>
                  <a:gd name="T9" fmla="*/ 0 h 37"/>
                  <a:gd name="T10" fmla="*/ 0 w 87"/>
                  <a:gd name="T11" fmla="*/ 19 h 37"/>
                  <a:gd name="T12" fmla="*/ 19 w 87"/>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87" h="37">
                    <a:moveTo>
                      <a:pt x="19" y="37"/>
                    </a:moveTo>
                    <a:cubicBezTo>
                      <a:pt x="69" y="37"/>
                      <a:pt x="69" y="37"/>
                      <a:pt x="69" y="37"/>
                    </a:cubicBezTo>
                    <a:cubicBezTo>
                      <a:pt x="79" y="37"/>
                      <a:pt x="87" y="29"/>
                      <a:pt x="87" y="19"/>
                    </a:cubicBezTo>
                    <a:cubicBezTo>
                      <a:pt x="87" y="8"/>
                      <a:pt x="79" y="0"/>
                      <a:pt x="69" y="0"/>
                    </a:cubicBezTo>
                    <a:cubicBezTo>
                      <a:pt x="19" y="0"/>
                      <a:pt x="19" y="0"/>
                      <a:pt x="19" y="0"/>
                    </a:cubicBezTo>
                    <a:cubicBezTo>
                      <a:pt x="8" y="0"/>
                      <a:pt x="0" y="8"/>
                      <a:pt x="0" y="19"/>
                    </a:cubicBezTo>
                    <a:cubicBezTo>
                      <a:pt x="0" y="29"/>
                      <a:pt x="8" y="37"/>
                      <a:pt x="19" y="37"/>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69">
                <a:extLst>
                  <a:ext uri="{FF2B5EF4-FFF2-40B4-BE49-F238E27FC236}">
                    <a16:creationId xmlns:a16="http://schemas.microsoft.com/office/drawing/2014/main" id="{02ECF21C-CF1D-4873-BCF9-F4936458A012}"/>
                  </a:ext>
                </a:extLst>
              </p:cNvPr>
              <p:cNvSpPr>
                <a:spLocks/>
              </p:cNvSpPr>
              <p:nvPr/>
            </p:nvSpPr>
            <p:spPr bwMode="auto">
              <a:xfrm>
                <a:off x="-2536826" y="2443163"/>
                <a:ext cx="377825" cy="630238"/>
              </a:xfrm>
              <a:custGeom>
                <a:avLst/>
                <a:gdLst>
                  <a:gd name="T0" fmla="*/ 179 w 198"/>
                  <a:gd name="T1" fmla="*/ 330 h 330"/>
                  <a:gd name="T2" fmla="*/ 198 w 198"/>
                  <a:gd name="T3" fmla="*/ 311 h 330"/>
                  <a:gd name="T4" fmla="*/ 198 w 198"/>
                  <a:gd name="T5" fmla="*/ 20 h 330"/>
                  <a:gd name="T6" fmla="*/ 188 w 198"/>
                  <a:gd name="T7" fmla="*/ 3 h 330"/>
                  <a:gd name="T8" fmla="*/ 169 w 198"/>
                  <a:gd name="T9" fmla="*/ 4 h 330"/>
                  <a:gd name="T10" fmla="*/ 45 w 198"/>
                  <a:gd name="T11" fmla="*/ 87 h 330"/>
                  <a:gd name="T12" fmla="*/ 52 w 198"/>
                  <a:gd name="T13" fmla="*/ 45 h 330"/>
                  <a:gd name="T14" fmla="*/ 36 w 198"/>
                  <a:gd name="T15" fmla="*/ 23 h 330"/>
                  <a:gd name="T16" fmla="*/ 15 w 198"/>
                  <a:gd name="T17" fmla="*/ 39 h 330"/>
                  <a:gd name="T18" fmla="*/ 1 w 198"/>
                  <a:gd name="T19" fmla="*/ 122 h 330"/>
                  <a:gd name="T20" fmla="*/ 1 w 198"/>
                  <a:gd name="T21" fmla="*/ 128 h 330"/>
                  <a:gd name="T22" fmla="*/ 16 w 198"/>
                  <a:gd name="T23" fmla="*/ 147 h 330"/>
                  <a:gd name="T24" fmla="*/ 103 w 198"/>
                  <a:gd name="T25" fmla="*/ 161 h 330"/>
                  <a:gd name="T26" fmla="*/ 106 w 198"/>
                  <a:gd name="T27" fmla="*/ 161 h 330"/>
                  <a:gd name="T28" fmla="*/ 124 w 198"/>
                  <a:gd name="T29" fmla="*/ 145 h 330"/>
                  <a:gd name="T30" fmla="*/ 109 w 198"/>
                  <a:gd name="T31" fmla="*/ 124 h 330"/>
                  <a:gd name="T32" fmla="*/ 67 w 198"/>
                  <a:gd name="T33" fmla="*/ 117 h 330"/>
                  <a:gd name="T34" fmla="*/ 161 w 198"/>
                  <a:gd name="T35" fmla="*/ 55 h 330"/>
                  <a:gd name="T36" fmla="*/ 161 w 198"/>
                  <a:gd name="T37" fmla="*/ 311 h 330"/>
                  <a:gd name="T38" fmla="*/ 179 w 198"/>
                  <a:gd name="T39"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330">
                    <a:moveTo>
                      <a:pt x="179" y="330"/>
                    </a:moveTo>
                    <a:cubicBezTo>
                      <a:pt x="190" y="330"/>
                      <a:pt x="198" y="321"/>
                      <a:pt x="198" y="311"/>
                    </a:cubicBezTo>
                    <a:cubicBezTo>
                      <a:pt x="198" y="20"/>
                      <a:pt x="198" y="20"/>
                      <a:pt x="198" y="20"/>
                    </a:cubicBezTo>
                    <a:cubicBezTo>
                      <a:pt x="198" y="13"/>
                      <a:pt x="194" y="6"/>
                      <a:pt x="188" y="3"/>
                    </a:cubicBezTo>
                    <a:cubicBezTo>
                      <a:pt x="182" y="0"/>
                      <a:pt x="175" y="0"/>
                      <a:pt x="169" y="4"/>
                    </a:cubicBezTo>
                    <a:cubicBezTo>
                      <a:pt x="45" y="87"/>
                      <a:pt x="45" y="87"/>
                      <a:pt x="45" y="87"/>
                    </a:cubicBezTo>
                    <a:cubicBezTo>
                      <a:pt x="52" y="45"/>
                      <a:pt x="52" y="45"/>
                      <a:pt x="52" y="45"/>
                    </a:cubicBezTo>
                    <a:cubicBezTo>
                      <a:pt x="53" y="35"/>
                      <a:pt x="46" y="25"/>
                      <a:pt x="36" y="23"/>
                    </a:cubicBezTo>
                    <a:cubicBezTo>
                      <a:pt x="26" y="22"/>
                      <a:pt x="16" y="29"/>
                      <a:pt x="15" y="39"/>
                    </a:cubicBezTo>
                    <a:cubicBezTo>
                      <a:pt x="1" y="122"/>
                      <a:pt x="1" y="122"/>
                      <a:pt x="1" y="122"/>
                    </a:cubicBezTo>
                    <a:cubicBezTo>
                      <a:pt x="1" y="124"/>
                      <a:pt x="1" y="126"/>
                      <a:pt x="1" y="128"/>
                    </a:cubicBezTo>
                    <a:cubicBezTo>
                      <a:pt x="0" y="137"/>
                      <a:pt x="7" y="145"/>
                      <a:pt x="16" y="147"/>
                    </a:cubicBezTo>
                    <a:cubicBezTo>
                      <a:pt x="103" y="161"/>
                      <a:pt x="103" y="161"/>
                      <a:pt x="103" y="161"/>
                    </a:cubicBezTo>
                    <a:cubicBezTo>
                      <a:pt x="104" y="161"/>
                      <a:pt x="105" y="161"/>
                      <a:pt x="106" y="161"/>
                    </a:cubicBezTo>
                    <a:cubicBezTo>
                      <a:pt x="115" y="161"/>
                      <a:pt x="123" y="154"/>
                      <a:pt x="124" y="145"/>
                    </a:cubicBezTo>
                    <a:cubicBezTo>
                      <a:pt x="126" y="135"/>
                      <a:pt x="119" y="126"/>
                      <a:pt x="109" y="124"/>
                    </a:cubicBezTo>
                    <a:cubicBezTo>
                      <a:pt x="67" y="117"/>
                      <a:pt x="67" y="117"/>
                      <a:pt x="67" y="117"/>
                    </a:cubicBezTo>
                    <a:cubicBezTo>
                      <a:pt x="161" y="55"/>
                      <a:pt x="161" y="55"/>
                      <a:pt x="161" y="55"/>
                    </a:cubicBezTo>
                    <a:cubicBezTo>
                      <a:pt x="161" y="311"/>
                      <a:pt x="161" y="311"/>
                      <a:pt x="161" y="311"/>
                    </a:cubicBezTo>
                    <a:cubicBezTo>
                      <a:pt x="161" y="321"/>
                      <a:pt x="169" y="330"/>
                      <a:pt x="179" y="33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70">
                <a:extLst>
                  <a:ext uri="{FF2B5EF4-FFF2-40B4-BE49-F238E27FC236}">
                    <a16:creationId xmlns:a16="http://schemas.microsoft.com/office/drawing/2014/main" id="{0DBCC537-CB93-4716-AB44-2DE465B65763}"/>
                  </a:ext>
                </a:extLst>
              </p:cNvPr>
              <p:cNvSpPr>
                <a:spLocks/>
              </p:cNvSpPr>
              <p:nvPr/>
            </p:nvSpPr>
            <p:spPr bwMode="auto">
              <a:xfrm>
                <a:off x="-2011363" y="2443163"/>
                <a:ext cx="376238" cy="630238"/>
              </a:xfrm>
              <a:custGeom>
                <a:avLst/>
                <a:gdLst>
                  <a:gd name="T0" fmla="*/ 196 w 197"/>
                  <a:gd name="T1" fmla="*/ 122 h 330"/>
                  <a:gd name="T2" fmla="*/ 183 w 197"/>
                  <a:gd name="T3" fmla="*/ 39 h 330"/>
                  <a:gd name="T4" fmla="*/ 161 w 197"/>
                  <a:gd name="T5" fmla="*/ 23 h 330"/>
                  <a:gd name="T6" fmla="*/ 146 w 197"/>
                  <a:gd name="T7" fmla="*/ 45 h 330"/>
                  <a:gd name="T8" fmla="*/ 153 w 197"/>
                  <a:gd name="T9" fmla="*/ 87 h 330"/>
                  <a:gd name="T10" fmla="*/ 29 w 197"/>
                  <a:gd name="T11" fmla="*/ 4 h 330"/>
                  <a:gd name="T12" fmla="*/ 10 w 197"/>
                  <a:gd name="T13" fmla="*/ 3 h 330"/>
                  <a:gd name="T14" fmla="*/ 0 w 197"/>
                  <a:gd name="T15" fmla="*/ 20 h 330"/>
                  <a:gd name="T16" fmla="*/ 0 w 197"/>
                  <a:gd name="T17" fmla="*/ 311 h 330"/>
                  <a:gd name="T18" fmla="*/ 18 w 197"/>
                  <a:gd name="T19" fmla="*/ 330 h 330"/>
                  <a:gd name="T20" fmla="*/ 37 w 197"/>
                  <a:gd name="T21" fmla="*/ 311 h 330"/>
                  <a:gd name="T22" fmla="*/ 37 w 197"/>
                  <a:gd name="T23" fmla="*/ 55 h 330"/>
                  <a:gd name="T24" fmla="*/ 130 w 197"/>
                  <a:gd name="T25" fmla="*/ 117 h 330"/>
                  <a:gd name="T26" fmla="*/ 89 w 197"/>
                  <a:gd name="T27" fmla="*/ 124 h 330"/>
                  <a:gd name="T28" fmla="*/ 73 w 197"/>
                  <a:gd name="T29" fmla="*/ 145 h 330"/>
                  <a:gd name="T30" fmla="*/ 92 w 197"/>
                  <a:gd name="T31" fmla="*/ 161 h 330"/>
                  <a:gd name="T32" fmla="*/ 95 w 197"/>
                  <a:gd name="T33" fmla="*/ 161 h 330"/>
                  <a:gd name="T34" fmla="*/ 181 w 197"/>
                  <a:gd name="T35" fmla="*/ 147 h 330"/>
                  <a:gd name="T36" fmla="*/ 197 w 197"/>
                  <a:gd name="T37" fmla="*/ 128 h 330"/>
                  <a:gd name="T38" fmla="*/ 196 w 197"/>
                  <a:gd name="T39" fmla="*/ 1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7" h="330">
                    <a:moveTo>
                      <a:pt x="196" y="122"/>
                    </a:moveTo>
                    <a:cubicBezTo>
                      <a:pt x="183" y="39"/>
                      <a:pt x="183" y="39"/>
                      <a:pt x="183" y="39"/>
                    </a:cubicBezTo>
                    <a:cubicBezTo>
                      <a:pt x="181" y="29"/>
                      <a:pt x="172" y="22"/>
                      <a:pt x="161" y="23"/>
                    </a:cubicBezTo>
                    <a:cubicBezTo>
                      <a:pt x="151" y="25"/>
                      <a:pt x="144" y="35"/>
                      <a:pt x="146" y="45"/>
                    </a:cubicBezTo>
                    <a:cubicBezTo>
                      <a:pt x="153" y="87"/>
                      <a:pt x="153" y="87"/>
                      <a:pt x="153" y="87"/>
                    </a:cubicBezTo>
                    <a:cubicBezTo>
                      <a:pt x="29" y="4"/>
                      <a:pt x="29" y="4"/>
                      <a:pt x="29" y="4"/>
                    </a:cubicBezTo>
                    <a:cubicBezTo>
                      <a:pt x="23" y="0"/>
                      <a:pt x="16" y="0"/>
                      <a:pt x="10" y="3"/>
                    </a:cubicBezTo>
                    <a:cubicBezTo>
                      <a:pt x="4" y="6"/>
                      <a:pt x="0" y="13"/>
                      <a:pt x="0" y="20"/>
                    </a:cubicBezTo>
                    <a:cubicBezTo>
                      <a:pt x="0" y="311"/>
                      <a:pt x="0" y="311"/>
                      <a:pt x="0" y="311"/>
                    </a:cubicBezTo>
                    <a:cubicBezTo>
                      <a:pt x="0" y="321"/>
                      <a:pt x="8" y="330"/>
                      <a:pt x="18" y="330"/>
                    </a:cubicBezTo>
                    <a:cubicBezTo>
                      <a:pt x="29" y="330"/>
                      <a:pt x="37" y="321"/>
                      <a:pt x="37" y="311"/>
                    </a:cubicBezTo>
                    <a:cubicBezTo>
                      <a:pt x="37" y="55"/>
                      <a:pt x="37" y="55"/>
                      <a:pt x="37" y="55"/>
                    </a:cubicBezTo>
                    <a:cubicBezTo>
                      <a:pt x="130" y="117"/>
                      <a:pt x="130" y="117"/>
                      <a:pt x="130" y="117"/>
                    </a:cubicBezTo>
                    <a:cubicBezTo>
                      <a:pt x="89" y="124"/>
                      <a:pt x="89" y="124"/>
                      <a:pt x="89" y="124"/>
                    </a:cubicBezTo>
                    <a:cubicBezTo>
                      <a:pt x="79" y="126"/>
                      <a:pt x="72" y="135"/>
                      <a:pt x="73" y="145"/>
                    </a:cubicBezTo>
                    <a:cubicBezTo>
                      <a:pt x="75" y="154"/>
                      <a:pt x="83" y="161"/>
                      <a:pt x="92" y="161"/>
                    </a:cubicBezTo>
                    <a:cubicBezTo>
                      <a:pt x="93" y="161"/>
                      <a:pt x="94" y="161"/>
                      <a:pt x="95" y="161"/>
                    </a:cubicBezTo>
                    <a:cubicBezTo>
                      <a:pt x="181" y="147"/>
                      <a:pt x="181" y="147"/>
                      <a:pt x="181" y="147"/>
                    </a:cubicBezTo>
                    <a:cubicBezTo>
                      <a:pt x="191" y="145"/>
                      <a:pt x="197" y="137"/>
                      <a:pt x="197" y="128"/>
                    </a:cubicBezTo>
                    <a:cubicBezTo>
                      <a:pt x="197" y="126"/>
                      <a:pt x="197" y="124"/>
                      <a:pt x="196" y="122"/>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1">
                <a:extLst>
                  <a:ext uri="{FF2B5EF4-FFF2-40B4-BE49-F238E27FC236}">
                    <a16:creationId xmlns:a16="http://schemas.microsoft.com/office/drawing/2014/main" id="{66A71F1D-8E2A-403B-8124-D06EFFF0382E}"/>
                  </a:ext>
                </a:extLst>
              </p:cNvPr>
              <p:cNvSpPr>
                <a:spLocks/>
              </p:cNvSpPr>
              <p:nvPr/>
            </p:nvSpPr>
            <p:spPr bwMode="auto">
              <a:xfrm>
                <a:off x="-2986088" y="1471613"/>
                <a:ext cx="666750" cy="334963"/>
              </a:xfrm>
              <a:custGeom>
                <a:avLst/>
                <a:gdLst>
                  <a:gd name="T0" fmla="*/ 40 w 349"/>
                  <a:gd name="T1" fmla="*/ 175 h 175"/>
                  <a:gd name="T2" fmla="*/ 89 w 349"/>
                  <a:gd name="T3" fmla="*/ 175 h 175"/>
                  <a:gd name="T4" fmla="*/ 108 w 349"/>
                  <a:gd name="T5" fmla="*/ 156 h 175"/>
                  <a:gd name="T6" fmla="*/ 89 w 349"/>
                  <a:gd name="T7" fmla="*/ 137 h 175"/>
                  <a:gd name="T8" fmla="*/ 40 w 349"/>
                  <a:gd name="T9" fmla="*/ 137 h 175"/>
                  <a:gd name="T10" fmla="*/ 39 w 349"/>
                  <a:gd name="T11" fmla="*/ 137 h 175"/>
                  <a:gd name="T12" fmla="*/ 37 w 349"/>
                  <a:gd name="T13" fmla="*/ 122 h 175"/>
                  <a:gd name="T14" fmla="*/ 98 w 349"/>
                  <a:gd name="T15" fmla="*/ 62 h 175"/>
                  <a:gd name="T16" fmla="*/ 121 w 349"/>
                  <a:gd name="T17" fmla="*/ 66 h 175"/>
                  <a:gd name="T18" fmla="*/ 142 w 349"/>
                  <a:gd name="T19" fmla="*/ 62 h 175"/>
                  <a:gd name="T20" fmla="*/ 197 w 349"/>
                  <a:gd name="T21" fmla="*/ 37 h 175"/>
                  <a:gd name="T22" fmla="*/ 261 w 349"/>
                  <a:gd name="T23" fmla="*/ 76 h 175"/>
                  <a:gd name="T24" fmla="*/ 273 w 349"/>
                  <a:gd name="T25" fmla="*/ 85 h 175"/>
                  <a:gd name="T26" fmla="*/ 312 w 349"/>
                  <a:gd name="T27" fmla="*/ 134 h 175"/>
                  <a:gd name="T28" fmla="*/ 312 w 349"/>
                  <a:gd name="T29" fmla="*/ 136 h 175"/>
                  <a:gd name="T30" fmla="*/ 311 w 349"/>
                  <a:gd name="T31" fmla="*/ 137 h 175"/>
                  <a:gd name="T32" fmla="*/ 142 w 349"/>
                  <a:gd name="T33" fmla="*/ 137 h 175"/>
                  <a:gd name="T34" fmla="*/ 123 w 349"/>
                  <a:gd name="T35" fmla="*/ 156 h 175"/>
                  <a:gd name="T36" fmla="*/ 142 w 349"/>
                  <a:gd name="T37" fmla="*/ 175 h 175"/>
                  <a:gd name="T38" fmla="*/ 311 w 349"/>
                  <a:gd name="T39" fmla="*/ 175 h 175"/>
                  <a:gd name="T40" fmla="*/ 349 w 349"/>
                  <a:gd name="T41" fmla="*/ 139 h 175"/>
                  <a:gd name="T42" fmla="*/ 349 w 349"/>
                  <a:gd name="T43" fmla="*/ 137 h 175"/>
                  <a:gd name="T44" fmla="*/ 349 w 349"/>
                  <a:gd name="T45" fmla="*/ 134 h 175"/>
                  <a:gd name="T46" fmla="*/ 290 w 349"/>
                  <a:gd name="T47" fmla="*/ 51 h 175"/>
                  <a:gd name="T48" fmla="*/ 197 w 349"/>
                  <a:gd name="T49" fmla="*/ 0 h 175"/>
                  <a:gd name="T50" fmla="*/ 124 w 349"/>
                  <a:gd name="T51" fmla="*/ 28 h 175"/>
                  <a:gd name="T52" fmla="*/ 98 w 349"/>
                  <a:gd name="T53" fmla="*/ 24 h 175"/>
                  <a:gd name="T54" fmla="*/ 0 w 349"/>
                  <a:gd name="T55" fmla="*/ 122 h 175"/>
                  <a:gd name="T56" fmla="*/ 3 w 349"/>
                  <a:gd name="T57" fmla="*/ 145 h 175"/>
                  <a:gd name="T58" fmla="*/ 40 w 349"/>
                  <a:gd name="T5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175">
                    <a:moveTo>
                      <a:pt x="40" y="175"/>
                    </a:moveTo>
                    <a:cubicBezTo>
                      <a:pt x="89" y="175"/>
                      <a:pt x="89" y="175"/>
                      <a:pt x="89" y="175"/>
                    </a:cubicBezTo>
                    <a:cubicBezTo>
                      <a:pt x="99" y="175"/>
                      <a:pt x="108" y="166"/>
                      <a:pt x="108" y="156"/>
                    </a:cubicBezTo>
                    <a:cubicBezTo>
                      <a:pt x="108" y="146"/>
                      <a:pt x="99" y="137"/>
                      <a:pt x="89" y="137"/>
                    </a:cubicBezTo>
                    <a:cubicBezTo>
                      <a:pt x="40" y="137"/>
                      <a:pt x="40" y="137"/>
                      <a:pt x="40" y="137"/>
                    </a:cubicBezTo>
                    <a:cubicBezTo>
                      <a:pt x="40" y="137"/>
                      <a:pt x="39" y="137"/>
                      <a:pt x="39" y="137"/>
                    </a:cubicBezTo>
                    <a:cubicBezTo>
                      <a:pt x="38" y="131"/>
                      <a:pt x="37" y="126"/>
                      <a:pt x="37" y="122"/>
                    </a:cubicBezTo>
                    <a:cubicBezTo>
                      <a:pt x="37" y="89"/>
                      <a:pt x="65" y="62"/>
                      <a:pt x="98" y="62"/>
                    </a:cubicBezTo>
                    <a:cubicBezTo>
                      <a:pt x="106" y="62"/>
                      <a:pt x="114" y="63"/>
                      <a:pt x="121" y="66"/>
                    </a:cubicBezTo>
                    <a:cubicBezTo>
                      <a:pt x="129" y="70"/>
                      <a:pt x="137" y="68"/>
                      <a:pt x="142" y="62"/>
                    </a:cubicBezTo>
                    <a:cubicBezTo>
                      <a:pt x="156" y="46"/>
                      <a:pt x="176" y="37"/>
                      <a:pt x="197" y="37"/>
                    </a:cubicBezTo>
                    <a:cubicBezTo>
                      <a:pt x="223" y="37"/>
                      <a:pt x="248" y="52"/>
                      <a:pt x="261" y="76"/>
                    </a:cubicBezTo>
                    <a:cubicBezTo>
                      <a:pt x="264" y="80"/>
                      <a:pt x="268" y="84"/>
                      <a:pt x="273" y="85"/>
                    </a:cubicBezTo>
                    <a:cubicBezTo>
                      <a:pt x="296" y="90"/>
                      <a:pt x="312" y="111"/>
                      <a:pt x="312" y="134"/>
                    </a:cubicBezTo>
                    <a:cubicBezTo>
                      <a:pt x="312" y="136"/>
                      <a:pt x="312" y="136"/>
                      <a:pt x="312" y="136"/>
                    </a:cubicBezTo>
                    <a:cubicBezTo>
                      <a:pt x="312" y="137"/>
                      <a:pt x="311" y="137"/>
                      <a:pt x="311" y="137"/>
                    </a:cubicBezTo>
                    <a:cubicBezTo>
                      <a:pt x="142" y="137"/>
                      <a:pt x="142" y="137"/>
                      <a:pt x="142" y="137"/>
                    </a:cubicBezTo>
                    <a:cubicBezTo>
                      <a:pt x="132" y="137"/>
                      <a:pt x="123" y="146"/>
                      <a:pt x="123" y="156"/>
                    </a:cubicBezTo>
                    <a:cubicBezTo>
                      <a:pt x="123" y="166"/>
                      <a:pt x="132" y="175"/>
                      <a:pt x="142" y="175"/>
                    </a:cubicBezTo>
                    <a:cubicBezTo>
                      <a:pt x="311" y="175"/>
                      <a:pt x="311" y="175"/>
                      <a:pt x="311" y="175"/>
                    </a:cubicBezTo>
                    <a:cubicBezTo>
                      <a:pt x="331" y="175"/>
                      <a:pt x="347" y="159"/>
                      <a:pt x="349" y="139"/>
                    </a:cubicBezTo>
                    <a:cubicBezTo>
                      <a:pt x="349" y="139"/>
                      <a:pt x="349" y="138"/>
                      <a:pt x="349" y="137"/>
                    </a:cubicBezTo>
                    <a:cubicBezTo>
                      <a:pt x="349" y="134"/>
                      <a:pt x="349" y="134"/>
                      <a:pt x="349" y="134"/>
                    </a:cubicBezTo>
                    <a:cubicBezTo>
                      <a:pt x="349" y="96"/>
                      <a:pt x="325" y="63"/>
                      <a:pt x="290" y="51"/>
                    </a:cubicBezTo>
                    <a:cubicBezTo>
                      <a:pt x="269" y="19"/>
                      <a:pt x="234" y="0"/>
                      <a:pt x="197" y="0"/>
                    </a:cubicBezTo>
                    <a:cubicBezTo>
                      <a:pt x="170" y="0"/>
                      <a:pt x="144" y="10"/>
                      <a:pt x="124" y="28"/>
                    </a:cubicBezTo>
                    <a:cubicBezTo>
                      <a:pt x="115" y="25"/>
                      <a:pt x="107" y="24"/>
                      <a:pt x="98" y="24"/>
                    </a:cubicBezTo>
                    <a:cubicBezTo>
                      <a:pt x="44" y="24"/>
                      <a:pt x="0" y="68"/>
                      <a:pt x="0" y="122"/>
                    </a:cubicBezTo>
                    <a:cubicBezTo>
                      <a:pt x="0" y="129"/>
                      <a:pt x="1" y="136"/>
                      <a:pt x="3" y="145"/>
                    </a:cubicBezTo>
                    <a:cubicBezTo>
                      <a:pt x="7" y="163"/>
                      <a:pt x="22" y="175"/>
                      <a:pt x="40" y="175"/>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72">
                <a:extLst>
                  <a:ext uri="{FF2B5EF4-FFF2-40B4-BE49-F238E27FC236}">
                    <a16:creationId xmlns:a16="http://schemas.microsoft.com/office/drawing/2014/main" id="{D1AAEFE0-3DE6-45FD-94D8-C889ADCFE6C1}"/>
                  </a:ext>
                </a:extLst>
              </p:cNvPr>
              <p:cNvSpPr>
                <a:spLocks/>
              </p:cNvSpPr>
              <p:nvPr/>
            </p:nvSpPr>
            <p:spPr bwMode="auto">
              <a:xfrm>
                <a:off x="-2065338" y="1228726"/>
                <a:ext cx="871538" cy="407988"/>
              </a:xfrm>
              <a:custGeom>
                <a:avLst/>
                <a:gdLst>
                  <a:gd name="T0" fmla="*/ 39 w 456"/>
                  <a:gd name="T1" fmla="*/ 213 h 213"/>
                  <a:gd name="T2" fmla="*/ 284 w 456"/>
                  <a:gd name="T3" fmla="*/ 213 h 213"/>
                  <a:gd name="T4" fmla="*/ 303 w 456"/>
                  <a:gd name="T5" fmla="*/ 194 h 213"/>
                  <a:gd name="T6" fmla="*/ 284 w 456"/>
                  <a:gd name="T7" fmla="*/ 176 h 213"/>
                  <a:gd name="T8" fmla="*/ 38 w 456"/>
                  <a:gd name="T9" fmla="*/ 175 h 213"/>
                  <a:gd name="T10" fmla="*/ 38 w 456"/>
                  <a:gd name="T11" fmla="*/ 172 h 213"/>
                  <a:gd name="T12" fmla="*/ 38 w 456"/>
                  <a:gd name="T13" fmla="*/ 171 h 213"/>
                  <a:gd name="T14" fmla="*/ 93 w 456"/>
                  <a:gd name="T15" fmla="*/ 103 h 213"/>
                  <a:gd name="T16" fmla="*/ 106 w 456"/>
                  <a:gd name="T17" fmla="*/ 93 h 213"/>
                  <a:gd name="T18" fmla="*/ 197 w 456"/>
                  <a:gd name="T19" fmla="*/ 38 h 213"/>
                  <a:gd name="T20" fmla="*/ 275 w 456"/>
                  <a:gd name="T21" fmla="*/ 75 h 213"/>
                  <a:gd name="T22" fmla="*/ 298 w 456"/>
                  <a:gd name="T23" fmla="*/ 80 h 213"/>
                  <a:gd name="T24" fmla="*/ 334 w 456"/>
                  <a:gd name="T25" fmla="*/ 72 h 213"/>
                  <a:gd name="T26" fmla="*/ 418 w 456"/>
                  <a:gd name="T27" fmla="*/ 156 h 213"/>
                  <a:gd name="T28" fmla="*/ 416 w 456"/>
                  <a:gd name="T29" fmla="*/ 175 h 213"/>
                  <a:gd name="T30" fmla="*/ 415 w 456"/>
                  <a:gd name="T31" fmla="*/ 176 h 213"/>
                  <a:gd name="T32" fmla="*/ 349 w 456"/>
                  <a:gd name="T33" fmla="*/ 176 h 213"/>
                  <a:gd name="T34" fmla="*/ 330 w 456"/>
                  <a:gd name="T35" fmla="*/ 194 h 213"/>
                  <a:gd name="T36" fmla="*/ 349 w 456"/>
                  <a:gd name="T37" fmla="*/ 213 h 213"/>
                  <a:gd name="T38" fmla="*/ 415 w 456"/>
                  <a:gd name="T39" fmla="*/ 213 h 213"/>
                  <a:gd name="T40" fmla="*/ 452 w 456"/>
                  <a:gd name="T41" fmla="*/ 183 h 213"/>
                  <a:gd name="T42" fmla="*/ 456 w 456"/>
                  <a:gd name="T43" fmla="*/ 156 h 213"/>
                  <a:gd name="T44" fmla="*/ 334 w 456"/>
                  <a:gd name="T45" fmla="*/ 34 h 213"/>
                  <a:gd name="T46" fmla="*/ 295 w 456"/>
                  <a:gd name="T47" fmla="*/ 41 h 213"/>
                  <a:gd name="T48" fmla="*/ 197 w 456"/>
                  <a:gd name="T49" fmla="*/ 0 h 213"/>
                  <a:gd name="T50" fmla="*/ 77 w 456"/>
                  <a:gd name="T51" fmla="*/ 68 h 213"/>
                  <a:gd name="T52" fmla="*/ 0 w 456"/>
                  <a:gd name="T53" fmla="*/ 171 h 213"/>
                  <a:gd name="T54" fmla="*/ 0 w 456"/>
                  <a:gd name="T55" fmla="*/ 175 h 213"/>
                  <a:gd name="T56" fmla="*/ 1 w 456"/>
                  <a:gd name="T57" fmla="*/ 180 h 213"/>
                  <a:gd name="T58" fmla="*/ 39 w 456"/>
                  <a:gd name="T5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6" h="213">
                    <a:moveTo>
                      <a:pt x="39" y="213"/>
                    </a:moveTo>
                    <a:cubicBezTo>
                      <a:pt x="284" y="213"/>
                      <a:pt x="284" y="213"/>
                      <a:pt x="284" y="213"/>
                    </a:cubicBezTo>
                    <a:cubicBezTo>
                      <a:pt x="295" y="213"/>
                      <a:pt x="303" y="205"/>
                      <a:pt x="303" y="194"/>
                    </a:cubicBezTo>
                    <a:cubicBezTo>
                      <a:pt x="303" y="184"/>
                      <a:pt x="295" y="176"/>
                      <a:pt x="284" y="176"/>
                    </a:cubicBezTo>
                    <a:cubicBezTo>
                      <a:pt x="38" y="175"/>
                      <a:pt x="38" y="175"/>
                      <a:pt x="38" y="175"/>
                    </a:cubicBezTo>
                    <a:cubicBezTo>
                      <a:pt x="38" y="174"/>
                      <a:pt x="38" y="173"/>
                      <a:pt x="38" y="172"/>
                    </a:cubicBezTo>
                    <a:cubicBezTo>
                      <a:pt x="38" y="171"/>
                      <a:pt x="38" y="171"/>
                      <a:pt x="38" y="171"/>
                    </a:cubicBezTo>
                    <a:cubicBezTo>
                      <a:pt x="38" y="138"/>
                      <a:pt x="61" y="109"/>
                      <a:pt x="93" y="103"/>
                    </a:cubicBezTo>
                    <a:cubicBezTo>
                      <a:pt x="99" y="102"/>
                      <a:pt x="104" y="98"/>
                      <a:pt x="106" y="93"/>
                    </a:cubicBezTo>
                    <a:cubicBezTo>
                      <a:pt x="124" y="59"/>
                      <a:pt x="159" y="38"/>
                      <a:pt x="197" y="38"/>
                    </a:cubicBezTo>
                    <a:cubicBezTo>
                      <a:pt x="227" y="38"/>
                      <a:pt x="256" y="51"/>
                      <a:pt x="275" y="75"/>
                    </a:cubicBezTo>
                    <a:cubicBezTo>
                      <a:pt x="281" y="82"/>
                      <a:pt x="290" y="84"/>
                      <a:pt x="298" y="80"/>
                    </a:cubicBezTo>
                    <a:cubicBezTo>
                      <a:pt x="310" y="74"/>
                      <a:pt x="322" y="72"/>
                      <a:pt x="334" y="72"/>
                    </a:cubicBezTo>
                    <a:cubicBezTo>
                      <a:pt x="380" y="72"/>
                      <a:pt x="418" y="109"/>
                      <a:pt x="418" y="156"/>
                    </a:cubicBezTo>
                    <a:cubicBezTo>
                      <a:pt x="418" y="162"/>
                      <a:pt x="417" y="169"/>
                      <a:pt x="416" y="175"/>
                    </a:cubicBezTo>
                    <a:cubicBezTo>
                      <a:pt x="416" y="175"/>
                      <a:pt x="415" y="176"/>
                      <a:pt x="415" y="176"/>
                    </a:cubicBezTo>
                    <a:cubicBezTo>
                      <a:pt x="349" y="176"/>
                      <a:pt x="349" y="176"/>
                      <a:pt x="349" y="176"/>
                    </a:cubicBezTo>
                    <a:cubicBezTo>
                      <a:pt x="338" y="176"/>
                      <a:pt x="330" y="184"/>
                      <a:pt x="330" y="194"/>
                    </a:cubicBezTo>
                    <a:cubicBezTo>
                      <a:pt x="330" y="205"/>
                      <a:pt x="338" y="213"/>
                      <a:pt x="349" y="213"/>
                    </a:cubicBezTo>
                    <a:cubicBezTo>
                      <a:pt x="415" y="213"/>
                      <a:pt x="415" y="213"/>
                      <a:pt x="415" y="213"/>
                    </a:cubicBezTo>
                    <a:cubicBezTo>
                      <a:pt x="433" y="213"/>
                      <a:pt x="448" y="201"/>
                      <a:pt x="452" y="183"/>
                    </a:cubicBezTo>
                    <a:cubicBezTo>
                      <a:pt x="455" y="174"/>
                      <a:pt x="456" y="165"/>
                      <a:pt x="456" y="156"/>
                    </a:cubicBezTo>
                    <a:cubicBezTo>
                      <a:pt x="456" y="89"/>
                      <a:pt x="401" y="34"/>
                      <a:pt x="334" y="34"/>
                    </a:cubicBezTo>
                    <a:cubicBezTo>
                      <a:pt x="321" y="34"/>
                      <a:pt x="308" y="36"/>
                      <a:pt x="295" y="41"/>
                    </a:cubicBezTo>
                    <a:cubicBezTo>
                      <a:pt x="269" y="15"/>
                      <a:pt x="234" y="0"/>
                      <a:pt x="197" y="0"/>
                    </a:cubicBezTo>
                    <a:cubicBezTo>
                      <a:pt x="148" y="0"/>
                      <a:pt x="102" y="27"/>
                      <a:pt x="77" y="68"/>
                    </a:cubicBezTo>
                    <a:cubicBezTo>
                      <a:pt x="32" y="81"/>
                      <a:pt x="0" y="123"/>
                      <a:pt x="0" y="171"/>
                    </a:cubicBezTo>
                    <a:cubicBezTo>
                      <a:pt x="0" y="175"/>
                      <a:pt x="0" y="175"/>
                      <a:pt x="0" y="175"/>
                    </a:cubicBezTo>
                    <a:cubicBezTo>
                      <a:pt x="0" y="177"/>
                      <a:pt x="1" y="178"/>
                      <a:pt x="1" y="180"/>
                    </a:cubicBezTo>
                    <a:cubicBezTo>
                      <a:pt x="3" y="198"/>
                      <a:pt x="20" y="213"/>
                      <a:pt x="39" y="213"/>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73">
                <a:extLst>
                  <a:ext uri="{FF2B5EF4-FFF2-40B4-BE49-F238E27FC236}">
                    <a16:creationId xmlns:a16="http://schemas.microsoft.com/office/drawing/2014/main" id="{3CFB0D88-F16E-439B-BB4B-A199D5E6BDD7}"/>
                  </a:ext>
                </a:extLst>
              </p:cNvPr>
              <p:cNvSpPr>
                <a:spLocks/>
              </p:cNvSpPr>
              <p:nvPr/>
            </p:nvSpPr>
            <p:spPr bwMode="auto">
              <a:xfrm>
                <a:off x="-3140076" y="3121026"/>
                <a:ext cx="2109788" cy="73025"/>
              </a:xfrm>
              <a:custGeom>
                <a:avLst/>
                <a:gdLst>
                  <a:gd name="T0" fmla="*/ 1086 w 1105"/>
                  <a:gd name="T1" fmla="*/ 0 h 38"/>
                  <a:gd name="T2" fmla="*/ 19 w 1105"/>
                  <a:gd name="T3" fmla="*/ 0 h 38"/>
                  <a:gd name="T4" fmla="*/ 0 w 1105"/>
                  <a:gd name="T5" fmla="*/ 19 h 38"/>
                  <a:gd name="T6" fmla="*/ 19 w 1105"/>
                  <a:gd name="T7" fmla="*/ 38 h 38"/>
                  <a:gd name="T8" fmla="*/ 1086 w 1105"/>
                  <a:gd name="T9" fmla="*/ 38 h 38"/>
                  <a:gd name="T10" fmla="*/ 1105 w 1105"/>
                  <a:gd name="T11" fmla="*/ 19 h 38"/>
                  <a:gd name="T12" fmla="*/ 1086 w 1105"/>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105" h="38">
                    <a:moveTo>
                      <a:pt x="1086" y="0"/>
                    </a:moveTo>
                    <a:cubicBezTo>
                      <a:pt x="19" y="0"/>
                      <a:pt x="19" y="0"/>
                      <a:pt x="19" y="0"/>
                    </a:cubicBezTo>
                    <a:cubicBezTo>
                      <a:pt x="8" y="0"/>
                      <a:pt x="0" y="9"/>
                      <a:pt x="0" y="19"/>
                    </a:cubicBezTo>
                    <a:cubicBezTo>
                      <a:pt x="0" y="29"/>
                      <a:pt x="8" y="38"/>
                      <a:pt x="19" y="38"/>
                    </a:cubicBezTo>
                    <a:cubicBezTo>
                      <a:pt x="1086" y="38"/>
                      <a:pt x="1086" y="38"/>
                      <a:pt x="1086" y="38"/>
                    </a:cubicBezTo>
                    <a:cubicBezTo>
                      <a:pt x="1096" y="38"/>
                      <a:pt x="1105" y="29"/>
                      <a:pt x="1105" y="19"/>
                    </a:cubicBezTo>
                    <a:cubicBezTo>
                      <a:pt x="1105" y="9"/>
                      <a:pt x="1096" y="0"/>
                      <a:pt x="1086"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74">
                <a:extLst>
                  <a:ext uri="{FF2B5EF4-FFF2-40B4-BE49-F238E27FC236}">
                    <a16:creationId xmlns:a16="http://schemas.microsoft.com/office/drawing/2014/main" id="{63F95FF7-580C-40C7-A242-DD998D368720}"/>
                  </a:ext>
                </a:extLst>
              </p:cNvPr>
              <p:cNvSpPr>
                <a:spLocks/>
              </p:cNvSpPr>
              <p:nvPr/>
            </p:nvSpPr>
            <p:spPr bwMode="auto">
              <a:xfrm>
                <a:off x="-3140076" y="3284538"/>
                <a:ext cx="1654175" cy="69850"/>
              </a:xfrm>
              <a:custGeom>
                <a:avLst/>
                <a:gdLst>
                  <a:gd name="T0" fmla="*/ 847 w 866"/>
                  <a:gd name="T1" fmla="*/ 0 h 37"/>
                  <a:gd name="T2" fmla="*/ 19 w 866"/>
                  <a:gd name="T3" fmla="*/ 0 h 37"/>
                  <a:gd name="T4" fmla="*/ 0 w 866"/>
                  <a:gd name="T5" fmla="*/ 18 h 37"/>
                  <a:gd name="T6" fmla="*/ 19 w 866"/>
                  <a:gd name="T7" fmla="*/ 37 h 37"/>
                  <a:gd name="T8" fmla="*/ 847 w 866"/>
                  <a:gd name="T9" fmla="*/ 37 h 37"/>
                  <a:gd name="T10" fmla="*/ 866 w 866"/>
                  <a:gd name="T11" fmla="*/ 18 h 37"/>
                  <a:gd name="T12" fmla="*/ 847 w 86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866" h="37">
                    <a:moveTo>
                      <a:pt x="847" y="0"/>
                    </a:moveTo>
                    <a:cubicBezTo>
                      <a:pt x="19" y="0"/>
                      <a:pt x="19" y="0"/>
                      <a:pt x="19" y="0"/>
                    </a:cubicBezTo>
                    <a:cubicBezTo>
                      <a:pt x="8" y="0"/>
                      <a:pt x="0" y="8"/>
                      <a:pt x="0" y="18"/>
                    </a:cubicBezTo>
                    <a:cubicBezTo>
                      <a:pt x="0" y="29"/>
                      <a:pt x="8" y="37"/>
                      <a:pt x="19" y="37"/>
                    </a:cubicBezTo>
                    <a:cubicBezTo>
                      <a:pt x="847" y="37"/>
                      <a:pt x="847" y="37"/>
                      <a:pt x="847" y="37"/>
                    </a:cubicBezTo>
                    <a:cubicBezTo>
                      <a:pt x="857" y="37"/>
                      <a:pt x="866" y="29"/>
                      <a:pt x="866" y="18"/>
                    </a:cubicBezTo>
                    <a:cubicBezTo>
                      <a:pt x="866" y="8"/>
                      <a:pt x="857" y="0"/>
                      <a:pt x="847"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75">
                <a:extLst>
                  <a:ext uri="{FF2B5EF4-FFF2-40B4-BE49-F238E27FC236}">
                    <a16:creationId xmlns:a16="http://schemas.microsoft.com/office/drawing/2014/main" id="{0167FE83-062F-484A-A96F-1214E4706DD5}"/>
                  </a:ext>
                </a:extLst>
              </p:cNvPr>
              <p:cNvSpPr>
                <a:spLocks/>
              </p:cNvSpPr>
              <p:nvPr/>
            </p:nvSpPr>
            <p:spPr bwMode="auto">
              <a:xfrm>
                <a:off x="-1412876" y="3284538"/>
                <a:ext cx="382588" cy="69850"/>
              </a:xfrm>
              <a:custGeom>
                <a:avLst/>
                <a:gdLst>
                  <a:gd name="T0" fmla="*/ 181 w 200"/>
                  <a:gd name="T1" fmla="*/ 0 h 37"/>
                  <a:gd name="T2" fmla="*/ 19 w 200"/>
                  <a:gd name="T3" fmla="*/ 0 h 37"/>
                  <a:gd name="T4" fmla="*/ 0 w 200"/>
                  <a:gd name="T5" fmla="*/ 18 h 37"/>
                  <a:gd name="T6" fmla="*/ 19 w 200"/>
                  <a:gd name="T7" fmla="*/ 37 h 37"/>
                  <a:gd name="T8" fmla="*/ 181 w 200"/>
                  <a:gd name="T9" fmla="*/ 37 h 37"/>
                  <a:gd name="T10" fmla="*/ 200 w 200"/>
                  <a:gd name="T11" fmla="*/ 18 h 37"/>
                  <a:gd name="T12" fmla="*/ 181 w 20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200" h="37">
                    <a:moveTo>
                      <a:pt x="181" y="0"/>
                    </a:moveTo>
                    <a:cubicBezTo>
                      <a:pt x="19" y="0"/>
                      <a:pt x="19" y="0"/>
                      <a:pt x="19" y="0"/>
                    </a:cubicBezTo>
                    <a:cubicBezTo>
                      <a:pt x="8" y="0"/>
                      <a:pt x="0" y="8"/>
                      <a:pt x="0" y="18"/>
                    </a:cubicBezTo>
                    <a:cubicBezTo>
                      <a:pt x="0" y="29"/>
                      <a:pt x="8" y="37"/>
                      <a:pt x="19" y="37"/>
                    </a:cubicBezTo>
                    <a:cubicBezTo>
                      <a:pt x="181" y="37"/>
                      <a:pt x="181" y="37"/>
                      <a:pt x="181" y="37"/>
                    </a:cubicBezTo>
                    <a:cubicBezTo>
                      <a:pt x="191" y="37"/>
                      <a:pt x="200" y="29"/>
                      <a:pt x="200" y="18"/>
                    </a:cubicBezTo>
                    <a:cubicBezTo>
                      <a:pt x="200" y="8"/>
                      <a:pt x="191" y="0"/>
                      <a:pt x="181" y="0"/>
                    </a:cubicBezTo>
                    <a:close/>
                  </a:path>
                </a:pathLst>
              </a:custGeom>
              <a:grpFill/>
              <a:ln w="63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1" name="Oval 20">
            <a:extLst>
              <a:ext uri="{FF2B5EF4-FFF2-40B4-BE49-F238E27FC236}">
                <a16:creationId xmlns:a16="http://schemas.microsoft.com/office/drawing/2014/main" id="{452E2200-017A-C142-A728-BA538260989E}"/>
              </a:ext>
            </a:extLst>
          </p:cNvPr>
          <p:cNvSpPr/>
          <p:nvPr/>
        </p:nvSpPr>
        <p:spPr>
          <a:xfrm>
            <a:off x="1147843" y="1377943"/>
            <a:ext cx="2081774" cy="2354992"/>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21">
            <a:extLst>
              <a:ext uri="{FF2B5EF4-FFF2-40B4-BE49-F238E27FC236}">
                <a16:creationId xmlns:a16="http://schemas.microsoft.com/office/drawing/2014/main" id="{8FBEE491-8254-3041-A88E-F8F3D4367E33}"/>
              </a:ext>
            </a:extLst>
          </p:cNvPr>
          <p:cNvSpPr/>
          <p:nvPr/>
        </p:nvSpPr>
        <p:spPr>
          <a:xfrm>
            <a:off x="0" y="3257550"/>
            <a:ext cx="12192000" cy="15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ooter Placeholder 5"/>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p:cNvSpPr>
            <a:spLocks noGrp="1"/>
          </p:cNvSpPr>
          <p:nvPr>
            <p:ph type="sldNum" sz="quarter" idx="16"/>
          </p:nvPr>
        </p:nvSpPr>
        <p:spPr/>
        <p:txBody>
          <a:bodyPr/>
          <a:lstStyle/>
          <a:p>
            <a:pPr lvl="0"/>
            <a:fld id="{5382645D-9DD6-408C-B0EA-C65795F9B1DE}" type="slidenum">
              <a:rPr lang="en-US" noProof="0" smtClean="0"/>
              <a:pPr lvl="0"/>
              <a:t>18</a:t>
            </a:fld>
            <a:endParaRPr lang="en-US" noProof="0"/>
          </a:p>
        </p:txBody>
      </p:sp>
      <p:sp>
        <p:nvSpPr>
          <p:cNvPr id="23" name="Rectangle 22">
            <a:extLst>
              <a:ext uri="{FF2B5EF4-FFF2-40B4-BE49-F238E27FC236}">
                <a16:creationId xmlns:a16="http://schemas.microsoft.com/office/drawing/2014/main" id="{8C7F1D2C-3727-7543-B388-4A4B8161AECA}"/>
              </a:ext>
            </a:extLst>
          </p:cNvPr>
          <p:cNvSpPr/>
          <p:nvPr/>
        </p:nvSpPr>
        <p:spPr>
          <a:xfrm flipV="1">
            <a:off x="0" y="2442021"/>
            <a:ext cx="12192000" cy="9869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Title 1">
            <a:extLst>
              <a:ext uri="{FF2B5EF4-FFF2-40B4-BE49-F238E27FC236}">
                <a16:creationId xmlns:a16="http://schemas.microsoft.com/office/drawing/2014/main" id="{151595CB-3EB9-BD4D-A738-81970545A25C}"/>
              </a:ext>
            </a:extLst>
          </p:cNvPr>
          <p:cNvSpPr txBox="1">
            <a:spLocks/>
          </p:cNvSpPr>
          <p:nvPr/>
        </p:nvSpPr>
        <p:spPr>
          <a:xfrm>
            <a:off x="3572434" y="2642534"/>
            <a:ext cx="2468879" cy="6463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2000">
                <a:solidFill>
                  <a:schemeClr val="bg1"/>
                </a:solidFill>
                <a:latin typeface="Arial Black" panose="020B0A04020102020204" pitchFamily="34" charset="0"/>
              </a:rPr>
              <a:t>TEMPERATURE</a:t>
            </a:r>
            <a:br>
              <a:rPr lang="en-US" sz="2000">
                <a:solidFill>
                  <a:schemeClr val="bg1"/>
                </a:solidFill>
                <a:latin typeface="Arial Black" panose="020B0A04020102020204" pitchFamily="34" charset="0"/>
              </a:rPr>
            </a:br>
            <a:r>
              <a:rPr lang="en-US" sz="2000">
                <a:solidFill>
                  <a:schemeClr val="bg1"/>
                </a:solidFill>
                <a:latin typeface="Arial Black" panose="020B0A04020102020204" pitchFamily="34" charset="0"/>
              </a:rPr>
              <a:t>INVERSION</a:t>
            </a:r>
          </a:p>
        </p:txBody>
      </p:sp>
      <p:sp>
        <p:nvSpPr>
          <p:cNvPr id="26" name="Title 1">
            <a:extLst>
              <a:ext uri="{FF2B5EF4-FFF2-40B4-BE49-F238E27FC236}">
                <a16:creationId xmlns:a16="http://schemas.microsoft.com/office/drawing/2014/main" id="{E3D3A8B7-9597-6B4A-93BD-516C8E7E5643}"/>
              </a:ext>
            </a:extLst>
          </p:cNvPr>
          <p:cNvSpPr txBox="1">
            <a:spLocks/>
          </p:cNvSpPr>
          <p:nvPr/>
        </p:nvSpPr>
        <p:spPr>
          <a:xfrm>
            <a:off x="6190576" y="2642534"/>
            <a:ext cx="2467476" cy="6463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2000">
                <a:solidFill>
                  <a:schemeClr val="bg1"/>
                </a:solidFill>
                <a:latin typeface="Arial Black" panose="020B0A04020102020204" pitchFamily="34" charset="0"/>
              </a:rPr>
              <a:t>APPLICATION</a:t>
            </a:r>
            <a:br>
              <a:rPr lang="en-US" sz="2000">
                <a:solidFill>
                  <a:schemeClr val="bg1"/>
                </a:solidFill>
                <a:latin typeface="Arial Black" panose="020B0A04020102020204" pitchFamily="34" charset="0"/>
              </a:rPr>
            </a:br>
            <a:r>
              <a:rPr lang="en-US" sz="2000">
                <a:solidFill>
                  <a:schemeClr val="bg1"/>
                </a:solidFill>
                <a:latin typeface="Arial Black" panose="020B0A04020102020204" pitchFamily="34" charset="0"/>
              </a:rPr>
              <a:t>TIMING</a:t>
            </a:r>
          </a:p>
        </p:txBody>
      </p:sp>
      <p:sp>
        <p:nvSpPr>
          <p:cNvPr id="27" name="Title 1">
            <a:extLst>
              <a:ext uri="{FF2B5EF4-FFF2-40B4-BE49-F238E27FC236}">
                <a16:creationId xmlns:a16="http://schemas.microsoft.com/office/drawing/2014/main" id="{3E457AFC-1CDA-7F4C-B56C-8B1594260BD5}"/>
              </a:ext>
            </a:extLst>
          </p:cNvPr>
          <p:cNvSpPr txBox="1">
            <a:spLocks/>
          </p:cNvSpPr>
          <p:nvPr/>
        </p:nvSpPr>
        <p:spPr>
          <a:xfrm>
            <a:off x="941389" y="2642534"/>
            <a:ext cx="2481782" cy="6463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SPRAY</a:t>
            </a:r>
            <a:b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b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VOLUME</a:t>
            </a:r>
          </a:p>
        </p:txBody>
      </p:sp>
      <p:sp>
        <p:nvSpPr>
          <p:cNvPr id="31" name="TextBox 30">
            <a:extLst>
              <a:ext uri="{FF2B5EF4-FFF2-40B4-BE49-F238E27FC236}">
                <a16:creationId xmlns:a16="http://schemas.microsoft.com/office/drawing/2014/main" id="{0F407BCD-9626-EE47-9571-0DE3DF9920FE}"/>
              </a:ext>
            </a:extLst>
          </p:cNvPr>
          <p:cNvSpPr txBox="1"/>
          <p:nvPr/>
        </p:nvSpPr>
        <p:spPr>
          <a:xfrm>
            <a:off x="941388" y="3635155"/>
            <a:ext cx="2481780" cy="2308324"/>
          </a:xfrm>
          <a:prstGeom prst="rect">
            <a:avLst/>
          </a:prstGeom>
          <a:noFill/>
        </p:spPr>
        <p:txBody>
          <a:bodyPr wrap="square" rtlCol="0">
            <a:spAutoFit/>
          </a:bodyPr>
          <a:lstStyle/>
          <a:p>
            <a:pPr lvl="0">
              <a:defRPr/>
            </a:pPr>
            <a:r>
              <a:rPr lang="en-US" kern="0">
                <a:solidFill>
                  <a:sysClr val="windowText" lastClr="000000"/>
                </a:solidFill>
              </a:rPr>
              <a:t>Require minimum </a:t>
            </a:r>
            <a:br>
              <a:rPr lang="en-US" kern="0">
                <a:solidFill>
                  <a:sysClr val="windowText" lastClr="000000"/>
                </a:solidFill>
              </a:rPr>
            </a:br>
            <a:r>
              <a:rPr lang="en-US" kern="0">
                <a:solidFill>
                  <a:sysClr val="windowText" lastClr="000000"/>
                </a:solidFill>
              </a:rPr>
              <a:t>15 gallons of spray solution per acre</a:t>
            </a:r>
          </a:p>
          <a:p>
            <a:pPr lvl="0">
              <a:defRPr/>
            </a:pPr>
            <a:endParaRPr kumimoji="0" lang="en-US" sz="1800" b="0" i="0" u="none" strike="noStrike" kern="0" cap="none" spc="0" normalizeH="0" baseline="0" noProof="0">
              <a:ln>
                <a:noFill/>
              </a:ln>
              <a:solidFill>
                <a:sysClr val="windowText" lastClr="000000"/>
              </a:solidFill>
              <a:effectLst/>
              <a:uLnTx/>
              <a:uFillTx/>
            </a:endParaRPr>
          </a:p>
          <a:p>
            <a:pPr lvl="0">
              <a:defRPr/>
            </a:pPr>
            <a:r>
              <a:rPr lang="en-US" kern="0">
                <a:solidFill>
                  <a:sysClr val="windowText" lastClr="000000"/>
                </a:solidFill>
              </a:rPr>
              <a:t>Use 20 gallons per acre or greater when treating dense weed canopy/vegetation </a:t>
            </a:r>
            <a:endParaRPr kumimoji="0" lang="en-US" sz="1800" b="0" i="0" u="none" strike="noStrike" kern="0" cap="none" spc="0" normalizeH="0" baseline="0" noProof="0">
              <a:ln>
                <a:noFill/>
              </a:ln>
              <a:solidFill>
                <a:sysClr val="windowText" lastClr="000000"/>
              </a:solidFill>
              <a:effectLst/>
              <a:uLnTx/>
              <a:uFillTx/>
            </a:endParaRPr>
          </a:p>
        </p:txBody>
      </p:sp>
      <p:grpSp>
        <p:nvGrpSpPr>
          <p:cNvPr id="12" name="Group 11">
            <a:extLst>
              <a:ext uri="{FF2B5EF4-FFF2-40B4-BE49-F238E27FC236}">
                <a16:creationId xmlns:a16="http://schemas.microsoft.com/office/drawing/2014/main" id="{33FE4C75-B684-4288-AB88-48C7C82C71F5}"/>
              </a:ext>
            </a:extLst>
          </p:cNvPr>
          <p:cNvGrpSpPr/>
          <p:nvPr/>
        </p:nvGrpSpPr>
        <p:grpSpPr>
          <a:xfrm>
            <a:off x="3497357" y="2325084"/>
            <a:ext cx="0" cy="3744246"/>
            <a:chOff x="338083" y="2325084"/>
            <a:chExt cx="0" cy="3744246"/>
          </a:xfrm>
        </p:grpSpPr>
        <p:cxnSp>
          <p:nvCxnSpPr>
            <p:cNvPr id="24" name="Straight Connector 23">
              <a:extLst>
                <a:ext uri="{FF2B5EF4-FFF2-40B4-BE49-F238E27FC236}">
                  <a16:creationId xmlns:a16="http://schemas.microsoft.com/office/drawing/2014/main" id="{E91025DF-7F50-F443-903C-0E13EFD8D27A}"/>
                </a:ext>
              </a:extLst>
            </p:cNvPr>
            <p:cNvCxnSpPr>
              <a:cxnSpLocks/>
            </p:cNvCxnSpPr>
            <p:nvPr/>
          </p:nvCxnSpPr>
          <p:spPr>
            <a:xfrm>
              <a:off x="338083" y="2325084"/>
              <a:ext cx="0" cy="112674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5EB873D-AA3B-5444-8F5F-3418C80EBFB5}"/>
                </a:ext>
              </a:extLst>
            </p:cNvPr>
            <p:cNvCxnSpPr>
              <a:cxnSpLocks/>
            </p:cNvCxnSpPr>
            <p:nvPr/>
          </p:nvCxnSpPr>
          <p:spPr>
            <a:xfrm>
              <a:off x="338083" y="3635155"/>
              <a:ext cx="0" cy="2434175"/>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sp>
        <p:nvSpPr>
          <p:cNvPr id="39" name="TextBox 38">
            <a:extLst>
              <a:ext uri="{FF2B5EF4-FFF2-40B4-BE49-F238E27FC236}">
                <a16:creationId xmlns:a16="http://schemas.microsoft.com/office/drawing/2014/main" id="{0D0429E4-8E26-4C1A-9136-F184FC713030}"/>
              </a:ext>
            </a:extLst>
          </p:cNvPr>
          <p:cNvSpPr txBox="1"/>
          <p:nvPr/>
        </p:nvSpPr>
        <p:spPr>
          <a:xfrm>
            <a:off x="3572433" y="3635155"/>
            <a:ext cx="2468880"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rPr>
              <a:t>DO NOT APPLY </a:t>
            </a:r>
            <a:r>
              <a:rPr kumimoji="0" lang="en-US" sz="1800" b="0" i="0" u="none" strike="noStrike" kern="0" cap="none" spc="0" normalizeH="0" baseline="0" noProof="0">
                <a:ln>
                  <a:noFill/>
                </a:ln>
                <a:solidFill>
                  <a:sysClr val="windowText" lastClr="000000"/>
                </a:solidFill>
                <a:effectLst/>
                <a:uLnTx/>
                <a:uFillTx/>
              </a:rPr>
              <a:t>this product during a temperature inversion </a:t>
            </a:r>
          </a:p>
        </p:txBody>
      </p:sp>
      <p:sp>
        <p:nvSpPr>
          <p:cNvPr id="41" name="TextBox 40">
            <a:extLst>
              <a:ext uri="{FF2B5EF4-FFF2-40B4-BE49-F238E27FC236}">
                <a16:creationId xmlns:a16="http://schemas.microsoft.com/office/drawing/2014/main" id="{ABFA05B5-0CC1-424B-A577-DB514B1AA0FE}"/>
              </a:ext>
            </a:extLst>
          </p:cNvPr>
          <p:cNvSpPr txBox="1"/>
          <p:nvPr/>
        </p:nvSpPr>
        <p:spPr>
          <a:xfrm>
            <a:off x="6227296" y="3629190"/>
            <a:ext cx="2467475" cy="1477328"/>
          </a:xfrm>
          <a:prstGeom prst="rect">
            <a:avLst/>
          </a:prstGeom>
          <a:noFill/>
        </p:spPr>
        <p:txBody>
          <a:bodyPr wrap="square" rtlCol="0">
            <a:spAutoFit/>
          </a:bodyPr>
          <a:lstStyle/>
          <a:p>
            <a:pPr lvl="0">
              <a:defRPr/>
            </a:pPr>
            <a:r>
              <a:rPr lang="en-US" kern="0" dirty="0">
                <a:solidFill>
                  <a:sysClr val="windowText" lastClr="000000"/>
                </a:solidFill>
              </a:rPr>
              <a:t>Apply this product only between </a:t>
            </a:r>
            <a:r>
              <a:rPr lang="en-US" b="1" kern="0" dirty="0">
                <a:solidFill>
                  <a:sysClr val="windowText" lastClr="000000"/>
                </a:solidFill>
              </a:rPr>
              <a:t>one </a:t>
            </a:r>
            <a:br>
              <a:rPr lang="en-US" b="1" kern="0" dirty="0">
                <a:solidFill>
                  <a:sysClr val="windowText" lastClr="000000"/>
                </a:solidFill>
              </a:rPr>
            </a:br>
            <a:r>
              <a:rPr lang="en-US" b="1" kern="0" dirty="0">
                <a:solidFill>
                  <a:sysClr val="windowText" lastClr="000000"/>
                </a:solidFill>
              </a:rPr>
              <a:t>hour after sunrise </a:t>
            </a:r>
            <a:br>
              <a:rPr lang="en-US" b="1" kern="0" dirty="0">
                <a:solidFill>
                  <a:sysClr val="windowText" lastClr="000000"/>
                </a:solidFill>
              </a:rPr>
            </a:br>
            <a:r>
              <a:rPr lang="en-US" b="1" kern="0" dirty="0">
                <a:solidFill>
                  <a:sysClr val="windowText" lastClr="000000"/>
                </a:solidFill>
              </a:rPr>
              <a:t>and two hours </a:t>
            </a:r>
            <a:br>
              <a:rPr lang="en-US" b="1" kern="0" dirty="0">
                <a:solidFill>
                  <a:sysClr val="windowText" lastClr="000000"/>
                </a:solidFill>
              </a:rPr>
            </a:br>
            <a:r>
              <a:rPr lang="en-US" b="1" kern="0" dirty="0">
                <a:solidFill>
                  <a:sysClr val="windowText" lastClr="000000"/>
                </a:solidFill>
              </a:rPr>
              <a:t>before sunset</a:t>
            </a:r>
            <a:endParaRPr kumimoji="0" lang="en-US" sz="1800" b="1" i="0" u="none" strike="noStrike" kern="0" cap="none" spc="0" normalizeH="0" baseline="0" noProof="0" dirty="0">
              <a:ln>
                <a:noFill/>
              </a:ln>
              <a:solidFill>
                <a:sysClr val="windowText" lastClr="000000"/>
              </a:solidFill>
              <a:effectLst/>
              <a:uLnTx/>
              <a:uFillTx/>
            </a:endParaRPr>
          </a:p>
        </p:txBody>
      </p:sp>
      <p:sp>
        <p:nvSpPr>
          <p:cNvPr id="127" name="Title 1">
            <a:extLst>
              <a:ext uri="{FF2B5EF4-FFF2-40B4-BE49-F238E27FC236}">
                <a16:creationId xmlns:a16="http://schemas.microsoft.com/office/drawing/2014/main" id="{E2D508F7-A63F-40DB-92D1-2235558FE6FC}"/>
              </a:ext>
            </a:extLst>
          </p:cNvPr>
          <p:cNvSpPr txBox="1">
            <a:spLocks/>
          </p:cNvSpPr>
          <p:nvPr/>
        </p:nvSpPr>
        <p:spPr>
          <a:xfrm>
            <a:off x="8807315" y="2781033"/>
            <a:ext cx="2470285" cy="369332"/>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Black" panose="020B0A04020102020204" pitchFamily="34" charset="0"/>
                <a:ea typeface="+mj-ea"/>
                <a:cs typeface="+mj-cs"/>
              </a:rPr>
              <a:t>HYGIENE</a:t>
            </a:r>
          </a:p>
        </p:txBody>
      </p:sp>
      <p:sp>
        <p:nvSpPr>
          <p:cNvPr id="129" name="TextBox 128">
            <a:extLst>
              <a:ext uri="{FF2B5EF4-FFF2-40B4-BE49-F238E27FC236}">
                <a16:creationId xmlns:a16="http://schemas.microsoft.com/office/drawing/2014/main" id="{E3DA3B99-E883-4AC8-A123-A3676AB29F8B}"/>
              </a:ext>
            </a:extLst>
          </p:cNvPr>
          <p:cNvSpPr txBox="1"/>
          <p:nvPr/>
        </p:nvSpPr>
        <p:spPr>
          <a:xfrm>
            <a:off x="8846643" y="3639221"/>
            <a:ext cx="2673374" cy="1477328"/>
          </a:xfrm>
          <a:prstGeom prst="rect">
            <a:avLst/>
          </a:prstGeom>
          <a:noFill/>
        </p:spPr>
        <p:txBody>
          <a:bodyPr wrap="square" rtlCol="0">
            <a:spAutoFit/>
          </a:bodyPr>
          <a:lstStyle/>
          <a:p>
            <a:pPr lvl="0">
              <a:defRPr/>
            </a:pPr>
            <a:r>
              <a:rPr lang="en-US" kern="0">
                <a:solidFill>
                  <a:sysClr val="windowText" lastClr="000000"/>
                </a:solidFill>
              </a:rPr>
              <a:t>Failure to properly clean the </a:t>
            </a:r>
            <a:r>
              <a:rPr lang="en-US" b="1" kern="0">
                <a:solidFill>
                  <a:sysClr val="windowText" lastClr="000000"/>
                </a:solidFill>
              </a:rPr>
              <a:t>entire</a:t>
            </a:r>
            <a:r>
              <a:rPr lang="en-US" kern="0">
                <a:solidFill>
                  <a:sysClr val="windowText" lastClr="000000"/>
                </a:solidFill>
              </a:rPr>
              <a:t> system can result in inadvertent contamination of the spray system</a:t>
            </a:r>
            <a:endParaRPr kumimoji="0" lang="en-US" sz="1800" b="0" i="0" u="none" strike="noStrike" kern="0" cap="none" spc="0" normalizeH="0" baseline="0" noProof="0">
              <a:ln>
                <a:noFill/>
              </a:ln>
              <a:solidFill>
                <a:sysClr val="windowText" lastClr="000000"/>
              </a:solidFill>
              <a:effectLst/>
              <a:uLnTx/>
              <a:uFillTx/>
            </a:endParaRPr>
          </a:p>
        </p:txBody>
      </p:sp>
      <p:grpSp>
        <p:nvGrpSpPr>
          <p:cNvPr id="175" name="Group 174">
            <a:extLst>
              <a:ext uri="{FF2B5EF4-FFF2-40B4-BE49-F238E27FC236}">
                <a16:creationId xmlns:a16="http://schemas.microsoft.com/office/drawing/2014/main" id="{380B2E22-3F76-4844-B17C-C23588570C9C}"/>
              </a:ext>
            </a:extLst>
          </p:cNvPr>
          <p:cNvGrpSpPr/>
          <p:nvPr/>
        </p:nvGrpSpPr>
        <p:grpSpPr>
          <a:xfrm>
            <a:off x="6114611" y="2325084"/>
            <a:ext cx="0" cy="3744246"/>
            <a:chOff x="338083" y="2325084"/>
            <a:chExt cx="0" cy="3744246"/>
          </a:xfrm>
        </p:grpSpPr>
        <p:cxnSp>
          <p:nvCxnSpPr>
            <p:cNvPr id="176" name="Straight Connector 175">
              <a:extLst>
                <a:ext uri="{FF2B5EF4-FFF2-40B4-BE49-F238E27FC236}">
                  <a16:creationId xmlns:a16="http://schemas.microsoft.com/office/drawing/2014/main" id="{D460C3C1-E0F6-45A4-8DE6-EE8511C7AD73}"/>
                </a:ext>
              </a:extLst>
            </p:cNvPr>
            <p:cNvCxnSpPr>
              <a:cxnSpLocks/>
            </p:cNvCxnSpPr>
            <p:nvPr/>
          </p:nvCxnSpPr>
          <p:spPr>
            <a:xfrm>
              <a:off x="338083" y="2325084"/>
              <a:ext cx="0" cy="112674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75922BF1-0E03-42D4-8243-42BE7926AC20}"/>
                </a:ext>
              </a:extLst>
            </p:cNvPr>
            <p:cNvCxnSpPr>
              <a:cxnSpLocks/>
            </p:cNvCxnSpPr>
            <p:nvPr/>
          </p:nvCxnSpPr>
          <p:spPr>
            <a:xfrm>
              <a:off x="338083" y="3635155"/>
              <a:ext cx="0" cy="2434175"/>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78" name="Group 177">
            <a:extLst>
              <a:ext uri="{FF2B5EF4-FFF2-40B4-BE49-F238E27FC236}">
                <a16:creationId xmlns:a16="http://schemas.microsoft.com/office/drawing/2014/main" id="{59C85B8D-0169-4D0C-9816-DBE698C39572}"/>
              </a:ext>
            </a:extLst>
          </p:cNvPr>
          <p:cNvGrpSpPr/>
          <p:nvPr/>
        </p:nvGrpSpPr>
        <p:grpSpPr>
          <a:xfrm>
            <a:off x="8731865" y="2325084"/>
            <a:ext cx="0" cy="3744246"/>
            <a:chOff x="338083" y="2325084"/>
            <a:chExt cx="0" cy="3744246"/>
          </a:xfrm>
        </p:grpSpPr>
        <p:cxnSp>
          <p:nvCxnSpPr>
            <p:cNvPr id="179" name="Straight Connector 178">
              <a:extLst>
                <a:ext uri="{FF2B5EF4-FFF2-40B4-BE49-F238E27FC236}">
                  <a16:creationId xmlns:a16="http://schemas.microsoft.com/office/drawing/2014/main" id="{B3367947-64BE-41DD-9447-14A241DBE5E8}"/>
                </a:ext>
              </a:extLst>
            </p:cNvPr>
            <p:cNvCxnSpPr>
              <a:cxnSpLocks/>
            </p:cNvCxnSpPr>
            <p:nvPr/>
          </p:nvCxnSpPr>
          <p:spPr>
            <a:xfrm>
              <a:off x="338083" y="2325084"/>
              <a:ext cx="0" cy="112674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77C3BD33-16D1-452C-AAA7-29C2588C5B3D}"/>
                </a:ext>
              </a:extLst>
            </p:cNvPr>
            <p:cNvCxnSpPr>
              <a:cxnSpLocks/>
            </p:cNvCxnSpPr>
            <p:nvPr/>
          </p:nvCxnSpPr>
          <p:spPr>
            <a:xfrm>
              <a:off x="338083" y="3635155"/>
              <a:ext cx="0" cy="2434175"/>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87" name="Group 186">
            <a:extLst>
              <a:ext uri="{FF2B5EF4-FFF2-40B4-BE49-F238E27FC236}">
                <a16:creationId xmlns:a16="http://schemas.microsoft.com/office/drawing/2014/main" id="{7E1A82B3-77CF-47EF-A9C7-9287F0C628AF}"/>
              </a:ext>
            </a:extLst>
          </p:cNvPr>
          <p:cNvGrpSpPr>
            <a:grpSpLocks noChangeAspect="1"/>
          </p:cNvGrpSpPr>
          <p:nvPr/>
        </p:nvGrpSpPr>
        <p:grpSpPr>
          <a:xfrm>
            <a:off x="1773030" y="1461276"/>
            <a:ext cx="831401" cy="832104"/>
            <a:chOff x="-2151062" y="2746376"/>
            <a:chExt cx="1878012" cy="1879600"/>
          </a:xfrm>
          <a:solidFill>
            <a:schemeClr val="accent6"/>
          </a:solidFill>
        </p:grpSpPr>
        <p:sp>
          <p:nvSpPr>
            <p:cNvPr id="188" name="Freeform 5">
              <a:extLst>
                <a:ext uri="{FF2B5EF4-FFF2-40B4-BE49-F238E27FC236}">
                  <a16:creationId xmlns:a16="http://schemas.microsoft.com/office/drawing/2014/main" id="{D0881EA8-8387-4A8C-8DB9-5C9FEB99D64A}"/>
                </a:ext>
              </a:extLst>
            </p:cNvPr>
            <p:cNvSpPr>
              <a:spLocks/>
            </p:cNvSpPr>
            <p:nvPr/>
          </p:nvSpPr>
          <p:spPr bwMode="auto">
            <a:xfrm>
              <a:off x="-898525" y="4327526"/>
              <a:ext cx="315912" cy="222250"/>
            </a:xfrm>
            <a:custGeom>
              <a:avLst/>
              <a:gdLst>
                <a:gd name="T0" fmla="*/ 57 w 74"/>
                <a:gd name="T1" fmla="*/ 3 h 52"/>
                <a:gd name="T2" fmla="*/ 7 w 74"/>
                <a:gd name="T3" fmla="*/ 34 h 52"/>
                <a:gd name="T4" fmla="*/ 2 w 74"/>
                <a:gd name="T5" fmla="*/ 47 h 52"/>
                <a:gd name="T6" fmla="*/ 11 w 74"/>
                <a:gd name="T7" fmla="*/ 52 h 52"/>
                <a:gd name="T8" fmla="*/ 14 w 74"/>
                <a:gd name="T9" fmla="*/ 51 h 52"/>
                <a:gd name="T10" fmla="*/ 69 w 74"/>
                <a:gd name="T11" fmla="*/ 17 h 52"/>
                <a:gd name="T12" fmla="*/ 70 w 74"/>
                <a:gd name="T13" fmla="*/ 4 h 52"/>
                <a:gd name="T14" fmla="*/ 57 w 74"/>
                <a:gd name="T15" fmla="*/ 3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52">
                  <a:moveTo>
                    <a:pt x="57" y="3"/>
                  </a:moveTo>
                  <a:cubicBezTo>
                    <a:pt x="42" y="16"/>
                    <a:pt x="25" y="27"/>
                    <a:pt x="7" y="34"/>
                  </a:cubicBezTo>
                  <a:cubicBezTo>
                    <a:pt x="2" y="37"/>
                    <a:pt x="0" y="42"/>
                    <a:pt x="2" y="47"/>
                  </a:cubicBezTo>
                  <a:cubicBezTo>
                    <a:pt x="4" y="50"/>
                    <a:pt x="7" y="52"/>
                    <a:pt x="11" y="52"/>
                  </a:cubicBezTo>
                  <a:cubicBezTo>
                    <a:pt x="12" y="52"/>
                    <a:pt x="13" y="52"/>
                    <a:pt x="14" y="51"/>
                  </a:cubicBezTo>
                  <a:cubicBezTo>
                    <a:pt x="34" y="43"/>
                    <a:pt x="53" y="31"/>
                    <a:pt x="69" y="17"/>
                  </a:cubicBezTo>
                  <a:cubicBezTo>
                    <a:pt x="73" y="14"/>
                    <a:pt x="74" y="8"/>
                    <a:pt x="70" y="4"/>
                  </a:cubicBezTo>
                  <a:cubicBezTo>
                    <a:pt x="67" y="0"/>
                    <a:pt x="61" y="0"/>
                    <a:pt x="57" y="3"/>
                  </a:cubicBezTo>
                  <a:close/>
                </a:path>
              </a:pathLst>
            </a:custGeom>
            <a:solidFill>
              <a:schemeClr val="accent6"/>
            </a:solidFill>
            <a:ln w="317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6">
              <a:extLst>
                <a:ext uri="{FF2B5EF4-FFF2-40B4-BE49-F238E27FC236}">
                  <a16:creationId xmlns:a16="http://schemas.microsoft.com/office/drawing/2014/main" id="{5562360C-9226-49D5-8E56-46E5C7DFD77F}"/>
                </a:ext>
              </a:extLst>
            </p:cNvPr>
            <p:cNvSpPr>
              <a:spLocks noEditPoints="1"/>
            </p:cNvSpPr>
            <p:nvPr/>
          </p:nvSpPr>
          <p:spPr bwMode="auto">
            <a:xfrm>
              <a:off x="-2151062" y="2746376"/>
              <a:ext cx="1878012" cy="1879600"/>
            </a:xfrm>
            <a:custGeom>
              <a:avLst/>
              <a:gdLst>
                <a:gd name="T0" fmla="*/ 220 w 441"/>
                <a:gd name="T1" fmla="*/ 0 h 441"/>
                <a:gd name="T2" fmla="*/ 0 w 441"/>
                <a:gd name="T3" fmla="*/ 221 h 441"/>
                <a:gd name="T4" fmla="*/ 220 w 441"/>
                <a:gd name="T5" fmla="*/ 441 h 441"/>
                <a:gd name="T6" fmla="*/ 271 w 441"/>
                <a:gd name="T7" fmla="*/ 435 h 441"/>
                <a:gd name="T8" fmla="*/ 278 w 441"/>
                <a:gd name="T9" fmla="*/ 424 h 441"/>
                <a:gd name="T10" fmla="*/ 266 w 441"/>
                <a:gd name="T11" fmla="*/ 417 h 441"/>
                <a:gd name="T12" fmla="*/ 220 w 441"/>
                <a:gd name="T13" fmla="*/ 422 h 441"/>
                <a:gd name="T14" fmla="*/ 19 w 441"/>
                <a:gd name="T15" fmla="*/ 221 h 441"/>
                <a:gd name="T16" fmla="*/ 36 w 441"/>
                <a:gd name="T17" fmla="*/ 139 h 441"/>
                <a:gd name="T18" fmla="*/ 104 w 441"/>
                <a:gd name="T19" fmla="*/ 140 h 441"/>
                <a:gd name="T20" fmla="*/ 144 w 441"/>
                <a:gd name="T21" fmla="*/ 145 h 441"/>
                <a:gd name="T22" fmla="*/ 184 w 441"/>
                <a:gd name="T23" fmla="*/ 140 h 441"/>
                <a:gd name="T24" fmla="*/ 254 w 441"/>
                <a:gd name="T25" fmla="*/ 140 h 441"/>
                <a:gd name="T26" fmla="*/ 335 w 441"/>
                <a:gd name="T27" fmla="*/ 140 h 441"/>
                <a:gd name="T28" fmla="*/ 405 w 441"/>
                <a:gd name="T29" fmla="*/ 140 h 441"/>
                <a:gd name="T30" fmla="*/ 422 w 441"/>
                <a:gd name="T31" fmla="*/ 221 h 441"/>
                <a:gd name="T32" fmla="*/ 375 w 441"/>
                <a:gd name="T33" fmla="*/ 351 h 441"/>
                <a:gd name="T34" fmla="*/ 376 w 441"/>
                <a:gd name="T35" fmla="*/ 364 h 441"/>
                <a:gd name="T36" fmla="*/ 389 w 441"/>
                <a:gd name="T37" fmla="*/ 363 h 441"/>
                <a:gd name="T38" fmla="*/ 441 w 441"/>
                <a:gd name="T39" fmla="*/ 221 h 441"/>
                <a:gd name="T40" fmla="*/ 220 w 441"/>
                <a:gd name="T41" fmla="*/ 0 h 441"/>
                <a:gd name="T42" fmla="*/ 330 w 441"/>
                <a:gd name="T43" fmla="*/ 122 h 441"/>
                <a:gd name="T44" fmla="*/ 259 w 441"/>
                <a:gd name="T45" fmla="*/ 122 h 441"/>
                <a:gd name="T46" fmla="*/ 179 w 441"/>
                <a:gd name="T47" fmla="*/ 122 h 441"/>
                <a:gd name="T48" fmla="*/ 109 w 441"/>
                <a:gd name="T49" fmla="*/ 122 h 441"/>
                <a:gd name="T50" fmla="*/ 47 w 441"/>
                <a:gd name="T51" fmla="*/ 118 h 441"/>
                <a:gd name="T52" fmla="*/ 220 w 441"/>
                <a:gd name="T53" fmla="*/ 19 h 441"/>
                <a:gd name="T54" fmla="*/ 394 w 441"/>
                <a:gd name="T55" fmla="*/ 118 h 441"/>
                <a:gd name="T56" fmla="*/ 330 w 441"/>
                <a:gd name="T57" fmla="*/ 122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1" h="441">
                  <a:moveTo>
                    <a:pt x="220" y="0"/>
                  </a:moveTo>
                  <a:cubicBezTo>
                    <a:pt x="99" y="0"/>
                    <a:pt x="0" y="99"/>
                    <a:pt x="0" y="221"/>
                  </a:cubicBezTo>
                  <a:cubicBezTo>
                    <a:pt x="0" y="342"/>
                    <a:pt x="99" y="441"/>
                    <a:pt x="220" y="441"/>
                  </a:cubicBezTo>
                  <a:cubicBezTo>
                    <a:pt x="237" y="441"/>
                    <a:pt x="254" y="439"/>
                    <a:pt x="271" y="435"/>
                  </a:cubicBezTo>
                  <a:cubicBezTo>
                    <a:pt x="276" y="434"/>
                    <a:pt x="279" y="429"/>
                    <a:pt x="278" y="424"/>
                  </a:cubicBezTo>
                  <a:cubicBezTo>
                    <a:pt x="276" y="419"/>
                    <a:pt x="271" y="416"/>
                    <a:pt x="266" y="417"/>
                  </a:cubicBezTo>
                  <a:cubicBezTo>
                    <a:pt x="251" y="420"/>
                    <a:pt x="236" y="422"/>
                    <a:pt x="220" y="422"/>
                  </a:cubicBezTo>
                  <a:cubicBezTo>
                    <a:pt x="109" y="422"/>
                    <a:pt x="19" y="332"/>
                    <a:pt x="19" y="221"/>
                  </a:cubicBezTo>
                  <a:cubicBezTo>
                    <a:pt x="19" y="191"/>
                    <a:pt x="25" y="164"/>
                    <a:pt x="36" y="139"/>
                  </a:cubicBezTo>
                  <a:cubicBezTo>
                    <a:pt x="58" y="133"/>
                    <a:pt x="82" y="133"/>
                    <a:pt x="104" y="140"/>
                  </a:cubicBezTo>
                  <a:cubicBezTo>
                    <a:pt x="117" y="143"/>
                    <a:pt x="130" y="145"/>
                    <a:pt x="144" y="145"/>
                  </a:cubicBezTo>
                  <a:cubicBezTo>
                    <a:pt x="157" y="145"/>
                    <a:pt x="171" y="143"/>
                    <a:pt x="184" y="140"/>
                  </a:cubicBezTo>
                  <a:cubicBezTo>
                    <a:pt x="207" y="133"/>
                    <a:pt x="231" y="133"/>
                    <a:pt x="254" y="140"/>
                  </a:cubicBezTo>
                  <a:cubicBezTo>
                    <a:pt x="281" y="147"/>
                    <a:pt x="309" y="147"/>
                    <a:pt x="335" y="140"/>
                  </a:cubicBezTo>
                  <a:cubicBezTo>
                    <a:pt x="358" y="133"/>
                    <a:pt x="382" y="133"/>
                    <a:pt x="405" y="140"/>
                  </a:cubicBezTo>
                  <a:cubicBezTo>
                    <a:pt x="416" y="164"/>
                    <a:pt x="422" y="192"/>
                    <a:pt x="422" y="221"/>
                  </a:cubicBezTo>
                  <a:cubicBezTo>
                    <a:pt x="422" y="268"/>
                    <a:pt x="405" y="314"/>
                    <a:pt x="375" y="351"/>
                  </a:cubicBezTo>
                  <a:cubicBezTo>
                    <a:pt x="371" y="355"/>
                    <a:pt x="372" y="360"/>
                    <a:pt x="376" y="364"/>
                  </a:cubicBezTo>
                  <a:cubicBezTo>
                    <a:pt x="380" y="367"/>
                    <a:pt x="385" y="366"/>
                    <a:pt x="389" y="363"/>
                  </a:cubicBezTo>
                  <a:cubicBezTo>
                    <a:pt x="422" y="323"/>
                    <a:pt x="441" y="272"/>
                    <a:pt x="441" y="221"/>
                  </a:cubicBezTo>
                  <a:cubicBezTo>
                    <a:pt x="441" y="99"/>
                    <a:pt x="342" y="0"/>
                    <a:pt x="220" y="0"/>
                  </a:cubicBezTo>
                  <a:close/>
                  <a:moveTo>
                    <a:pt x="330" y="122"/>
                  </a:moveTo>
                  <a:cubicBezTo>
                    <a:pt x="307" y="128"/>
                    <a:pt x="282" y="128"/>
                    <a:pt x="259" y="122"/>
                  </a:cubicBezTo>
                  <a:cubicBezTo>
                    <a:pt x="233" y="114"/>
                    <a:pt x="205" y="114"/>
                    <a:pt x="179" y="122"/>
                  </a:cubicBezTo>
                  <a:cubicBezTo>
                    <a:pt x="156" y="128"/>
                    <a:pt x="132" y="128"/>
                    <a:pt x="109" y="122"/>
                  </a:cubicBezTo>
                  <a:cubicBezTo>
                    <a:pt x="89" y="116"/>
                    <a:pt x="68" y="115"/>
                    <a:pt x="47" y="118"/>
                  </a:cubicBezTo>
                  <a:cubicBezTo>
                    <a:pt x="82" y="59"/>
                    <a:pt x="147" y="19"/>
                    <a:pt x="220" y="19"/>
                  </a:cubicBezTo>
                  <a:cubicBezTo>
                    <a:pt x="294" y="19"/>
                    <a:pt x="359" y="59"/>
                    <a:pt x="394" y="118"/>
                  </a:cubicBezTo>
                  <a:cubicBezTo>
                    <a:pt x="373" y="115"/>
                    <a:pt x="351" y="116"/>
                    <a:pt x="330" y="122"/>
                  </a:cubicBezTo>
                  <a:close/>
                </a:path>
              </a:pathLst>
            </a:custGeom>
            <a:solidFill>
              <a:schemeClr val="accent6"/>
            </a:solidFill>
            <a:ln w="317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7">
              <a:extLst>
                <a:ext uri="{FF2B5EF4-FFF2-40B4-BE49-F238E27FC236}">
                  <a16:creationId xmlns:a16="http://schemas.microsoft.com/office/drawing/2014/main" id="{3F1D0954-57CF-41FC-A77A-E16E096C50D0}"/>
                </a:ext>
              </a:extLst>
            </p:cNvPr>
            <p:cNvSpPr>
              <a:spLocks/>
            </p:cNvSpPr>
            <p:nvPr/>
          </p:nvSpPr>
          <p:spPr bwMode="auto">
            <a:xfrm>
              <a:off x="-1589088" y="3654426"/>
              <a:ext cx="265112" cy="473075"/>
            </a:xfrm>
            <a:custGeom>
              <a:avLst/>
              <a:gdLst>
                <a:gd name="T0" fmla="*/ 32 w 62"/>
                <a:gd name="T1" fmla="*/ 38 h 111"/>
                <a:gd name="T2" fmla="*/ 32 w 62"/>
                <a:gd name="T3" fmla="*/ 111 h 111"/>
                <a:gd name="T4" fmla="*/ 62 w 62"/>
                <a:gd name="T5" fmla="*/ 111 h 111"/>
                <a:gd name="T6" fmla="*/ 62 w 62"/>
                <a:gd name="T7" fmla="*/ 0 h 111"/>
                <a:gd name="T8" fmla="*/ 37 w 62"/>
                <a:gd name="T9" fmla="*/ 0 h 111"/>
                <a:gd name="T10" fmla="*/ 24 w 62"/>
                <a:gd name="T11" fmla="*/ 17 h 111"/>
                <a:gd name="T12" fmla="*/ 0 w 62"/>
                <a:gd name="T13" fmla="*/ 29 h 111"/>
                <a:gd name="T14" fmla="*/ 0 w 62"/>
                <a:gd name="T15" fmla="*/ 54 h 111"/>
                <a:gd name="T16" fmla="*/ 17 w 62"/>
                <a:gd name="T17" fmla="*/ 48 h 111"/>
                <a:gd name="T18" fmla="*/ 32 w 62"/>
                <a:gd name="T19" fmla="*/ 3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111">
                  <a:moveTo>
                    <a:pt x="32" y="38"/>
                  </a:moveTo>
                  <a:cubicBezTo>
                    <a:pt x="32" y="111"/>
                    <a:pt x="32" y="111"/>
                    <a:pt x="32" y="111"/>
                  </a:cubicBezTo>
                  <a:cubicBezTo>
                    <a:pt x="62" y="111"/>
                    <a:pt x="62" y="111"/>
                    <a:pt x="62" y="111"/>
                  </a:cubicBezTo>
                  <a:cubicBezTo>
                    <a:pt x="62" y="0"/>
                    <a:pt x="62" y="0"/>
                    <a:pt x="62" y="0"/>
                  </a:cubicBezTo>
                  <a:cubicBezTo>
                    <a:pt x="37" y="0"/>
                    <a:pt x="37" y="0"/>
                    <a:pt x="37" y="0"/>
                  </a:cubicBezTo>
                  <a:cubicBezTo>
                    <a:pt x="34" y="7"/>
                    <a:pt x="30" y="13"/>
                    <a:pt x="24" y="17"/>
                  </a:cubicBezTo>
                  <a:cubicBezTo>
                    <a:pt x="18" y="22"/>
                    <a:pt x="10" y="26"/>
                    <a:pt x="0" y="29"/>
                  </a:cubicBezTo>
                  <a:cubicBezTo>
                    <a:pt x="0" y="54"/>
                    <a:pt x="0" y="54"/>
                    <a:pt x="0" y="54"/>
                  </a:cubicBezTo>
                  <a:cubicBezTo>
                    <a:pt x="7" y="52"/>
                    <a:pt x="13" y="50"/>
                    <a:pt x="17" y="48"/>
                  </a:cubicBezTo>
                  <a:cubicBezTo>
                    <a:pt x="22" y="45"/>
                    <a:pt x="27" y="42"/>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8">
              <a:extLst>
                <a:ext uri="{FF2B5EF4-FFF2-40B4-BE49-F238E27FC236}">
                  <a16:creationId xmlns:a16="http://schemas.microsoft.com/office/drawing/2014/main" id="{DA6225B0-7695-4269-AE9C-4CE82357F170}"/>
                </a:ext>
              </a:extLst>
            </p:cNvPr>
            <p:cNvSpPr>
              <a:spLocks/>
            </p:cNvSpPr>
            <p:nvPr/>
          </p:nvSpPr>
          <p:spPr bwMode="auto">
            <a:xfrm>
              <a:off x="-1252538" y="3663951"/>
              <a:ext cx="387350" cy="473075"/>
            </a:xfrm>
            <a:custGeom>
              <a:avLst/>
              <a:gdLst>
                <a:gd name="T0" fmla="*/ 46 w 91"/>
                <a:gd name="T1" fmla="*/ 93 h 111"/>
                <a:gd name="T2" fmla="*/ 36 w 91"/>
                <a:gd name="T3" fmla="*/ 89 h 111"/>
                <a:gd name="T4" fmla="*/ 31 w 91"/>
                <a:gd name="T5" fmla="*/ 78 h 111"/>
                <a:gd name="T6" fmla="*/ 0 w 91"/>
                <a:gd name="T7" fmla="*/ 81 h 111"/>
                <a:gd name="T8" fmla="*/ 6 w 91"/>
                <a:gd name="T9" fmla="*/ 94 h 111"/>
                <a:gd name="T10" fmla="*/ 14 w 91"/>
                <a:gd name="T11" fmla="*/ 103 h 111"/>
                <a:gd name="T12" fmla="*/ 28 w 91"/>
                <a:gd name="T13" fmla="*/ 109 h 111"/>
                <a:gd name="T14" fmla="*/ 46 w 91"/>
                <a:gd name="T15" fmla="*/ 111 h 111"/>
                <a:gd name="T16" fmla="*/ 71 w 91"/>
                <a:gd name="T17" fmla="*/ 106 h 111"/>
                <a:gd name="T18" fmla="*/ 86 w 91"/>
                <a:gd name="T19" fmla="*/ 91 h 111"/>
                <a:gd name="T20" fmla="*/ 91 w 91"/>
                <a:gd name="T21" fmla="*/ 71 h 111"/>
                <a:gd name="T22" fmla="*/ 81 w 91"/>
                <a:gd name="T23" fmla="*/ 46 h 111"/>
                <a:gd name="T24" fmla="*/ 54 w 91"/>
                <a:gd name="T25" fmla="*/ 36 h 111"/>
                <a:gd name="T26" fmla="*/ 44 w 91"/>
                <a:gd name="T27" fmla="*/ 37 h 111"/>
                <a:gd name="T28" fmla="*/ 34 w 91"/>
                <a:gd name="T29" fmla="*/ 40 h 111"/>
                <a:gd name="T30" fmla="*/ 37 w 91"/>
                <a:gd name="T31" fmla="*/ 24 h 111"/>
                <a:gd name="T32" fmla="*/ 86 w 91"/>
                <a:gd name="T33" fmla="*/ 24 h 111"/>
                <a:gd name="T34" fmla="*/ 86 w 91"/>
                <a:gd name="T35" fmla="*/ 0 h 111"/>
                <a:gd name="T36" fmla="*/ 14 w 91"/>
                <a:gd name="T37" fmla="*/ 0 h 111"/>
                <a:gd name="T38" fmla="*/ 4 w 91"/>
                <a:gd name="T39" fmla="*/ 59 h 111"/>
                <a:gd name="T40" fmla="*/ 30 w 91"/>
                <a:gd name="T41" fmla="*/ 62 h 111"/>
                <a:gd name="T42" fmla="*/ 37 w 91"/>
                <a:gd name="T43" fmla="*/ 57 h 111"/>
                <a:gd name="T44" fmla="*/ 45 w 91"/>
                <a:gd name="T45" fmla="*/ 55 h 111"/>
                <a:gd name="T46" fmla="*/ 56 w 91"/>
                <a:gd name="T47" fmla="*/ 59 h 111"/>
                <a:gd name="T48" fmla="*/ 60 w 91"/>
                <a:gd name="T49" fmla="*/ 73 h 111"/>
                <a:gd name="T50" fmla="*/ 56 w 91"/>
                <a:gd name="T51" fmla="*/ 88 h 111"/>
                <a:gd name="T52" fmla="*/ 46 w 91"/>
                <a:gd name="T53" fmla="*/ 9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 h="111">
                  <a:moveTo>
                    <a:pt x="46" y="93"/>
                  </a:moveTo>
                  <a:cubicBezTo>
                    <a:pt x="42" y="93"/>
                    <a:pt x="39" y="91"/>
                    <a:pt x="36" y="89"/>
                  </a:cubicBezTo>
                  <a:cubicBezTo>
                    <a:pt x="33" y="86"/>
                    <a:pt x="32" y="82"/>
                    <a:pt x="31" y="78"/>
                  </a:cubicBezTo>
                  <a:cubicBezTo>
                    <a:pt x="0" y="81"/>
                    <a:pt x="0" y="81"/>
                    <a:pt x="0" y="81"/>
                  </a:cubicBezTo>
                  <a:cubicBezTo>
                    <a:pt x="1" y="86"/>
                    <a:pt x="3" y="90"/>
                    <a:pt x="6" y="94"/>
                  </a:cubicBezTo>
                  <a:cubicBezTo>
                    <a:pt x="8" y="97"/>
                    <a:pt x="11" y="100"/>
                    <a:pt x="14" y="103"/>
                  </a:cubicBezTo>
                  <a:cubicBezTo>
                    <a:pt x="18" y="106"/>
                    <a:pt x="22" y="108"/>
                    <a:pt x="28" y="109"/>
                  </a:cubicBezTo>
                  <a:cubicBezTo>
                    <a:pt x="33" y="110"/>
                    <a:pt x="39" y="111"/>
                    <a:pt x="46" y="111"/>
                  </a:cubicBezTo>
                  <a:cubicBezTo>
                    <a:pt x="56" y="111"/>
                    <a:pt x="64" y="109"/>
                    <a:pt x="71" y="106"/>
                  </a:cubicBezTo>
                  <a:cubicBezTo>
                    <a:pt x="77" y="103"/>
                    <a:pt x="82" y="98"/>
                    <a:pt x="86" y="91"/>
                  </a:cubicBezTo>
                  <a:cubicBezTo>
                    <a:pt x="89" y="85"/>
                    <a:pt x="91" y="78"/>
                    <a:pt x="91" y="71"/>
                  </a:cubicBezTo>
                  <a:cubicBezTo>
                    <a:pt x="91" y="61"/>
                    <a:pt x="88" y="52"/>
                    <a:pt x="81" y="46"/>
                  </a:cubicBezTo>
                  <a:cubicBezTo>
                    <a:pt x="74" y="39"/>
                    <a:pt x="65" y="36"/>
                    <a:pt x="54" y="36"/>
                  </a:cubicBezTo>
                  <a:cubicBezTo>
                    <a:pt x="51" y="36"/>
                    <a:pt x="48" y="36"/>
                    <a:pt x="44" y="37"/>
                  </a:cubicBezTo>
                  <a:cubicBezTo>
                    <a:pt x="41" y="38"/>
                    <a:pt x="38" y="39"/>
                    <a:pt x="34" y="40"/>
                  </a:cubicBezTo>
                  <a:cubicBezTo>
                    <a:pt x="37" y="24"/>
                    <a:pt x="37" y="24"/>
                    <a:pt x="37" y="24"/>
                  </a:cubicBezTo>
                  <a:cubicBezTo>
                    <a:pt x="86" y="24"/>
                    <a:pt x="86" y="24"/>
                    <a:pt x="86" y="24"/>
                  </a:cubicBezTo>
                  <a:cubicBezTo>
                    <a:pt x="86" y="0"/>
                    <a:pt x="86" y="0"/>
                    <a:pt x="86" y="0"/>
                  </a:cubicBezTo>
                  <a:cubicBezTo>
                    <a:pt x="14" y="0"/>
                    <a:pt x="14" y="0"/>
                    <a:pt x="14" y="0"/>
                  </a:cubicBezTo>
                  <a:cubicBezTo>
                    <a:pt x="4" y="59"/>
                    <a:pt x="4" y="59"/>
                    <a:pt x="4" y="59"/>
                  </a:cubicBezTo>
                  <a:cubicBezTo>
                    <a:pt x="30" y="62"/>
                    <a:pt x="30" y="62"/>
                    <a:pt x="30" y="62"/>
                  </a:cubicBezTo>
                  <a:cubicBezTo>
                    <a:pt x="32" y="60"/>
                    <a:pt x="35" y="58"/>
                    <a:pt x="37" y="57"/>
                  </a:cubicBezTo>
                  <a:cubicBezTo>
                    <a:pt x="39" y="55"/>
                    <a:pt x="42" y="55"/>
                    <a:pt x="45" y="55"/>
                  </a:cubicBezTo>
                  <a:cubicBezTo>
                    <a:pt x="50" y="55"/>
                    <a:pt x="53" y="56"/>
                    <a:pt x="56" y="59"/>
                  </a:cubicBezTo>
                  <a:cubicBezTo>
                    <a:pt x="59" y="62"/>
                    <a:pt x="60" y="67"/>
                    <a:pt x="60" y="73"/>
                  </a:cubicBezTo>
                  <a:cubicBezTo>
                    <a:pt x="60" y="80"/>
                    <a:pt x="59" y="85"/>
                    <a:pt x="56" y="88"/>
                  </a:cubicBezTo>
                  <a:cubicBezTo>
                    <a:pt x="54" y="91"/>
                    <a:pt x="50" y="93"/>
                    <a:pt x="46"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9">
              <a:extLst>
                <a:ext uri="{FF2B5EF4-FFF2-40B4-BE49-F238E27FC236}">
                  <a16:creationId xmlns:a16="http://schemas.microsoft.com/office/drawing/2014/main" id="{7AC15B56-5059-4714-BA37-5E4C5A573C5C}"/>
                </a:ext>
              </a:extLst>
            </p:cNvPr>
            <p:cNvSpPr>
              <a:spLocks/>
            </p:cNvSpPr>
            <p:nvPr/>
          </p:nvSpPr>
          <p:spPr bwMode="auto">
            <a:xfrm>
              <a:off x="-1536700" y="4213226"/>
              <a:ext cx="215900" cy="217488"/>
            </a:xfrm>
            <a:custGeom>
              <a:avLst/>
              <a:gdLst>
                <a:gd name="T0" fmla="*/ 11 w 51"/>
                <a:gd name="T1" fmla="*/ 48 h 51"/>
                <a:gd name="T2" fmla="*/ 26 w 51"/>
                <a:gd name="T3" fmla="*/ 51 h 51"/>
                <a:gd name="T4" fmla="*/ 38 w 51"/>
                <a:gd name="T5" fmla="*/ 50 h 51"/>
                <a:gd name="T6" fmla="*/ 51 w 51"/>
                <a:gd name="T7" fmla="*/ 43 h 51"/>
                <a:gd name="T8" fmla="*/ 51 w 51"/>
                <a:gd name="T9" fmla="*/ 22 h 51"/>
                <a:gd name="T10" fmla="*/ 27 w 51"/>
                <a:gd name="T11" fmla="*/ 22 h 51"/>
                <a:gd name="T12" fmla="*/ 27 w 51"/>
                <a:gd name="T13" fmla="*/ 32 h 51"/>
                <a:gd name="T14" fmla="*/ 37 w 51"/>
                <a:gd name="T15" fmla="*/ 32 h 51"/>
                <a:gd name="T16" fmla="*/ 37 w 51"/>
                <a:gd name="T17" fmla="*/ 37 h 51"/>
                <a:gd name="T18" fmla="*/ 32 w 51"/>
                <a:gd name="T19" fmla="*/ 40 h 51"/>
                <a:gd name="T20" fmla="*/ 27 w 51"/>
                <a:gd name="T21" fmla="*/ 40 h 51"/>
                <a:gd name="T22" fmla="*/ 18 w 51"/>
                <a:gd name="T23" fmla="*/ 37 h 51"/>
                <a:gd name="T24" fmla="*/ 15 w 51"/>
                <a:gd name="T25" fmla="*/ 25 h 51"/>
                <a:gd name="T26" fmla="*/ 18 w 51"/>
                <a:gd name="T27" fmla="*/ 14 h 51"/>
                <a:gd name="T28" fmla="*/ 26 w 51"/>
                <a:gd name="T29" fmla="*/ 11 h 51"/>
                <a:gd name="T30" fmla="*/ 32 w 51"/>
                <a:gd name="T31" fmla="*/ 12 h 51"/>
                <a:gd name="T32" fmla="*/ 35 w 51"/>
                <a:gd name="T33" fmla="*/ 17 h 51"/>
                <a:gd name="T34" fmla="*/ 50 w 51"/>
                <a:gd name="T35" fmla="*/ 14 h 51"/>
                <a:gd name="T36" fmla="*/ 46 w 51"/>
                <a:gd name="T37" fmla="*/ 6 h 51"/>
                <a:gd name="T38" fmla="*/ 39 w 51"/>
                <a:gd name="T39" fmla="*/ 1 h 51"/>
                <a:gd name="T40" fmla="*/ 27 w 51"/>
                <a:gd name="T41" fmla="*/ 0 h 51"/>
                <a:gd name="T42" fmla="*/ 13 w 51"/>
                <a:gd name="T43" fmla="*/ 2 h 51"/>
                <a:gd name="T44" fmla="*/ 3 w 51"/>
                <a:gd name="T45" fmla="*/ 11 h 51"/>
                <a:gd name="T46" fmla="*/ 0 w 51"/>
                <a:gd name="T47" fmla="*/ 26 h 51"/>
                <a:gd name="T48" fmla="*/ 3 w 51"/>
                <a:gd name="T49" fmla="*/ 39 h 51"/>
                <a:gd name="T50" fmla="*/ 11 w 51"/>
                <a:gd name="T5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11" y="48"/>
                  </a:moveTo>
                  <a:cubicBezTo>
                    <a:pt x="15" y="50"/>
                    <a:pt x="20" y="51"/>
                    <a:pt x="26" y="51"/>
                  </a:cubicBezTo>
                  <a:cubicBezTo>
                    <a:pt x="31" y="51"/>
                    <a:pt x="35" y="51"/>
                    <a:pt x="38" y="50"/>
                  </a:cubicBezTo>
                  <a:cubicBezTo>
                    <a:pt x="42" y="49"/>
                    <a:pt x="46" y="47"/>
                    <a:pt x="51" y="43"/>
                  </a:cubicBezTo>
                  <a:cubicBezTo>
                    <a:pt x="51" y="22"/>
                    <a:pt x="51" y="22"/>
                    <a:pt x="51" y="22"/>
                  </a:cubicBezTo>
                  <a:cubicBezTo>
                    <a:pt x="27" y="22"/>
                    <a:pt x="27" y="22"/>
                    <a:pt x="27" y="22"/>
                  </a:cubicBezTo>
                  <a:cubicBezTo>
                    <a:pt x="27" y="32"/>
                    <a:pt x="27" y="32"/>
                    <a:pt x="27" y="32"/>
                  </a:cubicBezTo>
                  <a:cubicBezTo>
                    <a:pt x="37" y="32"/>
                    <a:pt x="37" y="32"/>
                    <a:pt x="37" y="32"/>
                  </a:cubicBezTo>
                  <a:cubicBezTo>
                    <a:pt x="37" y="37"/>
                    <a:pt x="37" y="37"/>
                    <a:pt x="37" y="37"/>
                  </a:cubicBezTo>
                  <a:cubicBezTo>
                    <a:pt x="35" y="38"/>
                    <a:pt x="33" y="39"/>
                    <a:pt x="32" y="40"/>
                  </a:cubicBezTo>
                  <a:cubicBezTo>
                    <a:pt x="30" y="40"/>
                    <a:pt x="28" y="40"/>
                    <a:pt x="27" y="40"/>
                  </a:cubicBezTo>
                  <a:cubicBezTo>
                    <a:pt x="23" y="40"/>
                    <a:pt x="20" y="39"/>
                    <a:pt x="18" y="37"/>
                  </a:cubicBezTo>
                  <a:cubicBezTo>
                    <a:pt x="16" y="35"/>
                    <a:pt x="15" y="31"/>
                    <a:pt x="15" y="25"/>
                  </a:cubicBezTo>
                  <a:cubicBezTo>
                    <a:pt x="15" y="20"/>
                    <a:pt x="16" y="17"/>
                    <a:pt x="18" y="14"/>
                  </a:cubicBezTo>
                  <a:cubicBezTo>
                    <a:pt x="20" y="12"/>
                    <a:pt x="23" y="11"/>
                    <a:pt x="26" y="11"/>
                  </a:cubicBezTo>
                  <a:cubicBezTo>
                    <a:pt x="29" y="11"/>
                    <a:pt x="30" y="11"/>
                    <a:pt x="32" y="12"/>
                  </a:cubicBezTo>
                  <a:cubicBezTo>
                    <a:pt x="33" y="13"/>
                    <a:pt x="34" y="15"/>
                    <a:pt x="35" y="17"/>
                  </a:cubicBezTo>
                  <a:cubicBezTo>
                    <a:pt x="50" y="14"/>
                    <a:pt x="50" y="14"/>
                    <a:pt x="50" y="14"/>
                  </a:cubicBezTo>
                  <a:cubicBezTo>
                    <a:pt x="49" y="11"/>
                    <a:pt x="48" y="8"/>
                    <a:pt x="46" y="6"/>
                  </a:cubicBezTo>
                  <a:cubicBezTo>
                    <a:pt x="44" y="4"/>
                    <a:pt x="42" y="2"/>
                    <a:pt x="39" y="1"/>
                  </a:cubicBezTo>
                  <a:cubicBezTo>
                    <a:pt x="36" y="0"/>
                    <a:pt x="32" y="0"/>
                    <a:pt x="27" y="0"/>
                  </a:cubicBezTo>
                  <a:cubicBezTo>
                    <a:pt x="21" y="0"/>
                    <a:pt x="16" y="1"/>
                    <a:pt x="13" y="2"/>
                  </a:cubicBezTo>
                  <a:cubicBezTo>
                    <a:pt x="9" y="4"/>
                    <a:pt x="5" y="7"/>
                    <a:pt x="3" y="11"/>
                  </a:cubicBezTo>
                  <a:cubicBezTo>
                    <a:pt x="1" y="15"/>
                    <a:pt x="0" y="20"/>
                    <a:pt x="0" y="26"/>
                  </a:cubicBezTo>
                  <a:cubicBezTo>
                    <a:pt x="0" y="31"/>
                    <a:pt x="1" y="35"/>
                    <a:pt x="3" y="39"/>
                  </a:cubicBezTo>
                  <a:cubicBezTo>
                    <a:pt x="5" y="43"/>
                    <a:pt x="8" y="46"/>
                    <a:pt x="1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
              <a:extLst>
                <a:ext uri="{FF2B5EF4-FFF2-40B4-BE49-F238E27FC236}">
                  <a16:creationId xmlns:a16="http://schemas.microsoft.com/office/drawing/2014/main" id="{C92C9ED3-07BA-4C63-BD5E-3BC1D8258D88}"/>
                </a:ext>
              </a:extLst>
            </p:cNvPr>
            <p:cNvSpPr>
              <a:spLocks noEditPoints="1"/>
            </p:cNvSpPr>
            <p:nvPr/>
          </p:nvSpPr>
          <p:spPr bwMode="auto">
            <a:xfrm>
              <a:off x="-1277938" y="4217988"/>
              <a:ext cx="179387" cy="212725"/>
            </a:xfrm>
            <a:custGeom>
              <a:avLst/>
              <a:gdLst>
                <a:gd name="T0" fmla="*/ 15 w 42"/>
                <a:gd name="T1" fmla="*/ 31 h 50"/>
                <a:gd name="T2" fmla="*/ 24 w 42"/>
                <a:gd name="T3" fmla="*/ 31 h 50"/>
                <a:gd name="T4" fmla="*/ 37 w 42"/>
                <a:gd name="T5" fmla="*/ 27 h 50"/>
                <a:gd name="T6" fmla="*/ 42 w 42"/>
                <a:gd name="T7" fmla="*/ 15 h 50"/>
                <a:gd name="T8" fmla="*/ 38 w 42"/>
                <a:gd name="T9" fmla="*/ 4 h 50"/>
                <a:gd name="T10" fmla="*/ 25 w 42"/>
                <a:gd name="T11" fmla="*/ 0 h 50"/>
                <a:gd name="T12" fmla="*/ 0 w 42"/>
                <a:gd name="T13" fmla="*/ 0 h 50"/>
                <a:gd name="T14" fmla="*/ 0 w 42"/>
                <a:gd name="T15" fmla="*/ 50 h 50"/>
                <a:gd name="T16" fmla="*/ 15 w 42"/>
                <a:gd name="T17" fmla="*/ 50 h 50"/>
                <a:gd name="T18" fmla="*/ 15 w 42"/>
                <a:gd name="T19" fmla="*/ 31 h 50"/>
                <a:gd name="T20" fmla="*/ 15 w 42"/>
                <a:gd name="T21" fmla="*/ 10 h 50"/>
                <a:gd name="T22" fmla="*/ 20 w 42"/>
                <a:gd name="T23" fmla="*/ 10 h 50"/>
                <a:gd name="T24" fmla="*/ 25 w 42"/>
                <a:gd name="T25" fmla="*/ 11 h 50"/>
                <a:gd name="T26" fmla="*/ 27 w 42"/>
                <a:gd name="T27" fmla="*/ 15 h 50"/>
                <a:gd name="T28" fmla="*/ 25 w 42"/>
                <a:gd name="T29" fmla="*/ 19 h 50"/>
                <a:gd name="T30" fmla="*/ 19 w 42"/>
                <a:gd name="T31" fmla="*/ 21 h 50"/>
                <a:gd name="T32" fmla="*/ 15 w 42"/>
                <a:gd name="T33" fmla="*/ 21 h 50"/>
                <a:gd name="T34" fmla="*/ 15 w 42"/>
                <a:gd name="T35" fmla="*/ 1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50">
                  <a:moveTo>
                    <a:pt x="15" y="31"/>
                  </a:moveTo>
                  <a:cubicBezTo>
                    <a:pt x="24" y="31"/>
                    <a:pt x="24" y="31"/>
                    <a:pt x="24" y="31"/>
                  </a:cubicBezTo>
                  <a:cubicBezTo>
                    <a:pt x="30" y="31"/>
                    <a:pt x="34" y="30"/>
                    <a:pt x="37" y="27"/>
                  </a:cubicBezTo>
                  <a:cubicBezTo>
                    <a:pt x="41" y="24"/>
                    <a:pt x="42" y="20"/>
                    <a:pt x="42" y="15"/>
                  </a:cubicBezTo>
                  <a:cubicBezTo>
                    <a:pt x="42" y="10"/>
                    <a:pt x="41" y="6"/>
                    <a:pt x="38" y="4"/>
                  </a:cubicBezTo>
                  <a:cubicBezTo>
                    <a:pt x="35" y="1"/>
                    <a:pt x="31" y="0"/>
                    <a:pt x="25" y="0"/>
                  </a:cubicBezTo>
                  <a:cubicBezTo>
                    <a:pt x="0" y="0"/>
                    <a:pt x="0" y="0"/>
                    <a:pt x="0" y="0"/>
                  </a:cubicBezTo>
                  <a:cubicBezTo>
                    <a:pt x="0" y="50"/>
                    <a:pt x="0" y="50"/>
                    <a:pt x="0" y="50"/>
                  </a:cubicBezTo>
                  <a:cubicBezTo>
                    <a:pt x="15" y="50"/>
                    <a:pt x="15" y="50"/>
                    <a:pt x="15" y="50"/>
                  </a:cubicBezTo>
                  <a:lnTo>
                    <a:pt x="15" y="31"/>
                  </a:lnTo>
                  <a:close/>
                  <a:moveTo>
                    <a:pt x="15" y="10"/>
                  </a:moveTo>
                  <a:cubicBezTo>
                    <a:pt x="20" y="10"/>
                    <a:pt x="20" y="10"/>
                    <a:pt x="20" y="10"/>
                  </a:cubicBezTo>
                  <a:cubicBezTo>
                    <a:pt x="22" y="10"/>
                    <a:pt x="24" y="10"/>
                    <a:pt x="25" y="11"/>
                  </a:cubicBezTo>
                  <a:cubicBezTo>
                    <a:pt x="26" y="13"/>
                    <a:pt x="27" y="14"/>
                    <a:pt x="27" y="15"/>
                  </a:cubicBezTo>
                  <a:cubicBezTo>
                    <a:pt x="27" y="17"/>
                    <a:pt x="26" y="18"/>
                    <a:pt x="25" y="19"/>
                  </a:cubicBezTo>
                  <a:cubicBezTo>
                    <a:pt x="24" y="20"/>
                    <a:pt x="22" y="21"/>
                    <a:pt x="19" y="21"/>
                  </a:cubicBezTo>
                  <a:cubicBezTo>
                    <a:pt x="15" y="21"/>
                    <a:pt x="15" y="21"/>
                    <a:pt x="15" y="21"/>
                  </a:cubicBezTo>
                  <a:lnTo>
                    <a:pt x="1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1">
              <a:extLst>
                <a:ext uri="{FF2B5EF4-FFF2-40B4-BE49-F238E27FC236}">
                  <a16:creationId xmlns:a16="http://schemas.microsoft.com/office/drawing/2014/main" id="{2BA8B500-8900-4151-9331-667DB879F8AC}"/>
                </a:ext>
              </a:extLst>
            </p:cNvPr>
            <p:cNvSpPr>
              <a:spLocks noEditPoints="1"/>
            </p:cNvSpPr>
            <p:nvPr/>
          </p:nvSpPr>
          <p:spPr bwMode="auto">
            <a:xfrm>
              <a:off x="-1106488" y="4217988"/>
              <a:ext cx="233362" cy="212725"/>
            </a:xfrm>
            <a:custGeom>
              <a:avLst/>
              <a:gdLst>
                <a:gd name="T0" fmla="*/ 96 w 147"/>
                <a:gd name="T1" fmla="*/ 0 h 134"/>
                <a:gd name="T2" fmla="*/ 51 w 147"/>
                <a:gd name="T3" fmla="*/ 0 h 134"/>
                <a:gd name="T4" fmla="*/ 0 w 147"/>
                <a:gd name="T5" fmla="*/ 134 h 134"/>
                <a:gd name="T6" fmla="*/ 43 w 147"/>
                <a:gd name="T7" fmla="*/ 134 h 134"/>
                <a:gd name="T8" fmla="*/ 48 w 147"/>
                <a:gd name="T9" fmla="*/ 110 h 134"/>
                <a:gd name="T10" fmla="*/ 96 w 147"/>
                <a:gd name="T11" fmla="*/ 110 h 134"/>
                <a:gd name="T12" fmla="*/ 102 w 147"/>
                <a:gd name="T13" fmla="*/ 134 h 134"/>
                <a:gd name="T14" fmla="*/ 147 w 147"/>
                <a:gd name="T15" fmla="*/ 134 h 134"/>
                <a:gd name="T16" fmla="*/ 96 w 147"/>
                <a:gd name="T17" fmla="*/ 0 h 134"/>
                <a:gd name="T18" fmla="*/ 59 w 147"/>
                <a:gd name="T19" fmla="*/ 83 h 134"/>
                <a:gd name="T20" fmla="*/ 72 w 147"/>
                <a:gd name="T21" fmla="*/ 35 h 134"/>
                <a:gd name="T22" fmla="*/ 88 w 147"/>
                <a:gd name="T23" fmla="*/ 83 h 134"/>
                <a:gd name="T24" fmla="*/ 59 w 147"/>
                <a:gd name="T25" fmla="*/ 8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34">
                  <a:moveTo>
                    <a:pt x="96" y="0"/>
                  </a:moveTo>
                  <a:lnTo>
                    <a:pt x="51" y="0"/>
                  </a:lnTo>
                  <a:lnTo>
                    <a:pt x="0" y="134"/>
                  </a:lnTo>
                  <a:lnTo>
                    <a:pt x="43" y="134"/>
                  </a:lnTo>
                  <a:lnTo>
                    <a:pt x="48" y="110"/>
                  </a:lnTo>
                  <a:lnTo>
                    <a:pt x="96" y="110"/>
                  </a:lnTo>
                  <a:lnTo>
                    <a:pt x="102" y="134"/>
                  </a:lnTo>
                  <a:lnTo>
                    <a:pt x="147" y="134"/>
                  </a:lnTo>
                  <a:lnTo>
                    <a:pt x="96" y="0"/>
                  </a:lnTo>
                  <a:close/>
                  <a:moveTo>
                    <a:pt x="59" y="83"/>
                  </a:moveTo>
                  <a:lnTo>
                    <a:pt x="72" y="35"/>
                  </a:lnTo>
                  <a:lnTo>
                    <a:pt x="88" y="83"/>
                  </a:lnTo>
                  <a:lnTo>
                    <a:pt x="59"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2">
              <a:extLst>
                <a:ext uri="{FF2B5EF4-FFF2-40B4-BE49-F238E27FC236}">
                  <a16:creationId xmlns:a16="http://schemas.microsoft.com/office/drawing/2014/main" id="{43999A5C-00DD-4BAF-B1B0-F4D4D4A1495D}"/>
                </a:ext>
              </a:extLst>
            </p:cNvPr>
            <p:cNvSpPr>
              <a:spLocks/>
            </p:cNvSpPr>
            <p:nvPr/>
          </p:nvSpPr>
          <p:spPr bwMode="auto">
            <a:xfrm>
              <a:off x="-1724025" y="3449638"/>
              <a:ext cx="144462" cy="128588"/>
            </a:xfrm>
            <a:custGeom>
              <a:avLst/>
              <a:gdLst>
                <a:gd name="T0" fmla="*/ 91 w 91"/>
                <a:gd name="T1" fmla="*/ 81 h 81"/>
                <a:gd name="T2" fmla="*/ 91 w 91"/>
                <a:gd name="T3" fmla="*/ 0 h 81"/>
                <a:gd name="T4" fmla="*/ 59 w 91"/>
                <a:gd name="T5" fmla="*/ 0 h 81"/>
                <a:gd name="T6" fmla="*/ 45 w 91"/>
                <a:gd name="T7" fmla="*/ 49 h 81"/>
                <a:gd name="T8" fmla="*/ 32 w 91"/>
                <a:gd name="T9" fmla="*/ 0 h 81"/>
                <a:gd name="T10" fmla="*/ 0 w 91"/>
                <a:gd name="T11" fmla="*/ 0 h 81"/>
                <a:gd name="T12" fmla="*/ 0 w 91"/>
                <a:gd name="T13" fmla="*/ 81 h 81"/>
                <a:gd name="T14" fmla="*/ 21 w 91"/>
                <a:gd name="T15" fmla="*/ 81 h 81"/>
                <a:gd name="T16" fmla="*/ 21 w 91"/>
                <a:gd name="T17" fmla="*/ 19 h 81"/>
                <a:gd name="T18" fmla="*/ 37 w 91"/>
                <a:gd name="T19" fmla="*/ 81 h 81"/>
                <a:gd name="T20" fmla="*/ 53 w 91"/>
                <a:gd name="T21" fmla="*/ 81 h 81"/>
                <a:gd name="T22" fmla="*/ 69 w 91"/>
                <a:gd name="T23" fmla="*/ 19 h 81"/>
                <a:gd name="T24" fmla="*/ 69 w 91"/>
                <a:gd name="T25" fmla="*/ 81 h 81"/>
                <a:gd name="T26" fmla="*/ 91 w 91"/>
                <a:gd name="T2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81">
                  <a:moveTo>
                    <a:pt x="91" y="81"/>
                  </a:moveTo>
                  <a:lnTo>
                    <a:pt x="91" y="0"/>
                  </a:lnTo>
                  <a:lnTo>
                    <a:pt x="59" y="0"/>
                  </a:lnTo>
                  <a:lnTo>
                    <a:pt x="45" y="49"/>
                  </a:lnTo>
                  <a:lnTo>
                    <a:pt x="32" y="0"/>
                  </a:lnTo>
                  <a:lnTo>
                    <a:pt x="0" y="0"/>
                  </a:lnTo>
                  <a:lnTo>
                    <a:pt x="0" y="81"/>
                  </a:lnTo>
                  <a:lnTo>
                    <a:pt x="21" y="81"/>
                  </a:lnTo>
                  <a:lnTo>
                    <a:pt x="21" y="19"/>
                  </a:lnTo>
                  <a:lnTo>
                    <a:pt x="37" y="81"/>
                  </a:lnTo>
                  <a:lnTo>
                    <a:pt x="53" y="81"/>
                  </a:lnTo>
                  <a:lnTo>
                    <a:pt x="69" y="19"/>
                  </a:lnTo>
                  <a:lnTo>
                    <a:pt x="69" y="81"/>
                  </a:lnTo>
                  <a:lnTo>
                    <a:pt x="91"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13">
              <a:extLst>
                <a:ext uri="{FF2B5EF4-FFF2-40B4-BE49-F238E27FC236}">
                  <a16:creationId xmlns:a16="http://schemas.microsoft.com/office/drawing/2014/main" id="{7B2CAFC6-FFA9-4263-A2C2-C015D09E3FDB}"/>
                </a:ext>
              </a:extLst>
            </p:cNvPr>
            <p:cNvSpPr>
              <a:spLocks noChangeArrowheads="1"/>
            </p:cNvSpPr>
            <p:nvPr/>
          </p:nvSpPr>
          <p:spPr bwMode="auto">
            <a:xfrm>
              <a:off x="-1536700" y="3449638"/>
              <a:ext cx="41275"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4">
              <a:extLst>
                <a:ext uri="{FF2B5EF4-FFF2-40B4-BE49-F238E27FC236}">
                  <a16:creationId xmlns:a16="http://schemas.microsoft.com/office/drawing/2014/main" id="{845157AC-25B1-45C8-8AB8-F99B3FEF623D}"/>
                </a:ext>
              </a:extLst>
            </p:cNvPr>
            <p:cNvSpPr>
              <a:spLocks/>
            </p:cNvSpPr>
            <p:nvPr/>
          </p:nvSpPr>
          <p:spPr bwMode="auto">
            <a:xfrm>
              <a:off x="-1452563" y="3449638"/>
              <a:ext cx="123825" cy="128588"/>
            </a:xfrm>
            <a:custGeom>
              <a:avLst/>
              <a:gdLst>
                <a:gd name="T0" fmla="*/ 24 w 78"/>
                <a:gd name="T1" fmla="*/ 38 h 81"/>
                <a:gd name="T2" fmla="*/ 54 w 78"/>
                <a:gd name="T3" fmla="*/ 81 h 81"/>
                <a:gd name="T4" fmla="*/ 78 w 78"/>
                <a:gd name="T5" fmla="*/ 81 h 81"/>
                <a:gd name="T6" fmla="*/ 78 w 78"/>
                <a:gd name="T7" fmla="*/ 0 h 81"/>
                <a:gd name="T8" fmla="*/ 54 w 78"/>
                <a:gd name="T9" fmla="*/ 0 h 81"/>
                <a:gd name="T10" fmla="*/ 54 w 78"/>
                <a:gd name="T11" fmla="*/ 46 h 81"/>
                <a:gd name="T12" fmla="*/ 24 w 78"/>
                <a:gd name="T13" fmla="*/ 0 h 81"/>
                <a:gd name="T14" fmla="*/ 0 w 78"/>
                <a:gd name="T15" fmla="*/ 0 h 81"/>
                <a:gd name="T16" fmla="*/ 0 w 78"/>
                <a:gd name="T17" fmla="*/ 81 h 81"/>
                <a:gd name="T18" fmla="*/ 24 w 78"/>
                <a:gd name="T19" fmla="*/ 81 h 81"/>
                <a:gd name="T20" fmla="*/ 24 w 78"/>
                <a:gd name="T21"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81">
                  <a:moveTo>
                    <a:pt x="24" y="38"/>
                  </a:moveTo>
                  <a:lnTo>
                    <a:pt x="54" y="81"/>
                  </a:lnTo>
                  <a:lnTo>
                    <a:pt x="78" y="81"/>
                  </a:lnTo>
                  <a:lnTo>
                    <a:pt x="78" y="0"/>
                  </a:lnTo>
                  <a:lnTo>
                    <a:pt x="54" y="0"/>
                  </a:lnTo>
                  <a:lnTo>
                    <a:pt x="54" y="46"/>
                  </a:lnTo>
                  <a:lnTo>
                    <a:pt x="24" y="0"/>
                  </a:lnTo>
                  <a:lnTo>
                    <a:pt x="0" y="0"/>
                  </a:lnTo>
                  <a:lnTo>
                    <a:pt x="0" y="81"/>
                  </a:lnTo>
                  <a:lnTo>
                    <a:pt x="24" y="81"/>
                  </a:lnTo>
                  <a:lnTo>
                    <a:pt x="2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5">
              <a:extLst>
                <a:ext uri="{FF2B5EF4-FFF2-40B4-BE49-F238E27FC236}">
                  <a16:creationId xmlns:a16="http://schemas.microsoft.com/office/drawing/2014/main" id="{E2F606BB-B2A8-4DD7-8E0E-C1D5A797291E}"/>
                </a:ext>
              </a:extLst>
            </p:cNvPr>
            <p:cNvSpPr>
              <a:spLocks noChangeArrowheads="1"/>
            </p:cNvSpPr>
            <p:nvPr/>
          </p:nvSpPr>
          <p:spPr bwMode="auto">
            <a:xfrm>
              <a:off x="-1281113" y="3449638"/>
              <a:ext cx="38100"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6">
              <a:extLst>
                <a:ext uri="{FF2B5EF4-FFF2-40B4-BE49-F238E27FC236}">
                  <a16:creationId xmlns:a16="http://schemas.microsoft.com/office/drawing/2014/main" id="{72F15EBD-C156-420C-9BD8-F392C06C1BEA}"/>
                </a:ext>
              </a:extLst>
            </p:cNvPr>
            <p:cNvSpPr>
              <a:spLocks/>
            </p:cNvSpPr>
            <p:nvPr/>
          </p:nvSpPr>
          <p:spPr bwMode="auto">
            <a:xfrm>
              <a:off x="-1196975" y="3449638"/>
              <a:ext cx="144462" cy="128588"/>
            </a:xfrm>
            <a:custGeom>
              <a:avLst/>
              <a:gdLst>
                <a:gd name="T0" fmla="*/ 91 w 91"/>
                <a:gd name="T1" fmla="*/ 81 h 81"/>
                <a:gd name="T2" fmla="*/ 91 w 91"/>
                <a:gd name="T3" fmla="*/ 0 h 81"/>
                <a:gd name="T4" fmla="*/ 57 w 91"/>
                <a:gd name="T5" fmla="*/ 0 h 81"/>
                <a:gd name="T6" fmla="*/ 46 w 91"/>
                <a:gd name="T7" fmla="*/ 49 h 81"/>
                <a:gd name="T8" fmla="*/ 32 w 91"/>
                <a:gd name="T9" fmla="*/ 0 h 81"/>
                <a:gd name="T10" fmla="*/ 0 w 91"/>
                <a:gd name="T11" fmla="*/ 0 h 81"/>
                <a:gd name="T12" fmla="*/ 0 w 91"/>
                <a:gd name="T13" fmla="*/ 81 h 81"/>
                <a:gd name="T14" fmla="*/ 19 w 91"/>
                <a:gd name="T15" fmla="*/ 81 h 81"/>
                <a:gd name="T16" fmla="*/ 19 w 91"/>
                <a:gd name="T17" fmla="*/ 19 h 81"/>
                <a:gd name="T18" fmla="*/ 35 w 91"/>
                <a:gd name="T19" fmla="*/ 81 h 81"/>
                <a:gd name="T20" fmla="*/ 54 w 91"/>
                <a:gd name="T21" fmla="*/ 81 h 81"/>
                <a:gd name="T22" fmla="*/ 70 w 91"/>
                <a:gd name="T23" fmla="*/ 19 h 81"/>
                <a:gd name="T24" fmla="*/ 70 w 91"/>
                <a:gd name="T25" fmla="*/ 81 h 81"/>
                <a:gd name="T26" fmla="*/ 91 w 91"/>
                <a:gd name="T2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81">
                  <a:moveTo>
                    <a:pt x="91" y="81"/>
                  </a:moveTo>
                  <a:lnTo>
                    <a:pt x="91" y="0"/>
                  </a:lnTo>
                  <a:lnTo>
                    <a:pt x="57" y="0"/>
                  </a:lnTo>
                  <a:lnTo>
                    <a:pt x="46" y="49"/>
                  </a:lnTo>
                  <a:lnTo>
                    <a:pt x="32" y="0"/>
                  </a:lnTo>
                  <a:lnTo>
                    <a:pt x="0" y="0"/>
                  </a:lnTo>
                  <a:lnTo>
                    <a:pt x="0" y="81"/>
                  </a:lnTo>
                  <a:lnTo>
                    <a:pt x="19" y="81"/>
                  </a:lnTo>
                  <a:lnTo>
                    <a:pt x="19" y="19"/>
                  </a:lnTo>
                  <a:lnTo>
                    <a:pt x="35" y="81"/>
                  </a:lnTo>
                  <a:lnTo>
                    <a:pt x="54" y="81"/>
                  </a:lnTo>
                  <a:lnTo>
                    <a:pt x="70" y="19"/>
                  </a:lnTo>
                  <a:lnTo>
                    <a:pt x="70" y="81"/>
                  </a:lnTo>
                  <a:lnTo>
                    <a:pt x="91"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7">
              <a:extLst>
                <a:ext uri="{FF2B5EF4-FFF2-40B4-BE49-F238E27FC236}">
                  <a16:creationId xmlns:a16="http://schemas.microsoft.com/office/drawing/2014/main" id="{45F03313-183B-4A0A-A9A9-8419AE1BFDA6}"/>
                </a:ext>
              </a:extLst>
            </p:cNvPr>
            <p:cNvSpPr>
              <a:spLocks/>
            </p:cNvSpPr>
            <p:nvPr/>
          </p:nvSpPr>
          <p:spPr bwMode="auto">
            <a:xfrm>
              <a:off x="-1009650" y="3449638"/>
              <a:ext cx="119062" cy="133350"/>
            </a:xfrm>
            <a:custGeom>
              <a:avLst/>
              <a:gdLst>
                <a:gd name="T0" fmla="*/ 0 w 28"/>
                <a:gd name="T1" fmla="*/ 0 h 31"/>
                <a:gd name="T2" fmla="*/ 0 w 28"/>
                <a:gd name="T3" fmla="*/ 18 h 31"/>
                <a:gd name="T4" fmla="*/ 0 w 28"/>
                <a:gd name="T5" fmla="*/ 23 h 31"/>
                <a:gd name="T6" fmla="*/ 2 w 28"/>
                <a:gd name="T7" fmla="*/ 26 h 31"/>
                <a:gd name="T8" fmla="*/ 6 w 28"/>
                <a:gd name="T9" fmla="*/ 29 h 31"/>
                <a:gd name="T10" fmla="*/ 10 w 28"/>
                <a:gd name="T11" fmla="*/ 30 h 31"/>
                <a:gd name="T12" fmla="*/ 15 w 28"/>
                <a:gd name="T13" fmla="*/ 31 h 31"/>
                <a:gd name="T14" fmla="*/ 21 w 28"/>
                <a:gd name="T15" fmla="*/ 30 h 31"/>
                <a:gd name="T16" fmla="*/ 25 w 28"/>
                <a:gd name="T17" fmla="*/ 27 h 31"/>
                <a:gd name="T18" fmla="*/ 28 w 28"/>
                <a:gd name="T19" fmla="*/ 23 h 31"/>
                <a:gd name="T20" fmla="*/ 28 w 28"/>
                <a:gd name="T21" fmla="*/ 18 h 31"/>
                <a:gd name="T22" fmla="*/ 28 w 28"/>
                <a:gd name="T23" fmla="*/ 0 h 31"/>
                <a:gd name="T24" fmla="*/ 19 w 28"/>
                <a:gd name="T25" fmla="*/ 0 h 31"/>
                <a:gd name="T26" fmla="*/ 19 w 28"/>
                <a:gd name="T27" fmla="*/ 18 h 31"/>
                <a:gd name="T28" fmla="*/ 18 w 28"/>
                <a:gd name="T29" fmla="*/ 22 h 31"/>
                <a:gd name="T30" fmla="*/ 14 w 28"/>
                <a:gd name="T31" fmla="*/ 24 h 31"/>
                <a:gd name="T32" fmla="*/ 10 w 28"/>
                <a:gd name="T33" fmla="*/ 22 h 31"/>
                <a:gd name="T34" fmla="*/ 9 w 28"/>
                <a:gd name="T35" fmla="*/ 18 h 31"/>
                <a:gd name="T36" fmla="*/ 9 w 28"/>
                <a:gd name="T37" fmla="*/ 0 h 31"/>
                <a:gd name="T38" fmla="*/ 0 w 28"/>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31">
                  <a:moveTo>
                    <a:pt x="0" y="0"/>
                  </a:moveTo>
                  <a:cubicBezTo>
                    <a:pt x="0" y="18"/>
                    <a:pt x="0" y="18"/>
                    <a:pt x="0" y="18"/>
                  </a:cubicBezTo>
                  <a:cubicBezTo>
                    <a:pt x="0" y="19"/>
                    <a:pt x="0" y="21"/>
                    <a:pt x="0" y="23"/>
                  </a:cubicBezTo>
                  <a:cubicBezTo>
                    <a:pt x="1" y="24"/>
                    <a:pt x="2" y="25"/>
                    <a:pt x="2" y="26"/>
                  </a:cubicBezTo>
                  <a:cubicBezTo>
                    <a:pt x="3" y="28"/>
                    <a:pt x="4" y="28"/>
                    <a:pt x="6" y="29"/>
                  </a:cubicBezTo>
                  <a:cubicBezTo>
                    <a:pt x="7" y="30"/>
                    <a:pt x="8" y="30"/>
                    <a:pt x="10" y="30"/>
                  </a:cubicBezTo>
                  <a:cubicBezTo>
                    <a:pt x="12" y="30"/>
                    <a:pt x="13" y="31"/>
                    <a:pt x="15" y="31"/>
                  </a:cubicBezTo>
                  <a:cubicBezTo>
                    <a:pt x="17" y="31"/>
                    <a:pt x="19" y="30"/>
                    <a:pt x="21" y="30"/>
                  </a:cubicBezTo>
                  <a:cubicBezTo>
                    <a:pt x="23" y="29"/>
                    <a:pt x="24" y="28"/>
                    <a:pt x="25" y="27"/>
                  </a:cubicBezTo>
                  <a:cubicBezTo>
                    <a:pt x="26" y="26"/>
                    <a:pt x="27" y="24"/>
                    <a:pt x="28" y="23"/>
                  </a:cubicBezTo>
                  <a:cubicBezTo>
                    <a:pt x="28" y="21"/>
                    <a:pt x="28" y="20"/>
                    <a:pt x="28" y="18"/>
                  </a:cubicBezTo>
                  <a:cubicBezTo>
                    <a:pt x="28" y="0"/>
                    <a:pt x="28" y="0"/>
                    <a:pt x="28" y="0"/>
                  </a:cubicBezTo>
                  <a:cubicBezTo>
                    <a:pt x="19" y="0"/>
                    <a:pt x="19" y="0"/>
                    <a:pt x="19" y="0"/>
                  </a:cubicBezTo>
                  <a:cubicBezTo>
                    <a:pt x="19" y="18"/>
                    <a:pt x="19" y="18"/>
                    <a:pt x="19" y="18"/>
                  </a:cubicBezTo>
                  <a:cubicBezTo>
                    <a:pt x="19" y="20"/>
                    <a:pt x="19" y="21"/>
                    <a:pt x="18" y="22"/>
                  </a:cubicBezTo>
                  <a:cubicBezTo>
                    <a:pt x="17" y="23"/>
                    <a:pt x="16" y="24"/>
                    <a:pt x="14" y="24"/>
                  </a:cubicBezTo>
                  <a:cubicBezTo>
                    <a:pt x="12" y="24"/>
                    <a:pt x="11" y="23"/>
                    <a:pt x="10" y="22"/>
                  </a:cubicBezTo>
                  <a:cubicBezTo>
                    <a:pt x="9" y="21"/>
                    <a:pt x="9" y="20"/>
                    <a:pt x="9" y="18"/>
                  </a:cubicBezTo>
                  <a:cubicBezTo>
                    <a:pt x="9" y="0"/>
                    <a:pt x="9" y="0"/>
                    <a:pt x="9"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8">
              <a:extLst>
                <a:ext uri="{FF2B5EF4-FFF2-40B4-BE49-F238E27FC236}">
                  <a16:creationId xmlns:a16="http://schemas.microsoft.com/office/drawing/2014/main" id="{70F5C729-3A83-49E7-8807-4C9263D0E1C4}"/>
                </a:ext>
              </a:extLst>
            </p:cNvPr>
            <p:cNvSpPr>
              <a:spLocks/>
            </p:cNvSpPr>
            <p:nvPr/>
          </p:nvSpPr>
          <p:spPr bwMode="auto">
            <a:xfrm>
              <a:off x="-842963" y="3449638"/>
              <a:ext cx="139700" cy="128588"/>
            </a:xfrm>
            <a:custGeom>
              <a:avLst/>
              <a:gdLst>
                <a:gd name="T0" fmla="*/ 43 w 88"/>
                <a:gd name="T1" fmla="*/ 49 h 81"/>
                <a:gd name="T2" fmla="*/ 32 w 88"/>
                <a:gd name="T3" fmla="*/ 0 h 81"/>
                <a:gd name="T4" fmla="*/ 0 w 88"/>
                <a:gd name="T5" fmla="*/ 0 h 81"/>
                <a:gd name="T6" fmla="*/ 0 w 88"/>
                <a:gd name="T7" fmla="*/ 81 h 81"/>
                <a:gd name="T8" fmla="*/ 19 w 88"/>
                <a:gd name="T9" fmla="*/ 81 h 81"/>
                <a:gd name="T10" fmla="*/ 19 w 88"/>
                <a:gd name="T11" fmla="*/ 19 h 81"/>
                <a:gd name="T12" fmla="*/ 35 w 88"/>
                <a:gd name="T13" fmla="*/ 81 h 81"/>
                <a:gd name="T14" fmla="*/ 54 w 88"/>
                <a:gd name="T15" fmla="*/ 81 h 81"/>
                <a:gd name="T16" fmla="*/ 70 w 88"/>
                <a:gd name="T17" fmla="*/ 19 h 81"/>
                <a:gd name="T18" fmla="*/ 70 w 88"/>
                <a:gd name="T19" fmla="*/ 81 h 81"/>
                <a:gd name="T20" fmla="*/ 88 w 88"/>
                <a:gd name="T21" fmla="*/ 81 h 81"/>
                <a:gd name="T22" fmla="*/ 88 w 88"/>
                <a:gd name="T23" fmla="*/ 0 h 81"/>
                <a:gd name="T24" fmla="*/ 56 w 88"/>
                <a:gd name="T25" fmla="*/ 0 h 81"/>
                <a:gd name="T26" fmla="*/ 43 w 88"/>
                <a:gd name="T27" fmla="*/ 4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1">
                  <a:moveTo>
                    <a:pt x="43" y="49"/>
                  </a:moveTo>
                  <a:lnTo>
                    <a:pt x="32" y="0"/>
                  </a:lnTo>
                  <a:lnTo>
                    <a:pt x="0" y="0"/>
                  </a:lnTo>
                  <a:lnTo>
                    <a:pt x="0" y="81"/>
                  </a:lnTo>
                  <a:lnTo>
                    <a:pt x="19" y="81"/>
                  </a:lnTo>
                  <a:lnTo>
                    <a:pt x="19" y="19"/>
                  </a:lnTo>
                  <a:lnTo>
                    <a:pt x="35" y="81"/>
                  </a:lnTo>
                  <a:lnTo>
                    <a:pt x="54" y="81"/>
                  </a:lnTo>
                  <a:lnTo>
                    <a:pt x="70" y="19"/>
                  </a:lnTo>
                  <a:lnTo>
                    <a:pt x="70" y="81"/>
                  </a:lnTo>
                  <a:lnTo>
                    <a:pt x="88" y="81"/>
                  </a:lnTo>
                  <a:lnTo>
                    <a:pt x="88" y="0"/>
                  </a:lnTo>
                  <a:lnTo>
                    <a:pt x="56" y="0"/>
                  </a:lnTo>
                  <a:lnTo>
                    <a:pt x="43"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9">
              <a:extLst>
                <a:ext uri="{FF2B5EF4-FFF2-40B4-BE49-F238E27FC236}">
                  <a16:creationId xmlns:a16="http://schemas.microsoft.com/office/drawing/2014/main" id="{543EB150-3E51-4525-B4E6-5D4E3D5AD23B}"/>
                </a:ext>
              </a:extLst>
            </p:cNvPr>
            <p:cNvSpPr>
              <a:spLocks noChangeArrowheads="1"/>
            </p:cNvSpPr>
            <p:nvPr/>
          </p:nvSpPr>
          <p:spPr bwMode="auto">
            <a:xfrm>
              <a:off x="-1920875" y="3709988"/>
              <a:ext cx="80962" cy="80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20">
              <a:extLst>
                <a:ext uri="{FF2B5EF4-FFF2-40B4-BE49-F238E27FC236}">
                  <a16:creationId xmlns:a16="http://schemas.microsoft.com/office/drawing/2014/main" id="{542C007A-F3B7-4420-86BD-3A7CC0CA0F9A}"/>
                </a:ext>
              </a:extLst>
            </p:cNvPr>
            <p:cNvSpPr>
              <a:spLocks noChangeArrowheads="1"/>
            </p:cNvSpPr>
            <p:nvPr/>
          </p:nvSpPr>
          <p:spPr bwMode="auto">
            <a:xfrm>
              <a:off x="-1801813" y="4021138"/>
              <a:ext cx="80962" cy="80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21">
              <a:extLst>
                <a:ext uri="{FF2B5EF4-FFF2-40B4-BE49-F238E27FC236}">
                  <a16:creationId xmlns:a16="http://schemas.microsoft.com/office/drawing/2014/main" id="{8F105F02-9988-4ADB-9044-264CA310B677}"/>
                </a:ext>
              </a:extLst>
            </p:cNvPr>
            <p:cNvSpPr>
              <a:spLocks noChangeArrowheads="1"/>
            </p:cNvSpPr>
            <p:nvPr/>
          </p:nvSpPr>
          <p:spPr bwMode="auto">
            <a:xfrm>
              <a:off x="-557213" y="3663951"/>
              <a:ext cx="80962" cy="80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22">
              <a:extLst>
                <a:ext uri="{FF2B5EF4-FFF2-40B4-BE49-F238E27FC236}">
                  <a16:creationId xmlns:a16="http://schemas.microsoft.com/office/drawing/2014/main" id="{CE506AAA-2215-428F-8616-275EBBD6630C}"/>
                </a:ext>
              </a:extLst>
            </p:cNvPr>
            <p:cNvSpPr>
              <a:spLocks noChangeArrowheads="1"/>
            </p:cNvSpPr>
            <p:nvPr/>
          </p:nvSpPr>
          <p:spPr bwMode="auto">
            <a:xfrm>
              <a:off x="-744538" y="4157663"/>
              <a:ext cx="80962" cy="80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23">
              <a:extLst>
                <a:ext uri="{FF2B5EF4-FFF2-40B4-BE49-F238E27FC236}">
                  <a16:creationId xmlns:a16="http://schemas.microsoft.com/office/drawing/2014/main" id="{96A98543-7BF9-4EAE-8F49-DBDC383FD74C}"/>
                </a:ext>
              </a:extLst>
            </p:cNvPr>
            <p:cNvSpPr>
              <a:spLocks noChangeArrowheads="1"/>
            </p:cNvSpPr>
            <p:nvPr/>
          </p:nvSpPr>
          <p:spPr bwMode="auto">
            <a:xfrm>
              <a:off x="-754063" y="3884613"/>
              <a:ext cx="80962" cy="80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 name="Picture 1">
            <a:extLst>
              <a:ext uri="{FF2B5EF4-FFF2-40B4-BE49-F238E27FC236}">
                <a16:creationId xmlns:a16="http://schemas.microsoft.com/office/drawing/2014/main" id="{A1DBDF31-326C-44AD-9215-6FDFCF8B29BC}"/>
              </a:ext>
            </a:extLst>
          </p:cNvPr>
          <p:cNvPicPr>
            <a:picLocks noChangeAspect="1"/>
          </p:cNvPicPr>
          <p:nvPr/>
        </p:nvPicPr>
        <p:blipFill>
          <a:blip r:embed="rId3"/>
          <a:stretch>
            <a:fillRect/>
          </a:stretch>
        </p:blipFill>
        <p:spPr>
          <a:xfrm>
            <a:off x="921225" y="6356755"/>
            <a:ext cx="1171575" cy="495300"/>
          </a:xfrm>
          <a:prstGeom prst="rect">
            <a:avLst/>
          </a:prstGeom>
        </p:spPr>
      </p:pic>
      <p:pic>
        <p:nvPicPr>
          <p:cNvPr id="96" name="Picture 95">
            <a:extLst>
              <a:ext uri="{FF2B5EF4-FFF2-40B4-BE49-F238E27FC236}">
                <a16:creationId xmlns:a16="http://schemas.microsoft.com/office/drawing/2014/main" id="{4E059C6D-DE68-4479-89C6-F580210BB5BB}"/>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9135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2B1BAD20-09F6-4C4F-A282-5FF2C2184420}"/>
              </a:ext>
            </a:extLst>
          </p:cNvPr>
          <p:cNvSpPr/>
          <p:nvPr/>
        </p:nvSpPr>
        <p:spPr>
          <a:xfrm>
            <a:off x="6867735" y="5447489"/>
            <a:ext cx="5324264" cy="87766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ectangle 24">
            <a:extLst>
              <a:ext uri="{FF2B5EF4-FFF2-40B4-BE49-F238E27FC236}">
                <a16:creationId xmlns:a16="http://schemas.microsoft.com/office/drawing/2014/main" id="{DD91A245-7112-4380-B1CD-6487A84DCE7C}"/>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FF90765-F862-4EEF-99DD-1B5624302AB2}"/>
              </a:ext>
            </a:extLst>
          </p:cNvPr>
          <p:cNvGrpSpPr/>
          <p:nvPr/>
        </p:nvGrpSpPr>
        <p:grpSpPr>
          <a:xfrm>
            <a:off x="950173" y="6425309"/>
            <a:ext cx="1075910" cy="230941"/>
            <a:chOff x="201074" y="6425309"/>
            <a:chExt cx="1075910" cy="230941"/>
          </a:xfrm>
        </p:grpSpPr>
        <p:sp>
          <p:nvSpPr>
            <p:cNvPr id="30" name="Rectangle 29">
              <a:extLst>
                <a:ext uri="{FF2B5EF4-FFF2-40B4-BE49-F238E27FC236}">
                  <a16:creationId xmlns:a16="http://schemas.microsoft.com/office/drawing/2014/main" id="{05834604-D7CF-4FC8-BBB7-884EE661183F}"/>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1" name="Straight Connector 30">
              <a:extLst>
                <a:ext uri="{FF2B5EF4-FFF2-40B4-BE49-F238E27FC236}">
                  <a16:creationId xmlns:a16="http://schemas.microsoft.com/office/drawing/2014/main" id="{F7DA8EDF-EF01-4C25-A09C-5C14979CCB51}"/>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41F4CBE5-052F-4D2A-B9D5-3BF090061406}"/>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3" name="Title 1">
              <a:extLst>
                <a:ext uri="{FF2B5EF4-FFF2-40B4-BE49-F238E27FC236}">
                  <a16:creationId xmlns:a16="http://schemas.microsoft.com/office/drawing/2014/main" id="{941945D9-7730-4E65-8C58-B59FC3A62BC0}"/>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18" name="TextBox 17">
            <a:extLst>
              <a:ext uri="{FF2B5EF4-FFF2-40B4-BE49-F238E27FC236}">
                <a16:creationId xmlns:a16="http://schemas.microsoft.com/office/drawing/2014/main" id="{F6911CE9-5D91-964A-B9B4-D371C453F92C}"/>
              </a:ext>
            </a:extLst>
          </p:cNvPr>
          <p:cNvSpPr txBox="1"/>
          <p:nvPr/>
        </p:nvSpPr>
        <p:spPr>
          <a:xfrm>
            <a:off x="7307882" y="5531946"/>
            <a:ext cx="4805349" cy="646331"/>
          </a:xfrm>
          <a:prstGeom prst="rect">
            <a:avLst/>
          </a:prstGeom>
          <a:noFill/>
        </p:spPr>
        <p:txBody>
          <a:bodyPr wrap="square" lIns="91440" tIns="45720" rIns="91440" bIns="45720" rtlCol="0" anchor="t">
            <a:spAutoFit/>
          </a:bodyPr>
          <a:lstStyle/>
          <a:p>
            <a:pPr>
              <a:defRPr/>
            </a:pPr>
            <a:r>
              <a:rPr kumimoji="0" lang="en-US" sz="1200" b="0" i="0" u="none" strike="noStrike" kern="0" cap="none" spc="0" normalizeH="0" baseline="0" noProof="0">
                <a:ln>
                  <a:noFill/>
                </a:ln>
                <a:solidFill>
                  <a:schemeClr val="accent6"/>
                </a:solidFill>
                <a:effectLst/>
                <a:uLnTx/>
                <a:uFillTx/>
              </a:rPr>
              <a:t>Refer to the application requirements websites for a complete list of approved nozzles, operating pressures, drift reduction technologies</a:t>
            </a:r>
            <a:r>
              <a:rPr lang="en-US" sz="1200" kern="0">
                <a:solidFill>
                  <a:schemeClr val="accent6"/>
                </a:solidFill>
              </a:rPr>
              <a:t> and required buffer distance.</a:t>
            </a:r>
            <a:endParaRPr kumimoji="0" lang="en-US" sz="1200" b="0" i="0" u="none" strike="noStrike" kern="0" cap="none" spc="0" normalizeH="0" baseline="0" noProof="0">
              <a:ln>
                <a:noFill/>
              </a:ln>
              <a:solidFill>
                <a:schemeClr val="accent6"/>
              </a:solidFill>
              <a:effectLst/>
              <a:uLnTx/>
              <a:uFillTx/>
            </a:endParaRPr>
          </a:p>
        </p:txBody>
      </p:sp>
      <p:sp>
        <p:nvSpPr>
          <p:cNvPr id="12" name="Footer Placeholder 11">
            <a:extLst>
              <a:ext uri="{FF2B5EF4-FFF2-40B4-BE49-F238E27FC236}">
                <a16:creationId xmlns:a16="http://schemas.microsoft.com/office/drawing/2014/main" id="{479B5AA4-6850-4018-8626-B26C4E9F14E0}"/>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4" name="Slide Number Placeholder 13">
            <a:extLst>
              <a:ext uri="{FF2B5EF4-FFF2-40B4-BE49-F238E27FC236}">
                <a16:creationId xmlns:a16="http://schemas.microsoft.com/office/drawing/2014/main" id="{E8998181-D9C1-4C43-B971-35E0EB25D617}"/>
              </a:ext>
            </a:extLst>
          </p:cNvPr>
          <p:cNvSpPr>
            <a:spLocks noGrp="1"/>
          </p:cNvSpPr>
          <p:nvPr>
            <p:ph type="sldNum" sz="quarter" idx="16"/>
          </p:nvPr>
        </p:nvSpPr>
        <p:spPr/>
        <p:txBody>
          <a:bodyPr/>
          <a:lstStyle/>
          <a:p>
            <a:fld id="{5382645D-9DD6-408C-B0EA-C65795F9B1DE}" type="slidenum">
              <a:rPr lang="en-US" smtClean="0"/>
              <a:pPr/>
              <a:t>19</a:t>
            </a:fld>
            <a:endParaRPr lang="en-US"/>
          </a:p>
        </p:txBody>
      </p:sp>
      <p:grpSp>
        <p:nvGrpSpPr>
          <p:cNvPr id="24" name="Group 23">
            <a:extLst>
              <a:ext uri="{FF2B5EF4-FFF2-40B4-BE49-F238E27FC236}">
                <a16:creationId xmlns:a16="http://schemas.microsoft.com/office/drawing/2014/main" id="{7AD1AA6C-52D4-47D2-97EF-86FA269964CC}"/>
              </a:ext>
            </a:extLst>
          </p:cNvPr>
          <p:cNvGrpSpPr/>
          <p:nvPr/>
        </p:nvGrpSpPr>
        <p:grpSpPr>
          <a:xfrm>
            <a:off x="6965665" y="5618086"/>
            <a:ext cx="366712" cy="393700"/>
            <a:chOff x="835025" y="5568950"/>
            <a:chExt cx="366712" cy="393700"/>
          </a:xfrm>
        </p:grpSpPr>
        <p:sp>
          <p:nvSpPr>
            <p:cNvPr id="22" name="Freeform 12">
              <a:extLst>
                <a:ext uri="{FF2B5EF4-FFF2-40B4-BE49-F238E27FC236}">
                  <a16:creationId xmlns:a16="http://schemas.microsoft.com/office/drawing/2014/main" id="{43E68CEE-D50F-4BC2-8914-EBA8BAE51D4F}"/>
                </a:ext>
              </a:extLst>
            </p:cNvPr>
            <p:cNvSpPr>
              <a:spLocks noEditPoints="1"/>
            </p:cNvSpPr>
            <p:nvPr/>
          </p:nvSpPr>
          <p:spPr bwMode="auto">
            <a:xfrm>
              <a:off x="993775" y="5734050"/>
              <a:ext cx="49212" cy="169863"/>
            </a:xfrm>
            <a:custGeom>
              <a:avLst/>
              <a:gdLst>
                <a:gd name="T0" fmla="*/ 2 w 66"/>
                <a:gd name="T1" fmla="*/ 168 h 222"/>
                <a:gd name="T2" fmla="*/ 2 w 66"/>
                <a:gd name="T3" fmla="*/ 168 h 222"/>
                <a:gd name="T4" fmla="*/ 64 w 66"/>
                <a:gd name="T5" fmla="*/ 168 h 222"/>
                <a:gd name="T6" fmla="*/ 64 w 66"/>
                <a:gd name="T7" fmla="*/ 222 h 222"/>
                <a:gd name="T8" fmla="*/ 2 w 66"/>
                <a:gd name="T9" fmla="*/ 222 h 222"/>
                <a:gd name="T10" fmla="*/ 2 w 66"/>
                <a:gd name="T11" fmla="*/ 168 h 222"/>
                <a:gd name="T12" fmla="*/ 0 w 66"/>
                <a:gd name="T13" fmla="*/ 0 h 222"/>
                <a:gd name="T14" fmla="*/ 0 w 66"/>
                <a:gd name="T15" fmla="*/ 0 h 222"/>
                <a:gd name="T16" fmla="*/ 66 w 66"/>
                <a:gd name="T17" fmla="*/ 0 h 222"/>
                <a:gd name="T18" fmla="*/ 66 w 66"/>
                <a:gd name="T19" fmla="*/ 51 h 222"/>
                <a:gd name="T20" fmla="*/ 53 w 66"/>
                <a:gd name="T21" fmla="*/ 153 h 222"/>
                <a:gd name="T22" fmla="*/ 12 w 66"/>
                <a:gd name="T23" fmla="*/ 153 h 222"/>
                <a:gd name="T24" fmla="*/ 0 w 66"/>
                <a:gd name="T25" fmla="*/ 51 h 222"/>
                <a:gd name="T26" fmla="*/ 0 w 66"/>
                <a:gd name="T27"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222">
                  <a:moveTo>
                    <a:pt x="2" y="168"/>
                  </a:moveTo>
                  <a:lnTo>
                    <a:pt x="2" y="168"/>
                  </a:lnTo>
                  <a:lnTo>
                    <a:pt x="64" y="168"/>
                  </a:lnTo>
                  <a:lnTo>
                    <a:pt x="64" y="222"/>
                  </a:lnTo>
                  <a:lnTo>
                    <a:pt x="2" y="222"/>
                  </a:lnTo>
                  <a:lnTo>
                    <a:pt x="2" y="168"/>
                  </a:lnTo>
                  <a:close/>
                  <a:moveTo>
                    <a:pt x="0" y="0"/>
                  </a:moveTo>
                  <a:lnTo>
                    <a:pt x="0" y="0"/>
                  </a:lnTo>
                  <a:lnTo>
                    <a:pt x="66" y="0"/>
                  </a:lnTo>
                  <a:lnTo>
                    <a:pt x="66" y="51"/>
                  </a:lnTo>
                  <a:lnTo>
                    <a:pt x="53" y="153"/>
                  </a:lnTo>
                  <a:lnTo>
                    <a:pt x="12" y="153"/>
                  </a:lnTo>
                  <a:lnTo>
                    <a:pt x="0" y="51"/>
                  </a:lnTo>
                  <a:lnTo>
                    <a:pt x="0"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4BB3FA-C08B-4507-8407-F8E0351C6F1E}"/>
                </a:ext>
              </a:extLst>
            </p:cNvPr>
            <p:cNvSpPr>
              <a:spLocks noEditPoints="1"/>
            </p:cNvSpPr>
            <p:nvPr/>
          </p:nvSpPr>
          <p:spPr bwMode="auto">
            <a:xfrm>
              <a:off x="835025" y="5568950"/>
              <a:ext cx="366712" cy="393700"/>
            </a:xfrm>
            <a:custGeom>
              <a:avLst/>
              <a:gdLst>
                <a:gd name="T0" fmla="*/ 52 w 480"/>
                <a:gd name="T1" fmla="*/ 479 h 518"/>
                <a:gd name="T2" fmla="*/ 52 w 480"/>
                <a:gd name="T3" fmla="*/ 479 h 518"/>
                <a:gd name="T4" fmla="*/ 428 w 480"/>
                <a:gd name="T5" fmla="*/ 479 h 518"/>
                <a:gd name="T6" fmla="*/ 240 w 480"/>
                <a:gd name="T7" fmla="*/ 68 h 518"/>
                <a:gd name="T8" fmla="*/ 52 w 480"/>
                <a:gd name="T9" fmla="*/ 479 h 518"/>
                <a:gd name="T10" fmla="*/ 459 w 480"/>
                <a:gd name="T11" fmla="*/ 518 h 518"/>
                <a:gd name="T12" fmla="*/ 459 w 480"/>
                <a:gd name="T13" fmla="*/ 518 h 518"/>
                <a:gd name="T14" fmla="*/ 21 w 480"/>
                <a:gd name="T15" fmla="*/ 518 h 518"/>
                <a:gd name="T16" fmla="*/ 4 w 480"/>
                <a:gd name="T17" fmla="*/ 509 h 518"/>
                <a:gd name="T18" fmla="*/ 3 w 480"/>
                <a:gd name="T19" fmla="*/ 490 h 518"/>
                <a:gd name="T20" fmla="*/ 222 w 480"/>
                <a:gd name="T21" fmla="*/ 12 h 518"/>
                <a:gd name="T22" fmla="*/ 240 w 480"/>
                <a:gd name="T23" fmla="*/ 0 h 518"/>
                <a:gd name="T24" fmla="*/ 258 w 480"/>
                <a:gd name="T25" fmla="*/ 12 h 518"/>
                <a:gd name="T26" fmla="*/ 477 w 480"/>
                <a:gd name="T27" fmla="*/ 490 h 518"/>
                <a:gd name="T28" fmla="*/ 475 w 480"/>
                <a:gd name="T29" fmla="*/ 509 h 518"/>
                <a:gd name="T30" fmla="*/ 459 w 480"/>
                <a:gd name="T3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518">
                  <a:moveTo>
                    <a:pt x="52" y="479"/>
                  </a:moveTo>
                  <a:lnTo>
                    <a:pt x="52" y="479"/>
                  </a:lnTo>
                  <a:lnTo>
                    <a:pt x="428" y="479"/>
                  </a:lnTo>
                  <a:lnTo>
                    <a:pt x="240" y="68"/>
                  </a:lnTo>
                  <a:lnTo>
                    <a:pt x="52" y="479"/>
                  </a:lnTo>
                  <a:close/>
                  <a:moveTo>
                    <a:pt x="459" y="518"/>
                  </a:moveTo>
                  <a:lnTo>
                    <a:pt x="459" y="518"/>
                  </a:lnTo>
                  <a:lnTo>
                    <a:pt x="21" y="518"/>
                  </a:lnTo>
                  <a:cubicBezTo>
                    <a:pt x="14" y="518"/>
                    <a:pt x="8" y="515"/>
                    <a:pt x="4" y="509"/>
                  </a:cubicBezTo>
                  <a:cubicBezTo>
                    <a:pt x="1" y="503"/>
                    <a:pt x="0" y="496"/>
                    <a:pt x="3" y="490"/>
                  </a:cubicBezTo>
                  <a:lnTo>
                    <a:pt x="222" y="12"/>
                  </a:lnTo>
                  <a:cubicBezTo>
                    <a:pt x="225" y="5"/>
                    <a:pt x="232" y="0"/>
                    <a:pt x="240" y="0"/>
                  </a:cubicBezTo>
                  <a:cubicBezTo>
                    <a:pt x="248" y="0"/>
                    <a:pt x="255" y="5"/>
                    <a:pt x="258" y="12"/>
                  </a:cubicBezTo>
                  <a:lnTo>
                    <a:pt x="477" y="490"/>
                  </a:lnTo>
                  <a:cubicBezTo>
                    <a:pt x="480" y="496"/>
                    <a:pt x="479" y="503"/>
                    <a:pt x="475" y="509"/>
                  </a:cubicBezTo>
                  <a:cubicBezTo>
                    <a:pt x="472" y="515"/>
                    <a:pt x="465" y="518"/>
                    <a:pt x="459" y="518"/>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 name="Title 1">
            <a:extLst>
              <a:ext uri="{FF2B5EF4-FFF2-40B4-BE49-F238E27FC236}">
                <a16:creationId xmlns:a16="http://schemas.microsoft.com/office/drawing/2014/main" id="{DFC03B9C-4BB6-43FB-9A69-F4C957F042A9}"/>
              </a:ext>
            </a:extLst>
          </p:cNvPr>
          <p:cNvSpPr txBox="1">
            <a:spLocks/>
          </p:cNvSpPr>
          <p:nvPr/>
        </p:nvSpPr>
        <p:spPr>
          <a:xfrm>
            <a:off x="87557" y="102077"/>
            <a:ext cx="12025674" cy="119660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lnSpc>
                <a:spcPct val="100000"/>
              </a:lnSpc>
              <a:spcBef>
                <a:spcPts val="0"/>
              </a:spcBef>
              <a:defRPr/>
            </a:pPr>
            <a:r>
              <a:rPr lang="en-US" kern="0" cap="none">
                <a:solidFill>
                  <a:schemeClr val="tx1"/>
                </a:solidFill>
                <a:latin typeface="+mj-lt"/>
              </a:rPr>
              <a:t>OPTIONAL USE OF DRIFT REDUCTION TECHNOLOGY (DRT)</a:t>
            </a:r>
          </a:p>
        </p:txBody>
      </p:sp>
      <p:pic>
        <p:nvPicPr>
          <p:cNvPr id="35" name="Picture 34">
            <a:extLst>
              <a:ext uri="{FF2B5EF4-FFF2-40B4-BE49-F238E27FC236}">
                <a16:creationId xmlns:a16="http://schemas.microsoft.com/office/drawing/2014/main" id="{F6DC5938-A2D3-4500-8ED0-0BF54E6AC48B}"/>
              </a:ext>
            </a:extLst>
          </p:cNvPr>
          <p:cNvPicPr>
            <a:picLocks noChangeAspect="1"/>
          </p:cNvPicPr>
          <p:nvPr/>
        </p:nvPicPr>
        <p:blipFill>
          <a:blip r:embed="rId3"/>
          <a:stretch>
            <a:fillRect/>
          </a:stretch>
        </p:blipFill>
        <p:spPr>
          <a:xfrm>
            <a:off x="838200" y="6393164"/>
            <a:ext cx="1333500" cy="378995"/>
          </a:xfrm>
          <a:prstGeom prst="rect">
            <a:avLst/>
          </a:prstGeom>
        </p:spPr>
      </p:pic>
      <p:sp>
        <p:nvSpPr>
          <p:cNvPr id="36" name="TextBox 1">
            <a:extLst>
              <a:ext uri="{FF2B5EF4-FFF2-40B4-BE49-F238E27FC236}">
                <a16:creationId xmlns:a16="http://schemas.microsoft.com/office/drawing/2014/main" id="{8C0A292D-3FDA-4881-AE66-DD352EA12605}"/>
              </a:ext>
            </a:extLst>
          </p:cNvPr>
          <p:cNvSpPr txBox="1"/>
          <p:nvPr/>
        </p:nvSpPr>
        <p:spPr>
          <a:xfrm>
            <a:off x="234123" y="1336814"/>
            <a:ext cx="6622460" cy="4093428"/>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defTabSz="914400" eaLnBrk="1" fontAlgn="auto" latinLnBrk="0" hangingPunct="1">
              <a:lnSpc>
                <a:spcPct val="100000"/>
              </a:lnSpc>
              <a:spcBef>
                <a:spcPts val="0"/>
              </a:spcBef>
              <a:spcAft>
                <a:spcPts val="0"/>
              </a:spcAft>
              <a:buClrTx/>
              <a:buSzTx/>
              <a:tabLst/>
              <a:defRPr/>
            </a:pPr>
            <a:endParaRPr lang="en-US" sz="2400" kern="0">
              <a:solidFill>
                <a:schemeClr val="accent3">
                  <a:lumMod val="75000"/>
                </a:schemeClr>
              </a:soli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a:solidFill>
                  <a:srgbClr val="00B050"/>
                </a:solidFill>
              </a:rPr>
              <a:t>May be used to reduce off-target movement of spray particles.</a:t>
            </a:r>
            <a:endParaRPr lang="en-US" sz="2400" kern="0">
              <a:solidFill>
                <a:srgbClr val="00B050"/>
              </a:solidFill>
              <a:cs typeface="Arial"/>
            </a:endParaRPr>
          </a:p>
          <a:p>
            <a:pPr marL="742950" lvl="1" indent="-285750">
              <a:buFont typeface="Arial" panose="020B0604020202020204" pitchFamily="34" charset="0"/>
              <a:buChar char="•"/>
              <a:defRPr/>
            </a:pPr>
            <a:r>
              <a:rPr lang="en-US" sz="2400" kern="0">
                <a:solidFill>
                  <a:srgbClr val="00B050"/>
                </a:solidFill>
              </a:rPr>
              <a:t>Example: Hooded/shielded spray boom.</a:t>
            </a:r>
            <a:endParaRPr lang="en-US" sz="2400" kern="0">
              <a:solidFill>
                <a:srgbClr val="00B050"/>
              </a:solidFill>
              <a:cs typeface="Aria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a:solidFill>
                  <a:srgbClr val="00B050"/>
                </a:solidFill>
              </a:rPr>
              <a:t>Qualified</a:t>
            </a:r>
            <a:r>
              <a:rPr kumimoji="0" lang="en-US" sz="2400" b="0" i="0" u="none" strike="noStrike" kern="0" cap="none" spc="0" normalizeH="0" baseline="0" noProof="0">
                <a:ln>
                  <a:noFill/>
                </a:ln>
                <a:solidFill>
                  <a:srgbClr val="00B050"/>
                </a:solidFill>
                <a:effectLst/>
                <a:uLnTx/>
                <a:uFillTx/>
              </a:rPr>
              <a:t> DRT and </a:t>
            </a:r>
            <a:r>
              <a:rPr lang="en-US" sz="2400" kern="0">
                <a:solidFill>
                  <a:srgbClr val="00B050"/>
                </a:solidFill>
              </a:rPr>
              <a:t>approved</a:t>
            </a:r>
            <a:r>
              <a:rPr kumimoji="0" lang="en-US" sz="2400" b="0" i="0" u="none" strike="noStrike" kern="0" cap="none" spc="0" normalizeH="0" baseline="0" noProof="0">
                <a:ln>
                  <a:noFill/>
                </a:ln>
                <a:solidFill>
                  <a:srgbClr val="00B050"/>
                </a:solidFill>
                <a:effectLst/>
                <a:uLnTx/>
                <a:uFillTx/>
              </a:rPr>
              <a:t> nozzles are listed on the application requirements websites.</a:t>
            </a:r>
            <a:endParaRPr lang="en-US" sz="2400" b="0" i="0" u="none" strike="noStrike" kern="0" cap="none" spc="0" normalizeH="0" baseline="0" noProof="0">
              <a:ln>
                <a:noFill/>
              </a:ln>
              <a:solidFill>
                <a:srgbClr val="00B050"/>
              </a:solidFill>
              <a:effectLst/>
              <a:uLnTx/>
              <a:uFillTx/>
              <a:cs typeface="Arial"/>
            </a:endParaRPr>
          </a:p>
          <a:p>
            <a:pPr marL="742950" lvl="1" indent="-285750">
              <a:buFont typeface="Arial" panose="020B0604020202020204" pitchFamily="34" charset="0"/>
              <a:buChar char="•"/>
              <a:defRPr/>
            </a:pPr>
            <a:r>
              <a:rPr lang="en-US" sz="2000" kern="0">
                <a:solidFill>
                  <a:srgbClr val="00B050"/>
                </a:solidFill>
              </a:rPr>
              <a:t>e.g. </a:t>
            </a:r>
            <a:r>
              <a:rPr lang="en-US" sz="2000" u="sng" kern="0">
                <a:solidFill>
                  <a:srgbClr val="00B050"/>
                </a:solidFill>
              </a:rPr>
              <a:t>www.xtendimaxapplicationrequirements.com</a:t>
            </a:r>
            <a:endParaRPr lang="en-US" sz="2400" kern="0">
              <a:solidFill>
                <a:srgbClr val="00B050"/>
              </a:soli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a:solidFill>
                  <a:srgbClr val="00B050"/>
                </a:solidFill>
              </a:rPr>
              <a:t>Applications using qualified DRT may benefit from reduced restrictions, such as decreased downwind buffer distance.</a:t>
            </a:r>
            <a:endParaRPr lang="en-US" sz="2400" b="0" i="0" u="none" strike="noStrike" kern="0" cap="none" spc="0" normalizeH="0" baseline="0" noProof="0">
              <a:ln>
                <a:noFill/>
              </a:ln>
              <a:solidFill>
                <a:srgbClr val="00B050"/>
              </a:solidFill>
              <a:effectLst/>
              <a:uLnTx/>
              <a:uFillTx/>
              <a:cs typeface="Arial"/>
            </a:endParaRPr>
          </a:p>
        </p:txBody>
      </p:sp>
      <p:pic>
        <p:nvPicPr>
          <p:cNvPr id="5" name="Picture 4">
            <a:extLst>
              <a:ext uri="{FF2B5EF4-FFF2-40B4-BE49-F238E27FC236}">
                <a16:creationId xmlns:a16="http://schemas.microsoft.com/office/drawing/2014/main" id="{18BBE1E1-D8CC-4AD7-85BE-C3F11353D8B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66248" y="1332583"/>
            <a:ext cx="5324264" cy="4106049"/>
          </a:xfrm>
          <a:prstGeom prst="rect">
            <a:avLst/>
          </a:prstGeom>
        </p:spPr>
      </p:pic>
    </p:spTree>
    <p:extLst>
      <p:ext uri="{BB962C8B-B14F-4D97-AF65-F5344CB8AC3E}">
        <p14:creationId xmlns:p14="http://schemas.microsoft.com/office/powerpoint/2010/main" val="163977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988004E3-785F-42B0-8C04-B61CF3ED08A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D8C631AA-4E58-4F07-88EC-5F4AF59A66F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3FE5EA-A969-4B35-AD4B-03E61E783B03}"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sp>
        <p:nvSpPr>
          <p:cNvPr id="3" name="Content Placeholder 2">
            <a:extLst>
              <a:ext uri="{FF2B5EF4-FFF2-40B4-BE49-F238E27FC236}">
                <a16:creationId xmlns:a16="http://schemas.microsoft.com/office/drawing/2014/main" id="{8C3043D2-9988-42BD-80AB-C18CBCE52A7D}"/>
              </a:ext>
            </a:extLst>
          </p:cNvPr>
          <p:cNvSpPr>
            <a:spLocks noGrp="1"/>
          </p:cNvSpPr>
          <p:nvPr>
            <p:ph idx="1"/>
          </p:nvPr>
        </p:nvSpPr>
        <p:spPr>
          <a:xfrm>
            <a:off x="426101" y="1542973"/>
            <a:ext cx="7273485" cy="400110"/>
          </a:xfrm>
        </p:spPr>
        <p:txBody>
          <a:bodyPr vert="horz" wrap="square" lIns="91440" tIns="45720" rIns="91440" bIns="45720" rtlCol="0" anchor="t">
            <a:spAutoFit/>
          </a:bodyPr>
          <a:lstStyle/>
          <a:p>
            <a:pPr marL="0" indent="0">
              <a:lnSpc>
                <a:spcPct val="100000"/>
              </a:lnSpc>
              <a:buNone/>
            </a:pPr>
            <a:r>
              <a:rPr lang="en-US"/>
              <a:t>For in-person training make sure you check out before leaving</a:t>
            </a:r>
          </a:p>
        </p:txBody>
      </p:sp>
      <p:sp>
        <p:nvSpPr>
          <p:cNvPr id="2" name="Title 1">
            <a:extLst>
              <a:ext uri="{FF2B5EF4-FFF2-40B4-BE49-F238E27FC236}">
                <a16:creationId xmlns:a16="http://schemas.microsoft.com/office/drawing/2014/main" id="{8989EA00-F10C-49FB-9B69-AAB08312150B}"/>
              </a:ext>
            </a:extLst>
          </p:cNvPr>
          <p:cNvSpPr>
            <a:spLocks noGrp="1"/>
          </p:cNvSpPr>
          <p:nvPr>
            <p:ph type="title"/>
          </p:nvPr>
        </p:nvSpPr>
        <p:spPr>
          <a:xfrm>
            <a:off x="838200" y="318014"/>
            <a:ext cx="5894545" cy="590931"/>
          </a:xfrm>
        </p:spPr>
        <p:txBody>
          <a:bodyPr/>
          <a:lstStyle/>
          <a:p>
            <a:r>
              <a:rPr lang="en-US"/>
              <a:t>Certificate of Completion</a:t>
            </a:r>
          </a:p>
        </p:txBody>
      </p:sp>
      <p:sp>
        <p:nvSpPr>
          <p:cNvPr id="13" name="Content Placeholder 2">
            <a:extLst>
              <a:ext uri="{FF2B5EF4-FFF2-40B4-BE49-F238E27FC236}">
                <a16:creationId xmlns:a16="http://schemas.microsoft.com/office/drawing/2014/main" id="{4FAECB18-78D3-4EF0-A2AB-88DC914D74A6}"/>
              </a:ext>
            </a:extLst>
          </p:cNvPr>
          <p:cNvSpPr txBox="1">
            <a:spLocks/>
          </p:cNvSpPr>
          <p:nvPr/>
        </p:nvSpPr>
        <p:spPr>
          <a:xfrm>
            <a:off x="630101" y="2347064"/>
            <a:ext cx="6120921" cy="341632"/>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certificate will be emailed to you within 24-48 hours</a:t>
            </a:r>
          </a:p>
        </p:txBody>
      </p:sp>
      <p:sp>
        <p:nvSpPr>
          <p:cNvPr id="16" name="Content Placeholder 2">
            <a:extLst>
              <a:ext uri="{FF2B5EF4-FFF2-40B4-BE49-F238E27FC236}">
                <a16:creationId xmlns:a16="http://schemas.microsoft.com/office/drawing/2014/main" id="{CF6F62D0-F36F-4E8E-9F0C-987421BD834C}"/>
              </a:ext>
            </a:extLst>
          </p:cNvPr>
          <p:cNvSpPr txBox="1">
            <a:spLocks/>
          </p:cNvSpPr>
          <p:nvPr/>
        </p:nvSpPr>
        <p:spPr>
          <a:xfrm>
            <a:off x="1013032" y="4350300"/>
            <a:ext cx="4647872" cy="1261884"/>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672767"/>
                </a:solidFill>
                <a:effectLst/>
                <a:uLnTx/>
                <a:uFillTx/>
                <a:latin typeface="Arial" panose="020B0604020202020204" pitchFamily="34" charset="0"/>
                <a:ea typeface="+mn-ea"/>
                <a:cs typeface="Arial" panose="020B0604020202020204" pitchFamily="34" charset="0"/>
              </a:rPr>
              <a:t>Didn’t get the email? Try this first:</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Check your SPAM or junk email box</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urn off pop-up blockers</a:t>
            </a:r>
          </a:p>
        </p:txBody>
      </p:sp>
      <p:sp>
        <p:nvSpPr>
          <p:cNvPr id="17" name="Content Placeholder 2">
            <a:extLst>
              <a:ext uri="{FF2B5EF4-FFF2-40B4-BE49-F238E27FC236}">
                <a16:creationId xmlns:a16="http://schemas.microsoft.com/office/drawing/2014/main" id="{01EC91FF-9064-465E-A113-13589221F2C5}"/>
              </a:ext>
            </a:extLst>
          </p:cNvPr>
          <p:cNvSpPr txBox="1">
            <a:spLocks/>
          </p:cNvSpPr>
          <p:nvPr/>
        </p:nvSpPr>
        <p:spPr>
          <a:xfrm>
            <a:off x="6876714" y="4350300"/>
            <a:ext cx="4400886" cy="18158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672767"/>
                </a:solidFill>
                <a:effectLst/>
                <a:uLnTx/>
                <a:uFillTx/>
                <a:latin typeface="Arial" panose="020B0604020202020204" pitchFamily="34" charset="0"/>
                <a:ea typeface="+mn-ea"/>
                <a:cs typeface="Arial" panose="020B0604020202020204" pitchFamily="34" charset="0"/>
              </a:rPr>
              <a:t>Still missing the email?</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Call 1-844-RRXTEND between 8:00 a.m. and 5:00 p.m. central time, weekdays</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We will confirm your email and resend the certificate</a:t>
            </a:r>
          </a:p>
        </p:txBody>
      </p:sp>
      <p:cxnSp>
        <p:nvCxnSpPr>
          <p:cNvPr id="18" name="Straight Connector 17">
            <a:extLst>
              <a:ext uri="{FF2B5EF4-FFF2-40B4-BE49-F238E27FC236}">
                <a16:creationId xmlns:a16="http://schemas.microsoft.com/office/drawing/2014/main" id="{833B869E-2564-4342-B8F7-6F3BA9643C0D}"/>
              </a:ext>
            </a:extLst>
          </p:cNvPr>
          <p:cNvCxnSpPr>
            <a:cxnSpLocks/>
          </p:cNvCxnSpPr>
          <p:nvPr/>
        </p:nvCxnSpPr>
        <p:spPr>
          <a:xfrm flipV="1">
            <a:off x="6096000" y="4448813"/>
            <a:ext cx="0" cy="158022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4245D80-D904-4AB7-B331-3194E8CC368C}"/>
              </a:ext>
            </a:extLst>
          </p:cNvPr>
          <p:cNvSpPr/>
          <p:nvPr/>
        </p:nvSpPr>
        <p:spPr>
          <a:xfrm>
            <a:off x="569268" y="2294015"/>
            <a:ext cx="6163477" cy="46196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Content Placeholder 2">
            <a:extLst>
              <a:ext uri="{FF2B5EF4-FFF2-40B4-BE49-F238E27FC236}">
                <a16:creationId xmlns:a16="http://schemas.microsoft.com/office/drawing/2014/main" id="{740225AB-596D-448B-AF58-C7E1923BFA1D}"/>
              </a:ext>
            </a:extLst>
          </p:cNvPr>
          <p:cNvSpPr txBox="1">
            <a:spLocks/>
          </p:cNvSpPr>
          <p:nvPr/>
        </p:nvSpPr>
        <p:spPr>
          <a:xfrm>
            <a:off x="1013032" y="2951630"/>
            <a:ext cx="5442632"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It will come from </a:t>
            </a:r>
            <a:r>
              <a:rPr kumimoji="0" lang="en-US" sz="2000" b="0" i="0" u="sng" strike="noStrike" kern="1200" cap="none" spc="0" normalizeH="0" baseline="0" noProof="0">
                <a:ln>
                  <a:noFill/>
                </a:ln>
                <a:solidFill>
                  <a:prstClr val="black"/>
                </a:solidFill>
                <a:effectLst/>
                <a:uLnTx/>
                <a:uFillTx/>
                <a:latin typeface="Arial"/>
                <a:ea typeface="+mn-ea"/>
                <a:cs typeface="+mn-cs"/>
              </a:rPr>
              <a:t>dicamba.training@bayer.com</a:t>
            </a:r>
          </a:p>
        </p:txBody>
      </p:sp>
      <p:cxnSp>
        <p:nvCxnSpPr>
          <p:cNvPr id="26" name="Straight Connector 25">
            <a:extLst>
              <a:ext uri="{FF2B5EF4-FFF2-40B4-BE49-F238E27FC236}">
                <a16:creationId xmlns:a16="http://schemas.microsoft.com/office/drawing/2014/main" id="{3F2B4E93-568A-40BA-8250-CCE661B7D6A5}"/>
              </a:ext>
            </a:extLst>
          </p:cNvPr>
          <p:cNvCxnSpPr>
            <a:cxnSpLocks/>
          </p:cNvCxnSpPr>
          <p:nvPr/>
        </p:nvCxnSpPr>
        <p:spPr>
          <a:xfrm>
            <a:off x="6974436" y="5492021"/>
            <a:ext cx="4303164"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8" name="Isosceles Triangle 27">
            <a:extLst>
              <a:ext uri="{FF2B5EF4-FFF2-40B4-BE49-F238E27FC236}">
                <a16:creationId xmlns:a16="http://schemas.microsoft.com/office/drawing/2014/main" id="{E62EA365-1E0D-42D1-BDEC-337EE4BF21AE}"/>
              </a:ext>
            </a:extLst>
          </p:cNvPr>
          <p:cNvSpPr/>
          <p:nvPr/>
        </p:nvSpPr>
        <p:spPr>
          <a:xfrm rot="10800000">
            <a:off x="1080867" y="2775948"/>
            <a:ext cx="267572"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9" name="Straight Connector 18">
            <a:extLst>
              <a:ext uri="{FF2B5EF4-FFF2-40B4-BE49-F238E27FC236}">
                <a16:creationId xmlns:a16="http://schemas.microsoft.com/office/drawing/2014/main" id="{EBF36FAE-C0CA-F346-82AE-91DE4D149D77}"/>
              </a:ext>
            </a:extLst>
          </p:cNvPr>
          <p:cNvCxnSpPr>
            <a:cxnSpLocks/>
          </p:cNvCxnSpPr>
          <p:nvPr/>
        </p:nvCxnSpPr>
        <p:spPr>
          <a:xfrm>
            <a:off x="662773" y="2069479"/>
            <a:ext cx="65609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2A769BC-968F-7F41-9302-13EE1C6813D0}"/>
              </a:ext>
            </a:extLst>
          </p:cNvPr>
          <p:cNvCxnSpPr>
            <a:cxnSpLocks/>
          </p:cNvCxnSpPr>
          <p:nvPr/>
        </p:nvCxnSpPr>
        <p:spPr>
          <a:xfrm>
            <a:off x="937093" y="4239476"/>
            <a:ext cx="103405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CED7F91-1D6F-4ED5-AD75-184B9C6522FF}"/>
              </a:ext>
            </a:extLst>
          </p:cNvPr>
          <p:cNvCxnSpPr>
            <a:cxnSpLocks/>
          </p:cNvCxnSpPr>
          <p:nvPr/>
        </p:nvCxnSpPr>
        <p:spPr>
          <a:xfrm>
            <a:off x="1097529" y="5212860"/>
            <a:ext cx="4303164"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D0F79EC1-DAEB-4F6B-B025-C54F3A9E0AEC}"/>
              </a:ext>
            </a:extLst>
          </p:cNvPr>
          <p:cNvPicPr>
            <a:picLocks noChangeAspect="1"/>
          </p:cNvPicPr>
          <p:nvPr/>
        </p:nvPicPr>
        <p:blipFill>
          <a:blip r:embed="rId3"/>
          <a:stretch>
            <a:fillRect/>
          </a:stretch>
        </p:blipFill>
        <p:spPr>
          <a:xfrm>
            <a:off x="937093" y="6362700"/>
            <a:ext cx="1171575" cy="495300"/>
          </a:xfrm>
          <a:prstGeom prst="rect">
            <a:avLst/>
          </a:prstGeom>
        </p:spPr>
      </p:pic>
      <p:pic>
        <p:nvPicPr>
          <p:cNvPr id="24" name="Picture 23">
            <a:extLst>
              <a:ext uri="{FF2B5EF4-FFF2-40B4-BE49-F238E27FC236}">
                <a16:creationId xmlns:a16="http://schemas.microsoft.com/office/drawing/2014/main" id="{543EB7C1-2128-4100-B2F8-C4EBEBE4BD6E}"/>
              </a:ext>
            </a:extLst>
          </p:cNvPr>
          <p:cNvPicPr>
            <a:picLocks noChangeAspect="1"/>
          </p:cNvPicPr>
          <p:nvPr/>
        </p:nvPicPr>
        <p:blipFill>
          <a:blip r:embed="rId4"/>
          <a:stretch>
            <a:fillRect/>
          </a:stretch>
        </p:blipFill>
        <p:spPr>
          <a:xfrm>
            <a:off x="838200" y="6393164"/>
            <a:ext cx="1333500" cy="378995"/>
          </a:xfrm>
          <a:prstGeom prst="rect">
            <a:avLst/>
          </a:prstGeom>
        </p:spPr>
      </p:pic>
      <p:sp>
        <p:nvSpPr>
          <p:cNvPr id="29" name="Rectangle 28">
            <a:extLst>
              <a:ext uri="{FF2B5EF4-FFF2-40B4-BE49-F238E27FC236}">
                <a16:creationId xmlns:a16="http://schemas.microsoft.com/office/drawing/2014/main" id="{769F1DEF-04EA-45DD-86F9-5AED8B004043}"/>
              </a:ext>
            </a:extLst>
          </p:cNvPr>
          <p:cNvSpPr/>
          <p:nvPr/>
        </p:nvSpPr>
        <p:spPr>
          <a:xfrm>
            <a:off x="7955281" y="424298"/>
            <a:ext cx="3606618" cy="3226524"/>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Content Placeholder 2">
            <a:extLst>
              <a:ext uri="{FF2B5EF4-FFF2-40B4-BE49-F238E27FC236}">
                <a16:creationId xmlns:a16="http://schemas.microsoft.com/office/drawing/2014/main" id="{83008D93-B10C-4008-A7D3-F30A4A5BE76E}"/>
              </a:ext>
            </a:extLst>
          </p:cNvPr>
          <p:cNvSpPr txBox="1">
            <a:spLocks/>
          </p:cNvSpPr>
          <p:nvPr/>
        </p:nvSpPr>
        <p:spPr>
          <a:xfrm>
            <a:off x="7982714" y="417941"/>
            <a:ext cx="3856360" cy="3226524"/>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Arial"/>
                <a:ea typeface="+mn-ea"/>
                <a:cs typeface="+mn-cs"/>
              </a:rPr>
              <a:t>Success Kits will include</a:t>
            </a:r>
            <a:r>
              <a:rPr kumimoji="0" lang="en-US" sz="2000" b="0" i="0" u="none" strike="noStrike" kern="1200" cap="none" spc="0" normalizeH="0" baseline="0" noProof="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err="1">
                <a:ln>
                  <a:noFill/>
                </a:ln>
                <a:solidFill>
                  <a:prstClr val="black"/>
                </a:solidFill>
                <a:effectLst/>
                <a:uLnTx/>
                <a:uFillTx/>
                <a:latin typeface="Arial"/>
                <a:ea typeface="+mn-ea"/>
                <a:cs typeface="+mn-cs"/>
              </a:rPr>
              <a:t>XtendiMax</a:t>
            </a:r>
            <a:r>
              <a:rPr kumimoji="0" lang="en-US" sz="2000" b="0" i="0" u="none" strike="noStrike" kern="1200" cap="none" spc="0" normalizeH="0" baseline="30000" noProof="0">
                <a:ln>
                  <a:noFill/>
                </a:ln>
                <a:solidFill>
                  <a:prstClr val="black"/>
                </a:solidFill>
                <a:effectLst/>
                <a:uLnTx/>
                <a:uFillTx/>
                <a:latin typeface="Arial"/>
                <a:ea typeface="+mn-ea"/>
                <a:cs typeface="+mn-cs"/>
              </a:rPr>
              <a:t>®</a:t>
            </a:r>
            <a:r>
              <a:rPr kumimoji="0" lang="en-US" sz="2000" b="0" i="0" u="none" strike="noStrike" kern="1200" cap="none" spc="0" normalizeH="0" baseline="0" noProof="0">
                <a:ln>
                  <a:noFill/>
                </a:ln>
                <a:solidFill>
                  <a:prstClr val="black"/>
                </a:solidFill>
                <a:effectLst/>
                <a:uLnTx/>
                <a:uFillTx/>
                <a:latin typeface="Arial"/>
                <a:ea typeface="+mn-ea"/>
                <a:cs typeface="+mn-cs"/>
              </a:rPr>
              <a:t> Herbicide with </a:t>
            </a:r>
            <a:r>
              <a:rPr kumimoji="0" lang="en-US" sz="2000" b="0" i="0" u="none" strike="noStrike" kern="1200" cap="none" spc="0" normalizeH="0" baseline="0" noProof="0" err="1">
                <a:ln>
                  <a:noFill/>
                </a:ln>
                <a:solidFill>
                  <a:prstClr val="black"/>
                </a:solidFill>
                <a:effectLst/>
                <a:uLnTx/>
                <a:uFillTx/>
                <a:latin typeface="Arial"/>
                <a:ea typeface="+mn-ea"/>
                <a:cs typeface="+mn-cs"/>
              </a:rPr>
              <a:t>VaporGrip</a:t>
            </a:r>
            <a:r>
              <a:rPr kumimoji="0" lang="en-US" sz="2000" b="0" i="0" u="none" strike="noStrike" kern="1200" cap="none" spc="0" normalizeH="0" baseline="30000" noProof="0">
                <a:ln>
                  <a:noFill/>
                </a:ln>
                <a:solidFill>
                  <a:prstClr val="black"/>
                </a:solidFill>
                <a:effectLst/>
                <a:uLnTx/>
                <a:uFillTx/>
                <a:latin typeface="Arial"/>
                <a:ea typeface="+mn-ea"/>
                <a:cs typeface="+mn-cs"/>
              </a:rPr>
              <a:t>®</a:t>
            </a:r>
            <a:r>
              <a:rPr kumimoji="0" lang="en-US" sz="2000" b="0" i="0" u="none" strike="noStrike" kern="1200" cap="none" spc="0" normalizeH="0" baseline="0" noProof="0">
                <a:ln>
                  <a:noFill/>
                </a:ln>
                <a:solidFill>
                  <a:prstClr val="black"/>
                </a:solidFill>
                <a:effectLst/>
                <a:uLnTx/>
                <a:uFillTx/>
                <a:latin typeface="Arial"/>
                <a:ea typeface="+mn-ea"/>
                <a:cs typeface="+mn-cs"/>
              </a:rPr>
              <a:t> Technology label</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Sample record</a:t>
            </a:r>
            <a:r>
              <a:rPr lang="en-US">
                <a:solidFill>
                  <a:prstClr val="black"/>
                </a:solidFill>
                <a:latin typeface="Arial"/>
              </a:rPr>
              <a:t>keeping form</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Links to re</a:t>
            </a:r>
            <a:r>
              <a:rPr lang="en-US">
                <a:solidFill>
                  <a:prstClr val="black"/>
                </a:solidFill>
                <a:latin typeface="Arial"/>
              </a:rPr>
              <a:t>source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prstClr val="black"/>
                </a:solidFill>
                <a:latin typeface="Arial"/>
              </a:rPr>
              <a:t>Application requirements summary</a:t>
            </a:r>
          </a:p>
          <a:p>
            <a:pPr marL="0" indent="0">
              <a:buNone/>
              <a:defRPr/>
            </a:pPr>
            <a:r>
              <a:rPr lang="en-US">
                <a:solidFill>
                  <a:prstClr val="black"/>
                </a:solidFill>
              </a:rPr>
              <a:t>Success Kits will also be emailed to provided address</a:t>
            </a:r>
            <a:endParaRPr lang="en-US" sz="2400">
              <a:solidFill>
                <a:prstClr val="black"/>
              </a:solidFill>
            </a:endParaRPr>
          </a:p>
        </p:txBody>
      </p:sp>
    </p:spTree>
    <p:extLst>
      <p:ext uri="{BB962C8B-B14F-4D97-AF65-F5344CB8AC3E}">
        <p14:creationId xmlns:p14="http://schemas.microsoft.com/office/powerpoint/2010/main" val="320543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dirty="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sp>
        <p:nvSpPr>
          <p:cNvPr id="27" name="Rectangle 26">
            <a:extLst>
              <a:ext uri="{FF2B5EF4-FFF2-40B4-BE49-F238E27FC236}">
                <a16:creationId xmlns:a16="http://schemas.microsoft.com/office/drawing/2014/main" id="{29D2F7E9-C4BD-304E-963D-6230D83E06EC}"/>
              </a:ext>
            </a:extLst>
          </p:cNvPr>
          <p:cNvSpPr/>
          <p:nvPr/>
        </p:nvSpPr>
        <p:spPr>
          <a:xfrm>
            <a:off x="4683816" y="2395727"/>
            <a:ext cx="6669984" cy="2962528"/>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429E012A-AAAC-7A40-A120-1322C14C164D}"/>
              </a:ext>
            </a:extLst>
          </p:cNvPr>
          <p:cNvSpPr/>
          <p:nvPr/>
        </p:nvSpPr>
        <p:spPr>
          <a:xfrm flipV="1">
            <a:off x="755687" y="2416299"/>
            <a:ext cx="3728022" cy="29625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7031658E-7790-D748-A617-C7F7E59A1EE1}"/>
              </a:ext>
            </a:extLst>
          </p:cNvPr>
          <p:cNvSpPr txBox="1"/>
          <p:nvPr/>
        </p:nvSpPr>
        <p:spPr>
          <a:xfrm>
            <a:off x="4683817" y="2518263"/>
            <a:ext cx="666998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4B1D3F"/>
                </a:solidFill>
                <a:effectLst/>
                <a:uLnTx/>
                <a:uFillTx/>
                <a:latin typeface="Arial Black"/>
                <a:ea typeface="+mn-ea"/>
                <a:cs typeface="+mn-cs"/>
              </a:rPr>
              <a:t>THE EQIVALENT OF A THIMBLE FULL</a:t>
            </a:r>
            <a:br>
              <a:rPr kumimoji="0" lang="en-US" sz="1800" b="0" i="0" u="none" strike="noStrike" kern="0" cap="none" spc="0" normalizeH="0" baseline="0" noProof="0">
                <a:ln>
                  <a:noFill/>
                </a:ln>
                <a:solidFill>
                  <a:srgbClr val="4B1D3F"/>
                </a:solidFill>
                <a:effectLst/>
                <a:uLnTx/>
                <a:uFillTx/>
                <a:latin typeface="Arial Black"/>
                <a:ea typeface="+mn-ea"/>
                <a:cs typeface="+mn-cs"/>
              </a:rPr>
            </a:br>
            <a:r>
              <a:rPr kumimoji="0" lang="en-US" sz="1800" b="0" i="0" u="none" strike="noStrike" kern="0" cap="none" spc="0" normalizeH="0" baseline="0" noProof="0">
                <a:ln>
                  <a:noFill/>
                </a:ln>
                <a:solidFill>
                  <a:srgbClr val="4B1D3F"/>
                </a:solidFill>
                <a:effectLst/>
                <a:uLnTx/>
                <a:uFillTx/>
                <a:latin typeface="Arial Black"/>
                <a:ea typeface="+mn-ea"/>
                <a:cs typeface="+mn-cs"/>
              </a:rPr>
              <a:t>OF FORMULATED DICAMBA PRODUCT</a:t>
            </a:r>
            <a:br>
              <a:rPr kumimoji="0" lang="en-US" sz="1800" b="0" i="0" u="none" strike="noStrike" kern="0" cap="none" spc="0" normalizeH="0" baseline="0" noProof="0">
                <a:ln>
                  <a:noFill/>
                </a:ln>
                <a:solidFill>
                  <a:srgbClr val="4B1D3F"/>
                </a:solidFill>
                <a:effectLst/>
                <a:uLnTx/>
                <a:uFillTx/>
                <a:latin typeface="Arial Black"/>
                <a:ea typeface="+mn-ea"/>
                <a:cs typeface="+mn-cs"/>
              </a:rPr>
            </a:br>
            <a:r>
              <a:rPr kumimoji="0" lang="en-US" sz="1800" b="0" i="0" u="none" strike="noStrike" kern="0" cap="none" spc="0" normalizeH="0" baseline="0" noProof="0">
                <a:ln>
                  <a:noFill/>
                </a:ln>
                <a:solidFill>
                  <a:srgbClr val="4B1D3F"/>
                </a:solidFill>
                <a:effectLst/>
                <a:uLnTx/>
                <a:uFillTx/>
                <a:latin typeface="Arial Black"/>
                <a:ea typeface="+mn-ea"/>
                <a:cs typeface="+mn-cs"/>
              </a:rPr>
              <a:t>IN A 1,000 GALLON SPRAY </a:t>
            </a:r>
            <a:r>
              <a:rPr lang="en-US" kern="0">
                <a:solidFill>
                  <a:srgbClr val="4B1D3F"/>
                </a:solidFill>
                <a:latin typeface="Arial Black"/>
              </a:rPr>
              <a:t>SOLUTION</a:t>
            </a:r>
            <a:endParaRPr kumimoji="0" lang="en-US" sz="1800" b="0" i="0" u="none" strike="noStrike" kern="0" cap="none" spc="0" normalizeH="0" baseline="0" noProof="0">
              <a:ln>
                <a:noFill/>
              </a:ln>
              <a:solidFill>
                <a:srgbClr val="4B1D3F"/>
              </a:solidFill>
              <a:effectLst/>
              <a:uLnTx/>
              <a:uFillTx/>
              <a:latin typeface="Arial Black"/>
              <a:ea typeface="+mn-ea"/>
              <a:cs typeface="+mn-cs"/>
            </a:endParaRPr>
          </a:p>
        </p:txBody>
      </p:sp>
      <p:sp>
        <p:nvSpPr>
          <p:cNvPr id="33" name="Isosceles Triangle 56">
            <a:extLst>
              <a:ext uri="{FF2B5EF4-FFF2-40B4-BE49-F238E27FC236}">
                <a16:creationId xmlns:a16="http://schemas.microsoft.com/office/drawing/2014/main" id="{6CB1C4CA-EDBD-8B45-A13D-55B4DB6CD6B7}"/>
              </a:ext>
            </a:extLst>
          </p:cNvPr>
          <p:cNvSpPr/>
          <p:nvPr/>
        </p:nvSpPr>
        <p:spPr>
          <a:xfrm rot="5400000">
            <a:off x="4428015" y="3811386"/>
            <a:ext cx="267501" cy="13121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34" name="Isosceles Triangle 56">
            <a:extLst>
              <a:ext uri="{FF2B5EF4-FFF2-40B4-BE49-F238E27FC236}">
                <a16:creationId xmlns:a16="http://schemas.microsoft.com/office/drawing/2014/main" id="{DE5C1ABD-93F0-D740-83D8-8C572969C6D8}"/>
              </a:ext>
            </a:extLst>
          </p:cNvPr>
          <p:cNvSpPr/>
          <p:nvPr/>
        </p:nvSpPr>
        <p:spPr>
          <a:xfrm rot="5400000">
            <a:off x="4636860" y="3811386"/>
            <a:ext cx="267501" cy="13121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nvGrpSpPr>
          <p:cNvPr id="87" name="Group 4">
            <a:extLst>
              <a:ext uri="{FF2B5EF4-FFF2-40B4-BE49-F238E27FC236}">
                <a16:creationId xmlns:a16="http://schemas.microsoft.com/office/drawing/2014/main" id="{D8041BEC-81F3-4283-88EB-C352E9F23EBE}"/>
              </a:ext>
            </a:extLst>
          </p:cNvPr>
          <p:cNvGrpSpPr>
            <a:grpSpLocks noChangeAspect="1"/>
          </p:cNvGrpSpPr>
          <p:nvPr/>
        </p:nvGrpSpPr>
        <p:grpSpPr bwMode="auto">
          <a:xfrm>
            <a:off x="5491507" y="3489569"/>
            <a:ext cx="5054601" cy="1616396"/>
            <a:chOff x="-3988" y="-291"/>
            <a:chExt cx="3568" cy="1141"/>
          </a:xfrm>
          <a:solidFill>
            <a:schemeClr val="accent6"/>
          </a:solidFill>
        </p:grpSpPr>
        <p:sp>
          <p:nvSpPr>
            <p:cNvPr id="88" name="Freeform 5">
              <a:extLst>
                <a:ext uri="{FF2B5EF4-FFF2-40B4-BE49-F238E27FC236}">
                  <a16:creationId xmlns:a16="http://schemas.microsoft.com/office/drawing/2014/main" id="{F4282191-1DDD-4989-8EA3-E7B321DB7B50}"/>
                </a:ext>
              </a:extLst>
            </p:cNvPr>
            <p:cNvSpPr>
              <a:spLocks/>
            </p:cNvSpPr>
            <p:nvPr/>
          </p:nvSpPr>
          <p:spPr bwMode="auto">
            <a:xfrm>
              <a:off x="-926" y="96"/>
              <a:ext cx="379" cy="73"/>
            </a:xfrm>
            <a:custGeom>
              <a:avLst/>
              <a:gdLst>
                <a:gd name="T0" fmla="*/ 392 w 434"/>
                <a:gd name="T1" fmla="*/ 84 h 84"/>
                <a:gd name="T2" fmla="*/ 391 w 434"/>
                <a:gd name="T3" fmla="*/ 84 h 84"/>
                <a:gd name="T4" fmla="*/ 340 w 434"/>
                <a:gd name="T5" fmla="*/ 84 h 84"/>
                <a:gd name="T6" fmla="*/ 325 w 434"/>
                <a:gd name="T7" fmla="*/ 68 h 84"/>
                <a:gd name="T8" fmla="*/ 340 w 434"/>
                <a:gd name="T9" fmla="*/ 53 h 84"/>
                <a:gd name="T10" fmla="*/ 391 w 434"/>
                <a:gd name="T11" fmla="*/ 53 h 84"/>
                <a:gd name="T12" fmla="*/ 393 w 434"/>
                <a:gd name="T13" fmla="*/ 53 h 84"/>
                <a:gd name="T14" fmla="*/ 403 w 434"/>
                <a:gd name="T15" fmla="*/ 42 h 84"/>
                <a:gd name="T16" fmla="*/ 392 w 434"/>
                <a:gd name="T17" fmla="*/ 31 h 84"/>
                <a:gd name="T18" fmla="*/ 42 w 434"/>
                <a:gd name="T19" fmla="*/ 31 h 84"/>
                <a:gd name="T20" fmla="*/ 31 w 434"/>
                <a:gd name="T21" fmla="*/ 42 h 84"/>
                <a:gd name="T22" fmla="*/ 42 w 434"/>
                <a:gd name="T23" fmla="*/ 53 h 84"/>
                <a:gd name="T24" fmla="*/ 279 w 434"/>
                <a:gd name="T25" fmla="*/ 53 h 84"/>
                <a:gd name="T26" fmla="*/ 294 w 434"/>
                <a:gd name="T27" fmla="*/ 68 h 84"/>
                <a:gd name="T28" fmla="*/ 279 w 434"/>
                <a:gd name="T29" fmla="*/ 84 h 84"/>
                <a:gd name="T30" fmla="*/ 43 w 434"/>
                <a:gd name="T31" fmla="*/ 84 h 84"/>
                <a:gd name="T32" fmla="*/ 43 w 434"/>
                <a:gd name="T33" fmla="*/ 84 h 84"/>
                <a:gd name="T34" fmla="*/ 0 w 434"/>
                <a:gd name="T35" fmla="*/ 42 h 84"/>
                <a:gd name="T36" fmla="*/ 42 w 434"/>
                <a:gd name="T37" fmla="*/ 0 h 84"/>
                <a:gd name="T38" fmla="*/ 392 w 434"/>
                <a:gd name="T39" fmla="*/ 0 h 84"/>
                <a:gd name="T40" fmla="*/ 434 w 434"/>
                <a:gd name="T41" fmla="*/ 42 h 84"/>
                <a:gd name="T42" fmla="*/ 392 w 434"/>
                <a:gd name="T4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4" h="84">
                  <a:moveTo>
                    <a:pt x="392" y="84"/>
                  </a:moveTo>
                  <a:cubicBezTo>
                    <a:pt x="392" y="84"/>
                    <a:pt x="391" y="84"/>
                    <a:pt x="391" y="84"/>
                  </a:cubicBezTo>
                  <a:cubicBezTo>
                    <a:pt x="340" y="84"/>
                    <a:pt x="340" y="84"/>
                    <a:pt x="340" y="84"/>
                  </a:cubicBezTo>
                  <a:cubicBezTo>
                    <a:pt x="332" y="84"/>
                    <a:pt x="325" y="77"/>
                    <a:pt x="325" y="68"/>
                  </a:cubicBezTo>
                  <a:cubicBezTo>
                    <a:pt x="325" y="60"/>
                    <a:pt x="332" y="53"/>
                    <a:pt x="340" y="53"/>
                  </a:cubicBezTo>
                  <a:cubicBezTo>
                    <a:pt x="391" y="53"/>
                    <a:pt x="391" y="53"/>
                    <a:pt x="391" y="53"/>
                  </a:cubicBezTo>
                  <a:cubicBezTo>
                    <a:pt x="392" y="53"/>
                    <a:pt x="392" y="53"/>
                    <a:pt x="393" y="53"/>
                  </a:cubicBezTo>
                  <a:cubicBezTo>
                    <a:pt x="398" y="53"/>
                    <a:pt x="403" y="48"/>
                    <a:pt x="403" y="42"/>
                  </a:cubicBezTo>
                  <a:cubicBezTo>
                    <a:pt x="403" y="36"/>
                    <a:pt x="398" y="31"/>
                    <a:pt x="392" y="31"/>
                  </a:cubicBezTo>
                  <a:cubicBezTo>
                    <a:pt x="42" y="31"/>
                    <a:pt x="42" y="31"/>
                    <a:pt x="42" y="31"/>
                  </a:cubicBezTo>
                  <a:cubicBezTo>
                    <a:pt x="36" y="31"/>
                    <a:pt x="31" y="36"/>
                    <a:pt x="31" y="42"/>
                  </a:cubicBezTo>
                  <a:cubicBezTo>
                    <a:pt x="31" y="48"/>
                    <a:pt x="36" y="53"/>
                    <a:pt x="42" y="53"/>
                  </a:cubicBezTo>
                  <a:cubicBezTo>
                    <a:pt x="279" y="53"/>
                    <a:pt x="279" y="53"/>
                    <a:pt x="279" y="53"/>
                  </a:cubicBezTo>
                  <a:cubicBezTo>
                    <a:pt x="287" y="53"/>
                    <a:pt x="294" y="60"/>
                    <a:pt x="294" y="68"/>
                  </a:cubicBezTo>
                  <a:cubicBezTo>
                    <a:pt x="294" y="77"/>
                    <a:pt x="287" y="84"/>
                    <a:pt x="279" y="84"/>
                  </a:cubicBezTo>
                  <a:cubicBezTo>
                    <a:pt x="43" y="84"/>
                    <a:pt x="43" y="84"/>
                    <a:pt x="43" y="84"/>
                  </a:cubicBezTo>
                  <a:cubicBezTo>
                    <a:pt x="43" y="84"/>
                    <a:pt x="43" y="84"/>
                    <a:pt x="43" y="84"/>
                  </a:cubicBezTo>
                  <a:cubicBezTo>
                    <a:pt x="19" y="84"/>
                    <a:pt x="0" y="65"/>
                    <a:pt x="0" y="42"/>
                  </a:cubicBezTo>
                  <a:cubicBezTo>
                    <a:pt x="0" y="19"/>
                    <a:pt x="19" y="0"/>
                    <a:pt x="42" y="0"/>
                  </a:cubicBezTo>
                  <a:cubicBezTo>
                    <a:pt x="392" y="0"/>
                    <a:pt x="392" y="0"/>
                    <a:pt x="392" y="0"/>
                  </a:cubicBezTo>
                  <a:cubicBezTo>
                    <a:pt x="415" y="0"/>
                    <a:pt x="434" y="19"/>
                    <a:pt x="434" y="42"/>
                  </a:cubicBezTo>
                  <a:cubicBezTo>
                    <a:pt x="434" y="65"/>
                    <a:pt x="415" y="84"/>
                    <a:pt x="392"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89" name="Freeform 6">
              <a:extLst>
                <a:ext uri="{FF2B5EF4-FFF2-40B4-BE49-F238E27FC236}">
                  <a16:creationId xmlns:a16="http://schemas.microsoft.com/office/drawing/2014/main" id="{3A85EBBC-2D1E-429D-B908-715280947C2F}"/>
                </a:ext>
              </a:extLst>
            </p:cNvPr>
            <p:cNvSpPr>
              <a:spLocks/>
            </p:cNvSpPr>
            <p:nvPr/>
          </p:nvSpPr>
          <p:spPr bwMode="auto">
            <a:xfrm>
              <a:off x="-888" y="141"/>
              <a:ext cx="305" cy="332"/>
            </a:xfrm>
            <a:custGeom>
              <a:avLst/>
              <a:gdLst>
                <a:gd name="T0" fmla="*/ 173 w 348"/>
                <a:gd name="T1" fmla="*/ 379 h 379"/>
                <a:gd name="T2" fmla="*/ 21 w 348"/>
                <a:gd name="T3" fmla="*/ 237 h 379"/>
                <a:gd name="T4" fmla="*/ 0 w 348"/>
                <a:gd name="T5" fmla="*/ 18 h 379"/>
                <a:gd name="T6" fmla="*/ 30 w 348"/>
                <a:gd name="T7" fmla="*/ 15 h 379"/>
                <a:gd name="T8" fmla="*/ 52 w 348"/>
                <a:gd name="T9" fmla="*/ 235 h 379"/>
                <a:gd name="T10" fmla="*/ 173 w 348"/>
                <a:gd name="T11" fmla="*/ 348 h 379"/>
                <a:gd name="T12" fmla="*/ 294 w 348"/>
                <a:gd name="T13" fmla="*/ 235 h 379"/>
                <a:gd name="T14" fmla="*/ 294 w 348"/>
                <a:gd name="T15" fmla="*/ 234 h 379"/>
                <a:gd name="T16" fmla="*/ 316 w 348"/>
                <a:gd name="T17" fmla="*/ 15 h 379"/>
                <a:gd name="T18" fmla="*/ 333 w 348"/>
                <a:gd name="T19" fmla="*/ 1 h 379"/>
                <a:gd name="T20" fmla="*/ 347 w 348"/>
                <a:gd name="T21" fmla="*/ 18 h 379"/>
                <a:gd name="T22" fmla="*/ 324 w 348"/>
                <a:gd name="T23" fmla="*/ 238 h 379"/>
                <a:gd name="T24" fmla="*/ 324 w 348"/>
                <a:gd name="T25" fmla="*/ 238 h 379"/>
                <a:gd name="T26" fmla="*/ 173 w 348"/>
                <a:gd name="T27"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379">
                  <a:moveTo>
                    <a:pt x="173" y="379"/>
                  </a:moveTo>
                  <a:cubicBezTo>
                    <a:pt x="93" y="379"/>
                    <a:pt x="26" y="317"/>
                    <a:pt x="21" y="237"/>
                  </a:cubicBezTo>
                  <a:cubicBezTo>
                    <a:pt x="0" y="18"/>
                    <a:pt x="0" y="18"/>
                    <a:pt x="0" y="18"/>
                  </a:cubicBezTo>
                  <a:cubicBezTo>
                    <a:pt x="30" y="15"/>
                    <a:pt x="30" y="15"/>
                    <a:pt x="30" y="15"/>
                  </a:cubicBezTo>
                  <a:cubicBezTo>
                    <a:pt x="52" y="235"/>
                    <a:pt x="52" y="235"/>
                    <a:pt x="52" y="235"/>
                  </a:cubicBezTo>
                  <a:cubicBezTo>
                    <a:pt x="56" y="299"/>
                    <a:pt x="109" y="348"/>
                    <a:pt x="173" y="348"/>
                  </a:cubicBezTo>
                  <a:cubicBezTo>
                    <a:pt x="236" y="348"/>
                    <a:pt x="289" y="299"/>
                    <a:pt x="294" y="235"/>
                  </a:cubicBezTo>
                  <a:cubicBezTo>
                    <a:pt x="294" y="235"/>
                    <a:pt x="294" y="234"/>
                    <a:pt x="294" y="234"/>
                  </a:cubicBezTo>
                  <a:cubicBezTo>
                    <a:pt x="316" y="15"/>
                    <a:pt x="316" y="15"/>
                    <a:pt x="316" y="15"/>
                  </a:cubicBezTo>
                  <a:cubicBezTo>
                    <a:pt x="317" y="6"/>
                    <a:pt x="325" y="0"/>
                    <a:pt x="333" y="1"/>
                  </a:cubicBezTo>
                  <a:cubicBezTo>
                    <a:pt x="342" y="2"/>
                    <a:pt x="348" y="10"/>
                    <a:pt x="347" y="18"/>
                  </a:cubicBezTo>
                  <a:cubicBezTo>
                    <a:pt x="324" y="238"/>
                    <a:pt x="324" y="238"/>
                    <a:pt x="324" y="238"/>
                  </a:cubicBezTo>
                  <a:cubicBezTo>
                    <a:pt x="324" y="238"/>
                    <a:pt x="324" y="238"/>
                    <a:pt x="324" y="238"/>
                  </a:cubicBezTo>
                  <a:cubicBezTo>
                    <a:pt x="318" y="317"/>
                    <a:pt x="252" y="379"/>
                    <a:pt x="173"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0" name="Oval 7">
              <a:extLst>
                <a:ext uri="{FF2B5EF4-FFF2-40B4-BE49-F238E27FC236}">
                  <a16:creationId xmlns:a16="http://schemas.microsoft.com/office/drawing/2014/main" id="{2BC8AABA-6866-43AB-A2FC-94B3F9A0B9AF}"/>
                </a:ext>
              </a:extLst>
            </p:cNvPr>
            <p:cNvSpPr>
              <a:spLocks noChangeArrowheads="1"/>
            </p:cNvSpPr>
            <p:nvPr/>
          </p:nvSpPr>
          <p:spPr bwMode="auto">
            <a:xfrm>
              <a:off x="-680" y="365"/>
              <a:ext cx="20"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1" name="Oval 8">
              <a:extLst>
                <a:ext uri="{FF2B5EF4-FFF2-40B4-BE49-F238E27FC236}">
                  <a16:creationId xmlns:a16="http://schemas.microsoft.com/office/drawing/2014/main" id="{A1E66525-215C-402E-A018-6E3B7F3AC33E}"/>
                </a:ext>
              </a:extLst>
            </p:cNvPr>
            <p:cNvSpPr>
              <a:spLocks noChangeArrowheads="1"/>
            </p:cNvSpPr>
            <p:nvPr/>
          </p:nvSpPr>
          <p:spPr bwMode="auto">
            <a:xfrm>
              <a:off x="-726" y="365"/>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2" name="Oval 9">
              <a:extLst>
                <a:ext uri="{FF2B5EF4-FFF2-40B4-BE49-F238E27FC236}">
                  <a16:creationId xmlns:a16="http://schemas.microsoft.com/office/drawing/2014/main" id="{001C39E9-7B68-485B-B180-76F330307A20}"/>
                </a:ext>
              </a:extLst>
            </p:cNvPr>
            <p:cNvSpPr>
              <a:spLocks noChangeArrowheads="1"/>
            </p:cNvSpPr>
            <p:nvPr/>
          </p:nvSpPr>
          <p:spPr bwMode="auto">
            <a:xfrm>
              <a:off x="-771" y="365"/>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3" name="Oval 10">
              <a:extLst>
                <a:ext uri="{FF2B5EF4-FFF2-40B4-BE49-F238E27FC236}">
                  <a16:creationId xmlns:a16="http://schemas.microsoft.com/office/drawing/2014/main" id="{D6D2A348-28A2-4FBB-B301-0203A8F2E23B}"/>
                </a:ext>
              </a:extLst>
            </p:cNvPr>
            <p:cNvSpPr>
              <a:spLocks noChangeArrowheads="1"/>
            </p:cNvSpPr>
            <p:nvPr/>
          </p:nvSpPr>
          <p:spPr bwMode="auto">
            <a:xfrm>
              <a:off x="-817" y="365"/>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4" name="Oval 11">
              <a:extLst>
                <a:ext uri="{FF2B5EF4-FFF2-40B4-BE49-F238E27FC236}">
                  <a16:creationId xmlns:a16="http://schemas.microsoft.com/office/drawing/2014/main" id="{28C29100-A162-4BAA-B3A5-50ACFD7374AE}"/>
                </a:ext>
              </a:extLst>
            </p:cNvPr>
            <p:cNvSpPr>
              <a:spLocks noChangeArrowheads="1"/>
            </p:cNvSpPr>
            <p:nvPr/>
          </p:nvSpPr>
          <p:spPr bwMode="auto">
            <a:xfrm>
              <a:off x="-657" y="332"/>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5" name="Oval 12">
              <a:extLst>
                <a:ext uri="{FF2B5EF4-FFF2-40B4-BE49-F238E27FC236}">
                  <a16:creationId xmlns:a16="http://schemas.microsoft.com/office/drawing/2014/main" id="{8964102D-CFE2-441F-A36D-FA3A1C87321C}"/>
                </a:ext>
              </a:extLst>
            </p:cNvPr>
            <p:cNvSpPr>
              <a:spLocks noChangeArrowheads="1"/>
            </p:cNvSpPr>
            <p:nvPr/>
          </p:nvSpPr>
          <p:spPr bwMode="auto">
            <a:xfrm>
              <a:off x="-701" y="332"/>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6" name="Oval 13">
              <a:extLst>
                <a:ext uri="{FF2B5EF4-FFF2-40B4-BE49-F238E27FC236}">
                  <a16:creationId xmlns:a16="http://schemas.microsoft.com/office/drawing/2014/main" id="{1F408BE1-524F-4431-A6F4-44B42E1F1BD9}"/>
                </a:ext>
              </a:extLst>
            </p:cNvPr>
            <p:cNvSpPr>
              <a:spLocks noChangeArrowheads="1"/>
            </p:cNvSpPr>
            <p:nvPr/>
          </p:nvSpPr>
          <p:spPr bwMode="auto">
            <a:xfrm>
              <a:off x="-747" y="332"/>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7" name="Oval 14">
              <a:extLst>
                <a:ext uri="{FF2B5EF4-FFF2-40B4-BE49-F238E27FC236}">
                  <a16:creationId xmlns:a16="http://schemas.microsoft.com/office/drawing/2014/main" id="{17B8CB2A-365C-4EBF-9AFD-93FA9EDDCF71}"/>
                </a:ext>
              </a:extLst>
            </p:cNvPr>
            <p:cNvSpPr>
              <a:spLocks noChangeArrowheads="1"/>
            </p:cNvSpPr>
            <p:nvPr/>
          </p:nvSpPr>
          <p:spPr bwMode="auto">
            <a:xfrm>
              <a:off x="-792" y="332"/>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8" name="Oval 15">
              <a:extLst>
                <a:ext uri="{FF2B5EF4-FFF2-40B4-BE49-F238E27FC236}">
                  <a16:creationId xmlns:a16="http://schemas.microsoft.com/office/drawing/2014/main" id="{38031C92-C843-4012-9102-9C63548EAEF2}"/>
                </a:ext>
              </a:extLst>
            </p:cNvPr>
            <p:cNvSpPr>
              <a:spLocks noChangeArrowheads="1"/>
            </p:cNvSpPr>
            <p:nvPr/>
          </p:nvSpPr>
          <p:spPr bwMode="auto">
            <a:xfrm>
              <a:off x="-838" y="332"/>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9" name="Oval 16">
              <a:extLst>
                <a:ext uri="{FF2B5EF4-FFF2-40B4-BE49-F238E27FC236}">
                  <a16:creationId xmlns:a16="http://schemas.microsoft.com/office/drawing/2014/main" id="{C0EFC9DD-A6AA-411E-BE69-903AB1D75131}"/>
                </a:ext>
              </a:extLst>
            </p:cNvPr>
            <p:cNvSpPr>
              <a:spLocks noChangeArrowheads="1"/>
            </p:cNvSpPr>
            <p:nvPr/>
          </p:nvSpPr>
          <p:spPr bwMode="auto">
            <a:xfrm>
              <a:off x="-680" y="295"/>
              <a:ext cx="20"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0" name="Oval 17">
              <a:extLst>
                <a:ext uri="{FF2B5EF4-FFF2-40B4-BE49-F238E27FC236}">
                  <a16:creationId xmlns:a16="http://schemas.microsoft.com/office/drawing/2014/main" id="{CD3C993C-FC85-4034-9B70-5D061B51C46E}"/>
                </a:ext>
              </a:extLst>
            </p:cNvPr>
            <p:cNvSpPr>
              <a:spLocks noChangeArrowheads="1"/>
            </p:cNvSpPr>
            <p:nvPr/>
          </p:nvSpPr>
          <p:spPr bwMode="auto">
            <a:xfrm>
              <a:off x="-726" y="295"/>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1" name="Oval 18">
              <a:extLst>
                <a:ext uri="{FF2B5EF4-FFF2-40B4-BE49-F238E27FC236}">
                  <a16:creationId xmlns:a16="http://schemas.microsoft.com/office/drawing/2014/main" id="{BCF21E68-AA26-4031-8E1B-F6ED62C4D76F}"/>
                </a:ext>
              </a:extLst>
            </p:cNvPr>
            <p:cNvSpPr>
              <a:spLocks noChangeArrowheads="1"/>
            </p:cNvSpPr>
            <p:nvPr/>
          </p:nvSpPr>
          <p:spPr bwMode="auto">
            <a:xfrm>
              <a:off x="-771" y="295"/>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2" name="Oval 19">
              <a:extLst>
                <a:ext uri="{FF2B5EF4-FFF2-40B4-BE49-F238E27FC236}">
                  <a16:creationId xmlns:a16="http://schemas.microsoft.com/office/drawing/2014/main" id="{C45C253A-6B32-4747-B7C5-4829EFBBEC0D}"/>
                </a:ext>
              </a:extLst>
            </p:cNvPr>
            <p:cNvSpPr>
              <a:spLocks noChangeArrowheads="1"/>
            </p:cNvSpPr>
            <p:nvPr/>
          </p:nvSpPr>
          <p:spPr bwMode="auto">
            <a:xfrm>
              <a:off x="-817" y="295"/>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3" name="Oval 20">
              <a:extLst>
                <a:ext uri="{FF2B5EF4-FFF2-40B4-BE49-F238E27FC236}">
                  <a16:creationId xmlns:a16="http://schemas.microsoft.com/office/drawing/2014/main" id="{93A69AC1-4BE4-4F04-B702-DDBDD2502E6B}"/>
                </a:ext>
              </a:extLst>
            </p:cNvPr>
            <p:cNvSpPr>
              <a:spLocks noChangeArrowheads="1"/>
            </p:cNvSpPr>
            <p:nvPr/>
          </p:nvSpPr>
          <p:spPr bwMode="auto">
            <a:xfrm>
              <a:off x="-657" y="262"/>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4" name="Oval 21">
              <a:extLst>
                <a:ext uri="{FF2B5EF4-FFF2-40B4-BE49-F238E27FC236}">
                  <a16:creationId xmlns:a16="http://schemas.microsoft.com/office/drawing/2014/main" id="{CCD28B75-5E82-46CF-A0CA-5830F4E9C4BB}"/>
                </a:ext>
              </a:extLst>
            </p:cNvPr>
            <p:cNvSpPr>
              <a:spLocks noChangeArrowheads="1"/>
            </p:cNvSpPr>
            <p:nvPr/>
          </p:nvSpPr>
          <p:spPr bwMode="auto">
            <a:xfrm>
              <a:off x="-701" y="262"/>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5" name="Oval 22">
              <a:extLst>
                <a:ext uri="{FF2B5EF4-FFF2-40B4-BE49-F238E27FC236}">
                  <a16:creationId xmlns:a16="http://schemas.microsoft.com/office/drawing/2014/main" id="{2012BF5E-074E-4B73-9C2D-6E6D12037157}"/>
                </a:ext>
              </a:extLst>
            </p:cNvPr>
            <p:cNvSpPr>
              <a:spLocks noChangeArrowheads="1"/>
            </p:cNvSpPr>
            <p:nvPr/>
          </p:nvSpPr>
          <p:spPr bwMode="auto">
            <a:xfrm>
              <a:off x="-747" y="262"/>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6" name="Oval 23">
              <a:extLst>
                <a:ext uri="{FF2B5EF4-FFF2-40B4-BE49-F238E27FC236}">
                  <a16:creationId xmlns:a16="http://schemas.microsoft.com/office/drawing/2014/main" id="{D3DD1C34-652E-4459-896F-68D044429689}"/>
                </a:ext>
              </a:extLst>
            </p:cNvPr>
            <p:cNvSpPr>
              <a:spLocks noChangeArrowheads="1"/>
            </p:cNvSpPr>
            <p:nvPr/>
          </p:nvSpPr>
          <p:spPr bwMode="auto">
            <a:xfrm>
              <a:off x="-792" y="262"/>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7" name="Oval 24">
              <a:extLst>
                <a:ext uri="{FF2B5EF4-FFF2-40B4-BE49-F238E27FC236}">
                  <a16:creationId xmlns:a16="http://schemas.microsoft.com/office/drawing/2014/main" id="{6DBEE0EE-8A71-4395-8A9D-888D0C48BD26}"/>
                </a:ext>
              </a:extLst>
            </p:cNvPr>
            <p:cNvSpPr>
              <a:spLocks noChangeArrowheads="1"/>
            </p:cNvSpPr>
            <p:nvPr/>
          </p:nvSpPr>
          <p:spPr bwMode="auto">
            <a:xfrm>
              <a:off x="-838" y="262"/>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8" name="Oval 25">
              <a:extLst>
                <a:ext uri="{FF2B5EF4-FFF2-40B4-BE49-F238E27FC236}">
                  <a16:creationId xmlns:a16="http://schemas.microsoft.com/office/drawing/2014/main" id="{87CF73F0-A283-4364-A86F-8F8F5DEA8196}"/>
                </a:ext>
              </a:extLst>
            </p:cNvPr>
            <p:cNvSpPr>
              <a:spLocks noChangeArrowheads="1"/>
            </p:cNvSpPr>
            <p:nvPr/>
          </p:nvSpPr>
          <p:spPr bwMode="auto">
            <a:xfrm>
              <a:off x="-680" y="229"/>
              <a:ext cx="20"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9" name="Oval 26">
              <a:extLst>
                <a:ext uri="{FF2B5EF4-FFF2-40B4-BE49-F238E27FC236}">
                  <a16:creationId xmlns:a16="http://schemas.microsoft.com/office/drawing/2014/main" id="{71179BEE-0038-4741-B56B-156F1153691E}"/>
                </a:ext>
              </a:extLst>
            </p:cNvPr>
            <p:cNvSpPr>
              <a:spLocks noChangeArrowheads="1"/>
            </p:cNvSpPr>
            <p:nvPr/>
          </p:nvSpPr>
          <p:spPr bwMode="auto">
            <a:xfrm>
              <a:off x="-726" y="229"/>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0" name="Oval 27">
              <a:extLst>
                <a:ext uri="{FF2B5EF4-FFF2-40B4-BE49-F238E27FC236}">
                  <a16:creationId xmlns:a16="http://schemas.microsoft.com/office/drawing/2014/main" id="{81AB3375-F549-4A85-8187-1845CA9E9924}"/>
                </a:ext>
              </a:extLst>
            </p:cNvPr>
            <p:cNvSpPr>
              <a:spLocks noChangeArrowheads="1"/>
            </p:cNvSpPr>
            <p:nvPr/>
          </p:nvSpPr>
          <p:spPr bwMode="auto">
            <a:xfrm>
              <a:off x="-771" y="229"/>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1" name="Oval 28">
              <a:extLst>
                <a:ext uri="{FF2B5EF4-FFF2-40B4-BE49-F238E27FC236}">
                  <a16:creationId xmlns:a16="http://schemas.microsoft.com/office/drawing/2014/main" id="{6F54D326-D95F-4C47-9E9D-FB3B4A95CE38}"/>
                </a:ext>
              </a:extLst>
            </p:cNvPr>
            <p:cNvSpPr>
              <a:spLocks noChangeArrowheads="1"/>
            </p:cNvSpPr>
            <p:nvPr/>
          </p:nvSpPr>
          <p:spPr bwMode="auto">
            <a:xfrm>
              <a:off x="-817" y="229"/>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2" name="Oval 29">
              <a:extLst>
                <a:ext uri="{FF2B5EF4-FFF2-40B4-BE49-F238E27FC236}">
                  <a16:creationId xmlns:a16="http://schemas.microsoft.com/office/drawing/2014/main" id="{6F8DFD58-97D5-4675-A9D8-C5648C9924D6}"/>
                </a:ext>
              </a:extLst>
            </p:cNvPr>
            <p:cNvSpPr>
              <a:spLocks noChangeArrowheads="1"/>
            </p:cNvSpPr>
            <p:nvPr/>
          </p:nvSpPr>
          <p:spPr bwMode="auto">
            <a:xfrm>
              <a:off x="-657" y="196"/>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3" name="Oval 30">
              <a:extLst>
                <a:ext uri="{FF2B5EF4-FFF2-40B4-BE49-F238E27FC236}">
                  <a16:creationId xmlns:a16="http://schemas.microsoft.com/office/drawing/2014/main" id="{0A82DE5A-72C6-46C0-AF60-7C83068C1D72}"/>
                </a:ext>
              </a:extLst>
            </p:cNvPr>
            <p:cNvSpPr>
              <a:spLocks noChangeArrowheads="1"/>
            </p:cNvSpPr>
            <p:nvPr/>
          </p:nvSpPr>
          <p:spPr bwMode="auto">
            <a:xfrm>
              <a:off x="-701" y="196"/>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4" name="Oval 31">
              <a:extLst>
                <a:ext uri="{FF2B5EF4-FFF2-40B4-BE49-F238E27FC236}">
                  <a16:creationId xmlns:a16="http://schemas.microsoft.com/office/drawing/2014/main" id="{312964EE-117C-4084-B4FC-3380E9E3E443}"/>
                </a:ext>
              </a:extLst>
            </p:cNvPr>
            <p:cNvSpPr>
              <a:spLocks noChangeArrowheads="1"/>
            </p:cNvSpPr>
            <p:nvPr/>
          </p:nvSpPr>
          <p:spPr bwMode="auto">
            <a:xfrm>
              <a:off x="-747" y="196"/>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5" name="Oval 32">
              <a:extLst>
                <a:ext uri="{FF2B5EF4-FFF2-40B4-BE49-F238E27FC236}">
                  <a16:creationId xmlns:a16="http://schemas.microsoft.com/office/drawing/2014/main" id="{0660B737-AE33-43A8-AE23-08559145F491}"/>
                </a:ext>
              </a:extLst>
            </p:cNvPr>
            <p:cNvSpPr>
              <a:spLocks noChangeArrowheads="1"/>
            </p:cNvSpPr>
            <p:nvPr/>
          </p:nvSpPr>
          <p:spPr bwMode="auto">
            <a:xfrm>
              <a:off x="-792" y="196"/>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6" name="Oval 33">
              <a:extLst>
                <a:ext uri="{FF2B5EF4-FFF2-40B4-BE49-F238E27FC236}">
                  <a16:creationId xmlns:a16="http://schemas.microsoft.com/office/drawing/2014/main" id="{E1E874E5-1F0D-42D5-9541-F0D8E7249DD2}"/>
                </a:ext>
              </a:extLst>
            </p:cNvPr>
            <p:cNvSpPr>
              <a:spLocks noChangeArrowheads="1"/>
            </p:cNvSpPr>
            <p:nvPr/>
          </p:nvSpPr>
          <p:spPr bwMode="auto">
            <a:xfrm>
              <a:off x="-838" y="196"/>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7" name="Freeform 34">
              <a:extLst>
                <a:ext uri="{FF2B5EF4-FFF2-40B4-BE49-F238E27FC236}">
                  <a16:creationId xmlns:a16="http://schemas.microsoft.com/office/drawing/2014/main" id="{D40BBC37-6C9B-43D9-9E56-4EF99B2C1CE4}"/>
                </a:ext>
              </a:extLst>
            </p:cNvPr>
            <p:cNvSpPr>
              <a:spLocks noEditPoints="1"/>
            </p:cNvSpPr>
            <p:nvPr/>
          </p:nvSpPr>
          <p:spPr bwMode="auto">
            <a:xfrm>
              <a:off x="-1944" y="479"/>
              <a:ext cx="91" cy="91"/>
            </a:xfrm>
            <a:custGeom>
              <a:avLst/>
              <a:gdLst>
                <a:gd name="T0" fmla="*/ 88 w 104"/>
                <a:gd name="T1" fmla="*/ 103 h 103"/>
                <a:gd name="T2" fmla="*/ 16 w 104"/>
                <a:gd name="T3" fmla="*/ 103 h 103"/>
                <a:gd name="T4" fmla="*/ 0 w 104"/>
                <a:gd name="T5" fmla="*/ 88 h 103"/>
                <a:gd name="T6" fmla="*/ 0 w 104"/>
                <a:gd name="T7" fmla="*/ 15 h 103"/>
                <a:gd name="T8" fmla="*/ 16 w 104"/>
                <a:gd name="T9" fmla="*/ 0 h 103"/>
                <a:gd name="T10" fmla="*/ 88 w 104"/>
                <a:gd name="T11" fmla="*/ 0 h 103"/>
                <a:gd name="T12" fmla="*/ 104 w 104"/>
                <a:gd name="T13" fmla="*/ 15 h 103"/>
                <a:gd name="T14" fmla="*/ 104 w 104"/>
                <a:gd name="T15" fmla="*/ 88 h 103"/>
                <a:gd name="T16" fmla="*/ 88 w 104"/>
                <a:gd name="T17" fmla="*/ 103 h 103"/>
                <a:gd name="T18" fmla="*/ 31 w 104"/>
                <a:gd name="T19" fmla="*/ 73 h 103"/>
                <a:gd name="T20" fmla="*/ 73 w 104"/>
                <a:gd name="T21" fmla="*/ 73 h 103"/>
                <a:gd name="T22" fmla="*/ 73 w 104"/>
                <a:gd name="T23" fmla="*/ 31 h 103"/>
                <a:gd name="T24" fmla="*/ 31 w 104"/>
                <a:gd name="T25" fmla="*/ 31 h 103"/>
                <a:gd name="T26" fmla="*/ 31 w 104"/>
                <a:gd name="T27" fmla="*/ 7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03">
                  <a:moveTo>
                    <a:pt x="88" y="103"/>
                  </a:moveTo>
                  <a:cubicBezTo>
                    <a:pt x="16" y="103"/>
                    <a:pt x="16" y="103"/>
                    <a:pt x="16" y="103"/>
                  </a:cubicBezTo>
                  <a:cubicBezTo>
                    <a:pt x="7" y="103"/>
                    <a:pt x="0" y="96"/>
                    <a:pt x="0" y="88"/>
                  </a:cubicBezTo>
                  <a:cubicBezTo>
                    <a:pt x="0" y="15"/>
                    <a:pt x="0" y="15"/>
                    <a:pt x="0" y="15"/>
                  </a:cubicBezTo>
                  <a:cubicBezTo>
                    <a:pt x="0" y="7"/>
                    <a:pt x="7" y="0"/>
                    <a:pt x="16" y="0"/>
                  </a:cubicBezTo>
                  <a:cubicBezTo>
                    <a:pt x="88" y="0"/>
                    <a:pt x="88" y="0"/>
                    <a:pt x="88" y="0"/>
                  </a:cubicBezTo>
                  <a:cubicBezTo>
                    <a:pt x="97" y="0"/>
                    <a:pt x="104" y="7"/>
                    <a:pt x="104" y="15"/>
                  </a:cubicBezTo>
                  <a:cubicBezTo>
                    <a:pt x="104" y="88"/>
                    <a:pt x="104" y="88"/>
                    <a:pt x="104" y="88"/>
                  </a:cubicBezTo>
                  <a:cubicBezTo>
                    <a:pt x="104" y="96"/>
                    <a:pt x="97" y="103"/>
                    <a:pt x="88" y="103"/>
                  </a:cubicBezTo>
                  <a:close/>
                  <a:moveTo>
                    <a:pt x="31" y="73"/>
                  </a:moveTo>
                  <a:cubicBezTo>
                    <a:pt x="73" y="73"/>
                    <a:pt x="73" y="73"/>
                    <a:pt x="73" y="73"/>
                  </a:cubicBezTo>
                  <a:cubicBezTo>
                    <a:pt x="73" y="31"/>
                    <a:pt x="73" y="31"/>
                    <a:pt x="73" y="31"/>
                  </a:cubicBezTo>
                  <a:cubicBezTo>
                    <a:pt x="31" y="31"/>
                    <a:pt x="31" y="31"/>
                    <a:pt x="31" y="31"/>
                  </a:cubicBezTo>
                  <a:lnTo>
                    <a:pt x="3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8" name="Freeform 35">
              <a:extLst>
                <a:ext uri="{FF2B5EF4-FFF2-40B4-BE49-F238E27FC236}">
                  <a16:creationId xmlns:a16="http://schemas.microsoft.com/office/drawing/2014/main" id="{6DEA6EBA-6255-425B-A470-66EE434B57CF}"/>
                </a:ext>
              </a:extLst>
            </p:cNvPr>
            <p:cNvSpPr>
              <a:spLocks noEditPoints="1"/>
            </p:cNvSpPr>
            <p:nvPr/>
          </p:nvSpPr>
          <p:spPr bwMode="auto">
            <a:xfrm>
              <a:off x="-1052" y="-32"/>
              <a:ext cx="632" cy="633"/>
            </a:xfrm>
            <a:custGeom>
              <a:avLst/>
              <a:gdLst>
                <a:gd name="T0" fmla="*/ 707 w 723"/>
                <a:gd name="T1" fmla="*/ 723 h 723"/>
                <a:gd name="T2" fmla="*/ 15 w 723"/>
                <a:gd name="T3" fmla="*/ 723 h 723"/>
                <a:gd name="T4" fmla="*/ 0 w 723"/>
                <a:gd name="T5" fmla="*/ 708 h 723"/>
                <a:gd name="T6" fmla="*/ 0 w 723"/>
                <a:gd name="T7" fmla="*/ 16 h 723"/>
                <a:gd name="T8" fmla="*/ 15 w 723"/>
                <a:gd name="T9" fmla="*/ 0 h 723"/>
                <a:gd name="T10" fmla="*/ 707 w 723"/>
                <a:gd name="T11" fmla="*/ 0 h 723"/>
                <a:gd name="T12" fmla="*/ 723 w 723"/>
                <a:gd name="T13" fmla="*/ 16 h 723"/>
                <a:gd name="T14" fmla="*/ 723 w 723"/>
                <a:gd name="T15" fmla="*/ 708 h 723"/>
                <a:gd name="T16" fmla="*/ 707 w 723"/>
                <a:gd name="T17" fmla="*/ 723 h 723"/>
                <a:gd name="T18" fmla="*/ 30 w 723"/>
                <a:gd name="T19" fmla="*/ 692 h 723"/>
                <a:gd name="T20" fmla="*/ 692 w 723"/>
                <a:gd name="T21" fmla="*/ 692 h 723"/>
                <a:gd name="T22" fmla="*/ 692 w 723"/>
                <a:gd name="T23" fmla="*/ 31 h 723"/>
                <a:gd name="T24" fmla="*/ 30 w 723"/>
                <a:gd name="T25" fmla="*/ 31 h 723"/>
                <a:gd name="T26" fmla="*/ 30 w 723"/>
                <a:gd name="T27" fmla="*/ 692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3" h="723">
                  <a:moveTo>
                    <a:pt x="707" y="723"/>
                  </a:moveTo>
                  <a:cubicBezTo>
                    <a:pt x="15" y="723"/>
                    <a:pt x="15" y="723"/>
                    <a:pt x="15" y="723"/>
                  </a:cubicBezTo>
                  <a:cubicBezTo>
                    <a:pt x="6" y="723"/>
                    <a:pt x="0" y="716"/>
                    <a:pt x="0" y="708"/>
                  </a:cubicBezTo>
                  <a:cubicBezTo>
                    <a:pt x="0" y="16"/>
                    <a:pt x="0" y="16"/>
                    <a:pt x="0" y="16"/>
                  </a:cubicBezTo>
                  <a:cubicBezTo>
                    <a:pt x="0" y="7"/>
                    <a:pt x="6" y="0"/>
                    <a:pt x="15" y="0"/>
                  </a:cubicBezTo>
                  <a:cubicBezTo>
                    <a:pt x="707" y="0"/>
                    <a:pt x="707" y="0"/>
                    <a:pt x="707" y="0"/>
                  </a:cubicBezTo>
                  <a:cubicBezTo>
                    <a:pt x="716" y="0"/>
                    <a:pt x="723" y="7"/>
                    <a:pt x="723" y="16"/>
                  </a:cubicBezTo>
                  <a:cubicBezTo>
                    <a:pt x="723" y="708"/>
                    <a:pt x="723" y="708"/>
                    <a:pt x="723" y="708"/>
                  </a:cubicBezTo>
                  <a:cubicBezTo>
                    <a:pt x="723" y="716"/>
                    <a:pt x="716" y="723"/>
                    <a:pt x="707" y="723"/>
                  </a:cubicBezTo>
                  <a:close/>
                  <a:moveTo>
                    <a:pt x="30" y="692"/>
                  </a:moveTo>
                  <a:cubicBezTo>
                    <a:pt x="692" y="692"/>
                    <a:pt x="692" y="692"/>
                    <a:pt x="692" y="692"/>
                  </a:cubicBezTo>
                  <a:cubicBezTo>
                    <a:pt x="692" y="31"/>
                    <a:pt x="692" y="31"/>
                    <a:pt x="692" y="31"/>
                  </a:cubicBezTo>
                  <a:cubicBezTo>
                    <a:pt x="30" y="31"/>
                    <a:pt x="30" y="31"/>
                    <a:pt x="30" y="31"/>
                  </a:cubicBezTo>
                  <a:lnTo>
                    <a:pt x="30" y="6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9" name="Freeform 36">
              <a:extLst>
                <a:ext uri="{FF2B5EF4-FFF2-40B4-BE49-F238E27FC236}">
                  <a16:creationId xmlns:a16="http://schemas.microsoft.com/office/drawing/2014/main" id="{AB772368-5C40-4318-BF7D-69BFD1C9B0EB}"/>
                </a:ext>
              </a:extLst>
            </p:cNvPr>
            <p:cNvSpPr>
              <a:spLocks/>
            </p:cNvSpPr>
            <p:nvPr/>
          </p:nvSpPr>
          <p:spPr bwMode="auto">
            <a:xfrm>
              <a:off x="-1877" y="-34"/>
              <a:ext cx="854" cy="539"/>
            </a:xfrm>
            <a:custGeom>
              <a:avLst/>
              <a:gdLst>
                <a:gd name="T0" fmla="*/ 17 w 977"/>
                <a:gd name="T1" fmla="*/ 615 h 615"/>
                <a:gd name="T2" fmla="*/ 4 w 977"/>
                <a:gd name="T3" fmla="*/ 608 h 615"/>
                <a:gd name="T4" fmla="*/ 9 w 977"/>
                <a:gd name="T5" fmla="*/ 586 h 615"/>
                <a:gd name="T6" fmla="*/ 951 w 977"/>
                <a:gd name="T7" fmla="*/ 4 h 615"/>
                <a:gd name="T8" fmla="*/ 972 w 977"/>
                <a:gd name="T9" fmla="*/ 9 h 615"/>
                <a:gd name="T10" fmla="*/ 967 w 977"/>
                <a:gd name="T11" fmla="*/ 31 h 615"/>
                <a:gd name="T12" fmla="*/ 25 w 977"/>
                <a:gd name="T13" fmla="*/ 613 h 615"/>
                <a:gd name="T14" fmla="*/ 17 w 977"/>
                <a:gd name="T15" fmla="*/ 615 h 6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7" h="615">
                  <a:moveTo>
                    <a:pt x="17" y="615"/>
                  </a:moveTo>
                  <a:cubicBezTo>
                    <a:pt x="12" y="615"/>
                    <a:pt x="7" y="612"/>
                    <a:pt x="4" y="608"/>
                  </a:cubicBezTo>
                  <a:cubicBezTo>
                    <a:pt x="0" y="600"/>
                    <a:pt x="2" y="591"/>
                    <a:pt x="9" y="586"/>
                  </a:cubicBezTo>
                  <a:cubicBezTo>
                    <a:pt x="951" y="4"/>
                    <a:pt x="951" y="4"/>
                    <a:pt x="951" y="4"/>
                  </a:cubicBezTo>
                  <a:cubicBezTo>
                    <a:pt x="958" y="0"/>
                    <a:pt x="968" y="2"/>
                    <a:pt x="972" y="9"/>
                  </a:cubicBezTo>
                  <a:cubicBezTo>
                    <a:pt x="977" y="17"/>
                    <a:pt x="974" y="26"/>
                    <a:pt x="967" y="31"/>
                  </a:cubicBezTo>
                  <a:cubicBezTo>
                    <a:pt x="25" y="613"/>
                    <a:pt x="25" y="613"/>
                    <a:pt x="25" y="613"/>
                  </a:cubicBezTo>
                  <a:cubicBezTo>
                    <a:pt x="23" y="614"/>
                    <a:pt x="20" y="615"/>
                    <a:pt x="17" y="6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0" name="Line 37">
              <a:extLst>
                <a:ext uri="{FF2B5EF4-FFF2-40B4-BE49-F238E27FC236}">
                  <a16:creationId xmlns:a16="http://schemas.microsoft.com/office/drawing/2014/main" id="{A4E08975-8C9F-4BCC-884E-E37267B46138}"/>
                </a:ext>
              </a:extLst>
            </p:cNvPr>
            <p:cNvSpPr>
              <a:spLocks noChangeShapeType="1"/>
            </p:cNvSpPr>
            <p:nvPr/>
          </p:nvSpPr>
          <p:spPr bwMode="auto">
            <a:xfrm>
              <a:off x="-1959" y="751"/>
              <a:ext cx="0" cy="0"/>
            </a:xfrm>
            <a:prstGeom prst="line">
              <a:avLst/>
            </a:prstGeom>
            <a:grpFill/>
            <a:ln w="15875" cap="rnd">
              <a:solidFill>
                <a:srgbClr val="4B1D3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1" name="Freeform 38">
              <a:extLst>
                <a:ext uri="{FF2B5EF4-FFF2-40B4-BE49-F238E27FC236}">
                  <a16:creationId xmlns:a16="http://schemas.microsoft.com/office/drawing/2014/main" id="{AF89056B-FC84-4EA0-A5B3-79B0A88B53F7}"/>
                </a:ext>
              </a:extLst>
            </p:cNvPr>
            <p:cNvSpPr>
              <a:spLocks/>
            </p:cNvSpPr>
            <p:nvPr/>
          </p:nvSpPr>
          <p:spPr bwMode="auto">
            <a:xfrm>
              <a:off x="-1906" y="512"/>
              <a:ext cx="16" cy="24"/>
            </a:xfrm>
            <a:custGeom>
              <a:avLst/>
              <a:gdLst>
                <a:gd name="T0" fmla="*/ 9 w 18"/>
                <a:gd name="T1" fmla="*/ 27 h 27"/>
                <a:gd name="T2" fmla="*/ 0 w 18"/>
                <a:gd name="T3" fmla="*/ 18 h 27"/>
                <a:gd name="T4" fmla="*/ 1 w 18"/>
                <a:gd name="T5" fmla="*/ 14 h 27"/>
                <a:gd name="T6" fmla="*/ 8 w 18"/>
                <a:gd name="T7" fmla="*/ 2 h 27"/>
                <a:gd name="T8" fmla="*/ 12 w 18"/>
                <a:gd name="T9" fmla="*/ 1 h 27"/>
                <a:gd name="T10" fmla="*/ 12 w 18"/>
                <a:gd name="T11" fmla="*/ 4 h 27"/>
                <a:gd name="T12" fmla="*/ 6 w 18"/>
                <a:gd name="T13" fmla="*/ 16 h 27"/>
                <a:gd name="T14" fmla="*/ 5 w 18"/>
                <a:gd name="T15" fmla="*/ 18 h 27"/>
                <a:gd name="T16" fmla="*/ 9 w 18"/>
                <a:gd name="T17" fmla="*/ 22 h 27"/>
                <a:gd name="T18" fmla="*/ 13 w 18"/>
                <a:gd name="T19" fmla="*/ 18 h 27"/>
                <a:gd name="T20" fmla="*/ 12 w 18"/>
                <a:gd name="T21" fmla="*/ 16 h 27"/>
                <a:gd name="T22" fmla="*/ 10 w 18"/>
                <a:gd name="T23" fmla="*/ 13 h 27"/>
                <a:gd name="T24" fmla="*/ 11 w 18"/>
                <a:gd name="T25" fmla="*/ 9 h 27"/>
                <a:gd name="T26" fmla="*/ 15 w 18"/>
                <a:gd name="T27" fmla="*/ 10 h 27"/>
                <a:gd name="T28" fmla="*/ 16 w 18"/>
                <a:gd name="T29" fmla="*/ 13 h 27"/>
                <a:gd name="T30" fmla="*/ 18 w 18"/>
                <a:gd name="T31" fmla="*/ 18 h 27"/>
                <a:gd name="T32" fmla="*/ 9 w 18"/>
                <a:gd name="T3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7">
                  <a:moveTo>
                    <a:pt x="9" y="27"/>
                  </a:moveTo>
                  <a:cubicBezTo>
                    <a:pt x="4" y="27"/>
                    <a:pt x="0" y="23"/>
                    <a:pt x="0" y="18"/>
                  </a:cubicBezTo>
                  <a:cubicBezTo>
                    <a:pt x="0" y="17"/>
                    <a:pt x="0" y="15"/>
                    <a:pt x="1" y="14"/>
                  </a:cubicBezTo>
                  <a:cubicBezTo>
                    <a:pt x="8" y="2"/>
                    <a:pt x="8" y="2"/>
                    <a:pt x="8" y="2"/>
                  </a:cubicBezTo>
                  <a:cubicBezTo>
                    <a:pt x="9" y="1"/>
                    <a:pt x="10" y="0"/>
                    <a:pt x="12" y="1"/>
                  </a:cubicBezTo>
                  <a:cubicBezTo>
                    <a:pt x="13" y="2"/>
                    <a:pt x="13" y="3"/>
                    <a:pt x="12" y="4"/>
                  </a:cubicBezTo>
                  <a:cubicBezTo>
                    <a:pt x="6" y="16"/>
                    <a:pt x="6" y="16"/>
                    <a:pt x="6" y="16"/>
                  </a:cubicBezTo>
                  <a:cubicBezTo>
                    <a:pt x="5" y="17"/>
                    <a:pt x="5" y="17"/>
                    <a:pt x="5" y="18"/>
                  </a:cubicBezTo>
                  <a:cubicBezTo>
                    <a:pt x="5" y="20"/>
                    <a:pt x="7" y="22"/>
                    <a:pt x="9" y="22"/>
                  </a:cubicBezTo>
                  <a:cubicBezTo>
                    <a:pt x="11" y="22"/>
                    <a:pt x="13" y="20"/>
                    <a:pt x="13" y="18"/>
                  </a:cubicBezTo>
                  <a:cubicBezTo>
                    <a:pt x="13" y="17"/>
                    <a:pt x="13" y="17"/>
                    <a:pt x="12" y="16"/>
                  </a:cubicBezTo>
                  <a:cubicBezTo>
                    <a:pt x="10" y="13"/>
                    <a:pt x="10" y="13"/>
                    <a:pt x="10" y="13"/>
                  </a:cubicBezTo>
                  <a:cubicBezTo>
                    <a:pt x="9" y="12"/>
                    <a:pt x="10" y="10"/>
                    <a:pt x="11" y="9"/>
                  </a:cubicBezTo>
                  <a:cubicBezTo>
                    <a:pt x="12" y="9"/>
                    <a:pt x="14" y="9"/>
                    <a:pt x="15" y="10"/>
                  </a:cubicBezTo>
                  <a:cubicBezTo>
                    <a:pt x="16" y="13"/>
                    <a:pt x="16" y="13"/>
                    <a:pt x="16" y="13"/>
                  </a:cubicBezTo>
                  <a:cubicBezTo>
                    <a:pt x="17" y="15"/>
                    <a:pt x="18" y="16"/>
                    <a:pt x="18" y="18"/>
                  </a:cubicBezTo>
                  <a:cubicBezTo>
                    <a:pt x="18" y="23"/>
                    <a:pt x="14" y="27"/>
                    <a:pt x="9"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2" name="Freeform 39">
              <a:extLst>
                <a:ext uri="{FF2B5EF4-FFF2-40B4-BE49-F238E27FC236}">
                  <a16:creationId xmlns:a16="http://schemas.microsoft.com/office/drawing/2014/main" id="{EBEAA4B0-05EE-421C-BC43-D5A4DF3DD67C}"/>
                </a:ext>
              </a:extLst>
            </p:cNvPr>
            <p:cNvSpPr>
              <a:spLocks/>
            </p:cNvSpPr>
            <p:nvPr/>
          </p:nvSpPr>
          <p:spPr bwMode="auto">
            <a:xfrm>
              <a:off x="-3780" y="367"/>
              <a:ext cx="39" cy="39"/>
            </a:xfrm>
            <a:custGeom>
              <a:avLst/>
              <a:gdLst>
                <a:gd name="T0" fmla="*/ 38 w 44"/>
                <a:gd name="T1" fmla="*/ 11 h 44"/>
                <a:gd name="T2" fmla="*/ 32 w 44"/>
                <a:gd name="T3" fmla="*/ 38 h 44"/>
                <a:gd name="T4" fmla="*/ 6 w 44"/>
                <a:gd name="T5" fmla="*/ 32 h 44"/>
                <a:gd name="T6" fmla="*/ 11 w 44"/>
                <a:gd name="T7" fmla="*/ 6 h 44"/>
                <a:gd name="T8" fmla="*/ 38 w 44"/>
                <a:gd name="T9" fmla="*/ 11 h 44"/>
              </a:gdLst>
              <a:ahLst/>
              <a:cxnLst>
                <a:cxn ang="0">
                  <a:pos x="T0" y="T1"/>
                </a:cxn>
                <a:cxn ang="0">
                  <a:pos x="T2" y="T3"/>
                </a:cxn>
                <a:cxn ang="0">
                  <a:pos x="T4" y="T5"/>
                </a:cxn>
                <a:cxn ang="0">
                  <a:pos x="T6" y="T7"/>
                </a:cxn>
                <a:cxn ang="0">
                  <a:pos x="T8" y="T9"/>
                </a:cxn>
              </a:cxnLst>
              <a:rect l="0" t="0" r="r" b="b"/>
              <a:pathLst>
                <a:path w="44" h="44">
                  <a:moveTo>
                    <a:pt x="38" y="11"/>
                  </a:moveTo>
                  <a:cubicBezTo>
                    <a:pt x="44" y="20"/>
                    <a:pt x="41" y="32"/>
                    <a:pt x="32" y="38"/>
                  </a:cubicBezTo>
                  <a:cubicBezTo>
                    <a:pt x="24" y="44"/>
                    <a:pt x="12" y="41"/>
                    <a:pt x="6" y="32"/>
                  </a:cubicBezTo>
                  <a:cubicBezTo>
                    <a:pt x="0" y="24"/>
                    <a:pt x="2" y="12"/>
                    <a:pt x="11" y="6"/>
                  </a:cubicBezTo>
                  <a:cubicBezTo>
                    <a:pt x="20" y="0"/>
                    <a:pt x="32" y="2"/>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3" name="Freeform 40">
              <a:extLst>
                <a:ext uri="{FF2B5EF4-FFF2-40B4-BE49-F238E27FC236}">
                  <a16:creationId xmlns:a16="http://schemas.microsoft.com/office/drawing/2014/main" id="{4BECAB24-E03A-4ED0-8BE6-7DB50D6D3ED6}"/>
                </a:ext>
              </a:extLst>
            </p:cNvPr>
            <p:cNvSpPr>
              <a:spLocks/>
            </p:cNvSpPr>
            <p:nvPr/>
          </p:nvSpPr>
          <p:spPr bwMode="auto">
            <a:xfrm>
              <a:off x="-3851" y="113"/>
              <a:ext cx="38" cy="39"/>
            </a:xfrm>
            <a:custGeom>
              <a:avLst/>
              <a:gdLst>
                <a:gd name="T0" fmla="*/ 38 w 44"/>
                <a:gd name="T1" fmla="*/ 11 h 44"/>
                <a:gd name="T2" fmla="*/ 33 w 44"/>
                <a:gd name="T3" fmla="*/ 38 h 44"/>
                <a:gd name="T4" fmla="*/ 6 w 44"/>
                <a:gd name="T5" fmla="*/ 33 h 44"/>
                <a:gd name="T6" fmla="*/ 12 w 44"/>
                <a:gd name="T7" fmla="*/ 6 h 44"/>
                <a:gd name="T8" fmla="*/ 38 w 44"/>
                <a:gd name="T9" fmla="*/ 11 h 44"/>
              </a:gdLst>
              <a:ahLst/>
              <a:cxnLst>
                <a:cxn ang="0">
                  <a:pos x="T0" y="T1"/>
                </a:cxn>
                <a:cxn ang="0">
                  <a:pos x="T2" y="T3"/>
                </a:cxn>
                <a:cxn ang="0">
                  <a:pos x="T4" y="T5"/>
                </a:cxn>
                <a:cxn ang="0">
                  <a:pos x="T6" y="T7"/>
                </a:cxn>
                <a:cxn ang="0">
                  <a:pos x="T8" y="T9"/>
                </a:cxn>
              </a:cxnLst>
              <a:rect l="0" t="0" r="r" b="b"/>
              <a:pathLst>
                <a:path w="44" h="44">
                  <a:moveTo>
                    <a:pt x="38" y="11"/>
                  </a:moveTo>
                  <a:cubicBezTo>
                    <a:pt x="44" y="20"/>
                    <a:pt x="42" y="32"/>
                    <a:pt x="33" y="38"/>
                  </a:cubicBezTo>
                  <a:cubicBezTo>
                    <a:pt x="24" y="44"/>
                    <a:pt x="12" y="41"/>
                    <a:pt x="6" y="33"/>
                  </a:cubicBezTo>
                  <a:cubicBezTo>
                    <a:pt x="0" y="24"/>
                    <a:pt x="3" y="12"/>
                    <a:pt x="12" y="6"/>
                  </a:cubicBezTo>
                  <a:cubicBezTo>
                    <a:pt x="20" y="0"/>
                    <a:pt x="32" y="3"/>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4" name="Freeform 41">
              <a:extLst>
                <a:ext uri="{FF2B5EF4-FFF2-40B4-BE49-F238E27FC236}">
                  <a16:creationId xmlns:a16="http://schemas.microsoft.com/office/drawing/2014/main" id="{DDA864D0-459C-426D-B0EF-B254E960A949}"/>
                </a:ext>
              </a:extLst>
            </p:cNvPr>
            <p:cNvSpPr>
              <a:spLocks/>
            </p:cNvSpPr>
            <p:nvPr/>
          </p:nvSpPr>
          <p:spPr bwMode="auto">
            <a:xfrm>
              <a:off x="-3538" y="-38"/>
              <a:ext cx="38" cy="38"/>
            </a:xfrm>
            <a:custGeom>
              <a:avLst/>
              <a:gdLst>
                <a:gd name="T0" fmla="*/ 38 w 44"/>
                <a:gd name="T1" fmla="*/ 11 h 43"/>
                <a:gd name="T2" fmla="*/ 33 w 44"/>
                <a:gd name="T3" fmla="*/ 37 h 43"/>
                <a:gd name="T4" fmla="*/ 6 w 44"/>
                <a:gd name="T5" fmla="*/ 32 h 43"/>
                <a:gd name="T6" fmla="*/ 11 w 44"/>
                <a:gd name="T7" fmla="*/ 6 h 43"/>
                <a:gd name="T8" fmla="*/ 38 w 44"/>
                <a:gd name="T9" fmla="*/ 11 h 43"/>
              </a:gdLst>
              <a:ahLst/>
              <a:cxnLst>
                <a:cxn ang="0">
                  <a:pos x="T0" y="T1"/>
                </a:cxn>
                <a:cxn ang="0">
                  <a:pos x="T2" y="T3"/>
                </a:cxn>
                <a:cxn ang="0">
                  <a:pos x="T4" y="T5"/>
                </a:cxn>
                <a:cxn ang="0">
                  <a:pos x="T6" y="T7"/>
                </a:cxn>
                <a:cxn ang="0">
                  <a:pos x="T8" y="T9"/>
                </a:cxn>
              </a:cxnLst>
              <a:rect l="0" t="0" r="r" b="b"/>
              <a:pathLst>
                <a:path w="44" h="43">
                  <a:moveTo>
                    <a:pt x="38" y="11"/>
                  </a:moveTo>
                  <a:cubicBezTo>
                    <a:pt x="44" y="20"/>
                    <a:pt x="41" y="32"/>
                    <a:pt x="33" y="37"/>
                  </a:cubicBezTo>
                  <a:cubicBezTo>
                    <a:pt x="24" y="43"/>
                    <a:pt x="12" y="41"/>
                    <a:pt x="6" y="32"/>
                  </a:cubicBezTo>
                  <a:cubicBezTo>
                    <a:pt x="0" y="23"/>
                    <a:pt x="3" y="12"/>
                    <a:pt x="11" y="6"/>
                  </a:cubicBezTo>
                  <a:cubicBezTo>
                    <a:pt x="20" y="0"/>
                    <a:pt x="32" y="2"/>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5" name="Freeform 42">
              <a:extLst>
                <a:ext uri="{FF2B5EF4-FFF2-40B4-BE49-F238E27FC236}">
                  <a16:creationId xmlns:a16="http://schemas.microsoft.com/office/drawing/2014/main" id="{87471156-6313-45B3-9C16-75554C47B55D}"/>
                </a:ext>
              </a:extLst>
            </p:cNvPr>
            <p:cNvSpPr>
              <a:spLocks/>
            </p:cNvSpPr>
            <p:nvPr/>
          </p:nvSpPr>
          <p:spPr bwMode="auto">
            <a:xfrm>
              <a:off x="-3643" y="655"/>
              <a:ext cx="38" cy="38"/>
            </a:xfrm>
            <a:custGeom>
              <a:avLst/>
              <a:gdLst>
                <a:gd name="T0" fmla="*/ 38 w 44"/>
                <a:gd name="T1" fmla="*/ 11 h 44"/>
                <a:gd name="T2" fmla="*/ 32 w 44"/>
                <a:gd name="T3" fmla="*/ 38 h 44"/>
                <a:gd name="T4" fmla="*/ 6 w 44"/>
                <a:gd name="T5" fmla="*/ 33 h 44"/>
                <a:gd name="T6" fmla="*/ 11 w 44"/>
                <a:gd name="T7" fmla="*/ 6 h 44"/>
                <a:gd name="T8" fmla="*/ 38 w 44"/>
                <a:gd name="T9" fmla="*/ 11 h 44"/>
              </a:gdLst>
              <a:ahLst/>
              <a:cxnLst>
                <a:cxn ang="0">
                  <a:pos x="T0" y="T1"/>
                </a:cxn>
                <a:cxn ang="0">
                  <a:pos x="T2" y="T3"/>
                </a:cxn>
                <a:cxn ang="0">
                  <a:pos x="T4" y="T5"/>
                </a:cxn>
                <a:cxn ang="0">
                  <a:pos x="T6" y="T7"/>
                </a:cxn>
                <a:cxn ang="0">
                  <a:pos x="T8" y="T9"/>
                </a:cxn>
              </a:cxnLst>
              <a:rect l="0" t="0" r="r" b="b"/>
              <a:pathLst>
                <a:path w="44" h="44">
                  <a:moveTo>
                    <a:pt x="38" y="11"/>
                  </a:moveTo>
                  <a:cubicBezTo>
                    <a:pt x="44" y="20"/>
                    <a:pt x="41" y="32"/>
                    <a:pt x="32" y="38"/>
                  </a:cubicBezTo>
                  <a:cubicBezTo>
                    <a:pt x="24" y="44"/>
                    <a:pt x="12" y="41"/>
                    <a:pt x="6" y="33"/>
                  </a:cubicBezTo>
                  <a:cubicBezTo>
                    <a:pt x="0" y="24"/>
                    <a:pt x="2" y="12"/>
                    <a:pt x="11" y="6"/>
                  </a:cubicBezTo>
                  <a:cubicBezTo>
                    <a:pt x="20" y="0"/>
                    <a:pt x="32" y="3"/>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6" name="Freeform 43">
              <a:extLst>
                <a:ext uri="{FF2B5EF4-FFF2-40B4-BE49-F238E27FC236}">
                  <a16:creationId xmlns:a16="http://schemas.microsoft.com/office/drawing/2014/main" id="{45A3FB06-6D17-411E-A0A1-FF8A6C0DA458}"/>
                </a:ext>
              </a:extLst>
            </p:cNvPr>
            <p:cNvSpPr>
              <a:spLocks/>
            </p:cNvSpPr>
            <p:nvPr/>
          </p:nvSpPr>
          <p:spPr bwMode="auto">
            <a:xfrm>
              <a:off x="-3577" y="231"/>
              <a:ext cx="38" cy="38"/>
            </a:xfrm>
            <a:custGeom>
              <a:avLst/>
              <a:gdLst>
                <a:gd name="T0" fmla="*/ 37 w 43"/>
                <a:gd name="T1" fmla="*/ 11 h 43"/>
                <a:gd name="T2" fmla="*/ 32 w 43"/>
                <a:gd name="T3" fmla="*/ 37 h 43"/>
                <a:gd name="T4" fmla="*/ 6 w 43"/>
                <a:gd name="T5" fmla="*/ 32 h 43"/>
                <a:gd name="T6" fmla="*/ 11 w 43"/>
                <a:gd name="T7" fmla="*/ 6 h 43"/>
                <a:gd name="T8" fmla="*/ 37 w 43"/>
                <a:gd name="T9" fmla="*/ 11 h 43"/>
              </a:gdLst>
              <a:ahLst/>
              <a:cxnLst>
                <a:cxn ang="0">
                  <a:pos x="T0" y="T1"/>
                </a:cxn>
                <a:cxn ang="0">
                  <a:pos x="T2" y="T3"/>
                </a:cxn>
                <a:cxn ang="0">
                  <a:pos x="T4" y="T5"/>
                </a:cxn>
                <a:cxn ang="0">
                  <a:pos x="T6" y="T7"/>
                </a:cxn>
                <a:cxn ang="0">
                  <a:pos x="T8" y="T9"/>
                </a:cxn>
              </a:cxnLst>
              <a:rect l="0" t="0" r="r" b="b"/>
              <a:pathLst>
                <a:path w="43" h="43">
                  <a:moveTo>
                    <a:pt x="37" y="11"/>
                  </a:moveTo>
                  <a:cubicBezTo>
                    <a:pt x="43" y="20"/>
                    <a:pt x="41" y="32"/>
                    <a:pt x="32" y="37"/>
                  </a:cubicBezTo>
                  <a:cubicBezTo>
                    <a:pt x="23" y="43"/>
                    <a:pt x="12" y="41"/>
                    <a:pt x="6" y="32"/>
                  </a:cubicBezTo>
                  <a:cubicBezTo>
                    <a:pt x="0" y="23"/>
                    <a:pt x="2" y="12"/>
                    <a:pt x="11" y="6"/>
                  </a:cubicBezTo>
                  <a:cubicBezTo>
                    <a:pt x="20" y="0"/>
                    <a:pt x="32" y="2"/>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7" name="Freeform 44">
              <a:extLst>
                <a:ext uri="{FF2B5EF4-FFF2-40B4-BE49-F238E27FC236}">
                  <a16:creationId xmlns:a16="http://schemas.microsoft.com/office/drawing/2014/main" id="{AD487B2C-45E9-4F03-AFC6-9A74D99F98C9}"/>
                </a:ext>
              </a:extLst>
            </p:cNvPr>
            <p:cNvSpPr>
              <a:spLocks/>
            </p:cNvSpPr>
            <p:nvPr/>
          </p:nvSpPr>
          <p:spPr bwMode="auto">
            <a:xfrm>
              <a:off x="-2136" y="104"/>
              <a:ext cx="38" cy="38"/>
            </a:xfrm>
            <a:custGeom>
              <a:avLst/>
              <a:gdLst>
                <a:gd name="T0" fmla="*/ 38 w 44"/>
                <a:gd name="T1" fmla="*/ 11 h 43"/>
                <a:gd name="T2" fmla="*/ 33 w 44"/>
                <a:gd name="T3" fmla="*/ 37 h 43"/>
                <a:gd name="T4" fmla="*/ 6 w 44"/>
                <a:gd name="T5" fmla="*/ 32 h 43"/>
                <a:gd name="T6" fmla="*/ 11 w 44"/>
                <a:gd name="T7" fmla="*/ 5 h 43"/>
                <a:gd name="T8" fmla="*/ 38 w 44"/>
                <a:gd name="T9" fmla="*/ 11 h 43"/>
              </a:gdLst>
              <a:ahLst/>
              <a:cxnLst>
                <a:cxn ang="0">
                  <a:pos x="T0" y="T1"/>
                </a:cxn>
                <a:cxn ang="0">
                  <a:pos x="T2" y="T3"/>
                </a:cxn>
                <a:cxn ang="0">
                  <a:pos x="T4" y="T5"/>
                </a:cxn>
                <a:cxn ang="0">
                  <a:pos x="T6" y="T7"/>
                </a:cxn>
                <a:cxn ang="0">
                  <a:pos x="T8" y="T9"/>
                </a:cxn>
              </a:cxnLst>
              <a:rect l="0" t="0" r="r" b="b"/>
              <a:pathLst>
                <a:path w="44" h="43">
                  <a:moveTo>
                    <a:pt x="38" y="11"/>
                  </a:moveTo>
                  <a:cubicBezTo>
                    <a:pt x="44" y="19"/>
                    <a:pt x="41" y="31"/>
                    <a:pt x="33" y="37"/>
                  </a:cubicBezTo>
                  <a:cubicBezTo>
                    <a:pt x="24" y="43"/>
                    <a:pt x="12" y="41"/>
                    <a:pt x="6" y="32"/>
                  </a:cubicBezTo>
                  <a:cubicBezTo>
                    <a:pt x="0" y="23"/>
                    <a:pt x="3" y="11"/>
                    <a:pt x="11" y="5"/>
                  </a:cubicBezTo>
                  <a:cubicBezTo>
                    <a:pt x="20" y="0"/>
                    <a:pt x="32" y="2"/>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8" name="Freeform 45">
              <a:extLst>
                <a:ext uri="{FF2B5EF4-FFF2-40B4-BE49-F238E27FC236}">
                  <a16:creationId xmlns:a16="http://schemas.microsoft.com/office/drawing/2014/main" id="{67195140-F15C-4982-A853-0943A5860284}"/>
                </a:ext>
              </a:extLst>
            </p:cNvPr>
            <p:cNvSpPr>
              <a:spLocks/>
            </p:cNvSpPr>
            <p:nvPr/>
          </p:nvSpPr>
          <p:spPr bwMode="auto">
            <a:xfrm>
              <a:off x="-1873" y="655"/>
              <a:ext cx="38" cy="38"/>
            </a:xfrm>
            <a:custGeom>
              <a:avLst/>
              <a:gdLst>
                <a:gd name="T0" fmla="*/ 38 w 44"/>
                <a:gd name="T1" fmla="*/ 11 h 44"/>
                <a:gd name="T2" fmla="*/ 33 w 44"/>
                <a:gd name="T3" fmla="*/ 38 h 44"/>
                <a:gd name="T4" fmla="*/ 6 w 44"/>
                <a:gd name="T5" fmla="*/ 33 h 44"/>
                <a:gd name="T6" fmla="*/ 11 w 44"/>
                <a:gd name="T7" fmla="*/ 6 h 44"/>
                <a:gd name="T8" fmla="*/ 38 w 44"/>
                <a:gd name="T9" fmla="*/ 11 h 44"/>
              </a:gdLst>
              <a:ahLst/>
              <a:cxnLst>
                <a:cxn ang="0">
                  <a:pos x="T0" y="T1"/>
                </a:cxn>
                <a:cxn ang="0">
                  <a:pos x="T2" y="T3"/>
                </a:cxn>
                <a:cxn ang="0">
                  <a:pos x="T4" y="T5"/>
                </a:cxn>
                <a:cxn ang="0">
                  <a:pos x="T6" y="T7"/>
                </a:cxn>
                <a:cxn ang="0">
                  <a:pos x="T8" y="T9"/>
                </a:cxn>
              </a:cxnLst>
              <a:rect l="0" t="0" r="r" b="b"/>
              <a:pathLst>
                <a:path w="44" h="44">
                  <a:moveTo>
                    <a:pt x="38" y="11"/>
                  </a:moveTo>
                  <a:cubicBezTo>
                    <a:pt x="44" y="20"/>
                    <a:pt x="41" y="32"/>
                    <a:pt x="33" y="38"/>
                  </a:cubicBezTo>
                  <a:cubicBezTo>
                    <a:pt x="24" y="44"/>
                    <a:pt x="12" y="41"/>
                    <a:pt x="6" y="33"/>
                  </a:cubicBezTo>
                  <a:cubicBezTo>
                    <a:pt x="0" y="24"/>
                    <a:pt x="3" y="12"/>
                    <a:pt x="11" y="6"/>
                  </a:cubicBezTo>
                  <a:cubicBezTo>
                    <a:pt x="20" y="0"/>
                    <a:pt x="32" y="3"/>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9" name="Freeform 46">
              <a:extLst>
                <a:ext uri="{FF2B5EF4-FFF2-40B4-BE49-F238E27FC236}">
                  <a16:creationId xmlns:a16="http://schemas.microsoft.com/office/drawing/2014/main" id="{54AD01C0-A247-445C-85A2-B85F042B13FE}"/>
                </a:ext>
              </a:extLst>
            </p:cNvPr>
            <p:cNvSpPr>
              <a:spLocks/>
            </p:cNvSpPr>
            <p:nvPr/>
          </p:nvSpPr>
          <p:spPr bwMode="auto">
            <a:xfrm>
              <a:off x="-2177" y="428"/>
              <a:ext cx="37" cy="37"/>
            </a:xfrm>
            <a:custGeom>
              <a:avLst/>
              <a:gdLst>
                <a:gd name="T0" fmla="*/ 37 w 43"/>
                <a:gd name="T1" fmla="*/ 11 h 43"/>
                <a:gd name="T2" fmla="*/ 32 w 43"/>
                <a:gd name="T3" fmla="*/ 37 h 43"/>
                <a:gd name="T4" fmla="*/ 6 w 43"/>
                <a:gd name="T5" fmla="*/ 32 h 43"/>
                <a:gd name="T6" fmla="*/ 11 w 43"/>
                <a:gd name="T7" fmla="*/ 6 h 43"/>
                <a:gd name="T8" fmla="*/ 37 w 43"/>
                <a:gd name="T9" fmla="*/ 11 h 43"/>
              </a:gdLst>
              <a:ahLst/>
              <a:cxnLst>
                <a:cxn ang="0">
                  <a:pos x="T0" y="T1"/>
                </a:cxn>
                <a:cxn ang="0">
                  <a:pos x="T2" y="T3"/>
                </a:cxn>
                <a:cxn ang="0">
                  <a:pos x="T4" y="T5"/>
                </a:cxn>
                <a:cxn ang="0">
                  <a:pos x="T6" y="T7"/>
                </a:cxn>
                <a:cxn ang="0">
                  <a:pos x="T8" y="T9"/>
                </a:cxn>
              </a:cxnLst>
              <a:rect l="0" t="0" r="r" b="b"/>
              <a:pathLst>
                <a:path w="43" h="43">
                  <a:moveTo>
                    <a:pt x="37" y="11"/>
                  </a:moveTo>
                  <a:cubicBezTo>
                    <a:pt x="43" y="20"/>
                    <a:pt x="41" y="32"/>
                    <a:pt x="32" y="37"/>
                  </a:cubicBezTo>
                  <a:cubicBezTo>
                    <a:pt x="23" y="43"/>
                    <a:pt x="12" y="41"/>
                    <a:pt x="6" y="32"/>
                  </a:cubicBezTo>
                  <a:cubicBezTo>
                    <a:pt x="0" y="24"/>
                    <a:pt x="2" y="12"/>
                    <a:pt x="11" y="6"/>
                  </a:cubicBezTo>
                  <a:cubicBezTo>
                    <a:pt x="20" y="0"/>
                    <a:pt x="32" y="2"/>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0" name="Freeform 47">
              <a:extLst>
                <a:ext uri="{FF2B5EF4-FFF2-40B4-BE49-F238E27FC236}">
                  <a16:creationId xmlns:a16="http://schemas.microsoft.com/office/drawing/2014/main" id="{E9442C9A-43B7-4D42-89EC-510480F8D19A}"/>
                </a:ext>
              </a:extLst>
            </p:cNvPr>
            <p:cNvSpPr>
              <a:spLocks/>
            </p:cNvSpPr>
            <p:nvPr/>
          </p:nvSpPr>
          <p:spPr bwMode="auto">
            <a:xfrm>
              <a:off x="-1873" y="-20"/>
              <a:ext cx="38" cy="38"/>
            </a:xfrm>
            <a:custGeom>
              <a:avLst/>
              <a:gdLst>
                <a:gd name="T0" fmla="*/ 38 w 44"/>
                <a:gd name="T1" fmla="*/ 11 h 43"/>
                <a:gd name="T2" fmla="*/ 33 w 44"/>
                <a:gd name="T3" fmla="*/ 37 h 43"/>
                <a:gd name="T4" fmla="*/ 6 w 44"/>
                <a:gd name="T5" fmla="*/ 32 h 43"/>
                <a:gd name="T6" fmla="*/ 11 w 44"/>
                <a:gd name="T7" fmla="*/ 6 h 43"/>
                <a:gd name="T8" fmla="*/ 38 w 44"/>
                <a:gd name="T9" fmla="*/ 11 h 43"/>
              </a:gdLst>
              <a:ahLst/>
              <a:cxnLst>
                <a:cxn ang="0">
                  <a:pos x="T0" y="T1"/>
                </a:cxn>
                <a:cxn ang="0">
                  <a:pos x="T2" y="T3"/>
                </a:cxn>
                <a:cxn ang="0">
                  <a:pos x="T4" y="T5"/>
                </a:cxn>
                <a:cxn ang="0">
                  <a:pos x="T6" y="T7"/>
                </a:cxn>
                <a:cxn ang="0">
                  <a:pos x="T8" y="T9"/>
                </a:cxn>
              </a:cxnLst>
              <a:rect l="0" t="0" r="r" b="b"/>
              <a:pathLst>
                <a:path w="44" h="43">
                  <a:moveTo>
                    <a:pt x="38" y="11"/>
                  </a:moveTo>
                  <a:cubicBezTo>
                    <a:pt x="44" y="20"/>
                    <a:pt x="41" y="31"/>
                    <a:pt x="33" y="37"/>
                  </a:cubicBezTo>
                  <a:cubicBezTo>
                    <a:pt x="24" y="43"/>
                    <a:pt x="12" y="41"/>
                    <a:pt x="6" y="32"/>
                  </a:cubicBezTo>
                  <a:cubicBezTo>
                    <a:pt x="0" y="23"/>
                    <a:pt x="3" y="12"/>
                    <a:pt x="11" y="6"/>
                  </a:cubicBezTo>
                  <a:cubicBezTo>
                    <a:pt x="20" y="0"/>
                    <a:pt x="32" y="2"/>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1" name="Freeform 48">
              <a:extLst>
                <a:ext uri="{FF2B5EF4-FFF2-40B4-BE49-F238E27FC236}">
                  <a16:creationId xmlns:a16="http://schemas.microsoft.com/office/drawing/2014/main" id="{855FAB51-55E7-45F7-AAF2-42B32F4C916C}"/>
                </a:ext>
              </a:extLst>
            </p:cNvPr>
            <p:cNvSpPr>
              <a:spLocks/>
            </p:cNvSpPr>
            <p:nvPr/>
          </p:nvSpPr>
          <p:spPr bwMode="auto">
            <a:xfrm>
              <a:off x="-1960" y="243"/>
              <a:ext cx="37" cy="38"/>
            </a:xfrm>
            <a:custGeom>
              <a:avLst/>
              <a:gdLst>
                <a:gd name="T0" fmla="*/ 37 w 43"/>
                <a:gd name="T1" fmla="*/ 12 h 44"/>
                <a:gd name="T2" fmla="*/ 32 w 43"/>
                <a:gd name="T3" fmla="*/ 38 h 44"/>
                <a:gd name="T4" fmla="*/ 6 w 43"/>
                <a:gd name="T5" fmla="*/ 33 h 44"/>
                <a:gd name="T6" fmla="*/ 11 w 43"/>
                <a:gd name="T7" fmla="*/ 6 h 44"/>
                <a:gd name="T8" fmla="*/ 37 w 43"/>
                <a:gd name="T9" fmla="*/ 12 h 44"/>
              </a:gdLst>
              <a:ahLst/>
              <a:cxnLst>
                <a:cxn ang="0">
                  <a:pos x="T0" y="T1"/>
                </a:cxn>
                <a:cxn ang="0">
                  <a:pos x="T2" y="T3"/>
                </a:cxn>
                <a:cxn ang="0">
                  <a:pos x="T4" y="T5"/>
                </a:cxn>
                <a:cxn ang="0">
                  <a:pos x="T6" y="T7"/>
                </a:cxn>
                <a:cxn ang="0">
                  <a:pos x="T8" y="T9"/>
                </a:cxn>
              </a:cxnLst>
              <a:rect l="0" t="0" r="r" b="b"/>
              <a:pathLst>
                <a:path w="43" h="44">
                  <a:moveTo>
                    <a:pt x="37" y="12"/>
                  </a:moveTo>
                  <a:cubicBezTo>
                    <a:pt x="43" y="20"/>
                    <a:pt x="41" y="32"/>
                    <a:pt x="32" y="38"/>
                  </a:cubicBezTo>
                  <a:cubicBezTo>
                    <a:pt x="23" y="44"/>
                    <a:pt x="11" y="42"/>
                    <a:pt x="6" y="33"/>
                  </a:cubicBezTo>
                  <a:cubicBezTo>
                    <a:pt x="0" y="24"/>
                    <a:pt x="2" y="12"/>
                    <a:pt x="11" y="6"/>
                  </a:cubicBezTo>
                  <a:cubicBezTo>
                    <a:pt x="20" y="0"/>
                    <a:pt x="31" y="3"/>
                    <a:pt x="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2" name="Freeform 49">
              <a:extLst>
                <a:ext uri="{FF2B5EF4-FFF2-40B4-BE49-F238E27FC236}">
                  <a16:creationId xmlns:a16="http://schemas.microsoft.com/office/drawing/2014/main" id="{45C01568-DC58-406E-8518-064A1376DC26}"/>
                </a:ext>
              </a:extLst>
            </p:cNvPr>
            <p:cNvSpPr>
              <a:spLocks/>
            </p:cNvSpPr>
            <p:nvPr/>
          </p:nvSpPr>
          <p:spPr bwMode="auto">
            <a:xfrm>
              <a:off x="-2459" y="-3"/>
              <a:ext cx="38" cy="37"/>
            </a:xfrm>
            <a:custGeom>
              <a:avLst/>
              <a:gdLst>
                <a:gd name="T0" fmla="*/ 37 w 43"/>
                <a:gd name="T1" fmla="*/ 11 h 43"/>
                <a:gd name="T2" fmla="*/ 32 w 43"/>
                <a:gd name="T3" fmla="*/ 37 h 43"/>
                <a:gd name="T4" fmla="*/ 6 w 43"/>
                <a:gd name="T5" fmla="*/ 32 h 43"/>
                <a:gd name="T6" fmla="*/ 11 w 43"/>
                <a:gd name="T7" fmla="*/ 6 h 43"/>
                <a:gd name="T8" fmla="*/ 37 w 43"/>
                <a:gd name="T9" fmla="*/ 11 h 43"/>
              </a:gdLst>
              <a:ahLst/>
              <a:cxnLst>
                <a:cxn ang="0">
                  <a:pos x="T0" y="T1"/>
                </a:cxn>
                <a:cxn ang="0">
                  <a:pos x="T2" y="T3"/>
                </a:cxn>
                <a:cxn ang="0">
                  <a:pos x="T4" y="T5"/>
                </a:cxn>
                <a:cxn ang="0">
                  <a:pos x="T6" y="T7"/>
                </a:cxn>
                <a:cxn ang="0">
                  <a:pos x="T8" y="T9"/>
                </a:cxn>
              </a:cxnLst>
              <a:rect l="0" t="0" r="r" b="b"/>
              <a:pathLst>
                <a:path w="43" h="43">
                  <a:moveTo>
                    <a:pt x="37" y="11"/>
                  </a:moveTo>
                  <a:cubicBezTo>
                    <a:pt x="43" y="20"/>
                    <a:pt x="41" y="32"/>
                    <a:pt x="32" y="37"/>
                  </a:cubicBezTo>
                  <a:cubicBezTo>
                    <a:pt x="24" y="43"/>
                    <a:pt x="12" y="41"/>
                    <a:pt x="6" y="32"/>
                  </a:cubicBezTo>
                  <a:cubicBezTo>
                    <a:pt x="0" y="23"/>
                    <a:pt x="2" y="12"/>
                    <a:pt x="11" y="6"/>
                  </a:cubicBezTo>
                  <a:cubicBezTo>
                    <a:pt x="20" y="0"/>
                    <a:pt x="32" y="2"/>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3" name="Freeform 50">
              <a:extLst>
                <a:ext uri="{FF2B5EF4-FFF2-40B4-BE49-F238E27FC236}">
                  <a16:creationId xmlns:a16="http://schemas.microsoft.com/office/drawing/2014/main" id="{095445D6-CDAB-4996-B224-1F9C1001E6F3}"/>
                </a:ext>
              </a:extLst>
            </p:cNvPr>
            <p:cNvSpPr>
              <a:spLocks/>
            </p:cNvSpPr>
            <p:nvPr/>
          </p:nvSpPr>
          <p:spPr bwMode="auto">
            <a:xfrm>
              <a:off x="-3193" y="15"/>
              <a:ext cx="38" cy="38"/>
            </a:xfrm>
            <a:custGeom>
              <a:avLst/>
              <a:gdLst>
                <a:gd name="T0" fmla="*/ 38 w 44"/>
                <a:gd name="T1" fmla="*/ 11 h 43"/>
                <a:gd name="T2" fmla="*/ 33 w 44"/>
                <a:gd name="T3" fmla="*/ 37 h 43"/>
                <a:gd name="T4" fmla="*/ 6 w 44"/>
                <a:gd name="T5" fmla="*/ 32 h 43"/>
                <a:gd name="T6" fmla="*/ 12 w 44"/>
                <a:gd name="T7" fmla="*/ 6 h 43"/>
                <a:gd name="T8" fmla="*/ 38 w 44"/>
                <a:gd name="T9" fmla="*/ 11 h 43"/>
              </a:gdLst>
              <a:ahLst/>
              <a:cxnLst>
                <a:cxn ang="0">
                  <a:pos x="T0" y="T1"/>
                </a:cxn>
                <a:cxn ang="0">
                  <a:pos x="T2" y="T3"/>
                </a:cxn>
                <a:cxn ang="0">
                  <a:pos x="T4" y="T5"/>
                </a:cxn>
                <a:cxn ang="0">
                  <a:pos x="T6" y="T7"/>
                </a:cxn>
                <a:cxn ang="0">
                  <a:pos x="T8" y="T9"/>
                </a:cxn>
              </a:cxnLst>
              <a:rect l="0" t="0" r="r" b="b"/>
              <a:pathLst>
                <a:path w="44" h="43">
                  <a:moveTo>
                    <a:pt x="38" y="11"/>
                  </a:moveTo>
                  <a:cubicBezTo>
                    <a:pt x="44" y="20"/>
                    <a:pt x="42" y="31"/>
                    <a:pt x="33" y="37"/>
                  </a:cubicBezTo>
                  <a:cubicBezTo>
                    <a:pt x="24" y="43"/>
                    <a:pt x="12" y="41"/>
                    <a:pt x="6" y="32"/>
                  </a:cubicBezTo>
                  <a:cubicBezTo>
                    <a:pt x="0" y="23"/>
                    <a:pt x="3" y="12"/>
                    <a:pt x="12" y="6"/>
                  </a:cubicBezTo>
                  <a:cubicBezTo>
                    <a:pt x="20" y="0"/>
                    <a:pt x="32" y="2"/>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4" name="Freeform 51">
              <a:extLst>
                <a:ext uri="{FF2B5EF4-FFF2-40B4-BE49-F238E27FC236}">
                  <a16:creationId xmlns:a16="http://schemas.microsoft.com/office/drawing/2014/main" id="{E5BE298F-41BF-4C4D-BE4E-82C16378659D}"/>
                </a:ext>
              </a:extLst>
            </p:cNvPr>
            <p:cNvSpPr>
              <a:spLocks/>
            </p:cNvSpPr>
            <p:nvPr/>
          </p:nvSpPr>
          <p:spPr bwMode="auto">
            <a:xfrm>
              <a:off x="-2743" y="188"/>
              <a:ext cx="38" cy="37"/>
            </a:xfrm>
            <a:custGeom>
              <a:avLst/>
              <a:gdLst>
                <a:gd name="T0" fmla="*/ 37 w 43"/>
                <a:gd name="T1" fmla="*/ 11 h 43"/>
                <a:gd name="T2" fmla="*/ 32 w 43"/>
                <a:gd name="T3" fmla="*/ 37 h 43"/>
                <a:gd name="T4" fmla="*/ 6 w 43"/>
                <a:gd name="T5" fmla="*/ 32 h 43"/>
                <a:gd name="T6" fmla="*/ 11 w 43"/>
                <a:gd name="T7" fmla="*/ 6 h 43"/>
                <a:gd name="T8" fmla="*/ 37 w 43"/>
                <a:gd name="T9" fmla="*/ 11 h 43"/>
              </a:gdLst>
              <a:ahLst/>
              <a:cxnLst>
                <a:cxn ang="0">
                  <a:pos x="T0" y="T1"/>
                </a:cxn>
                <a:cxn ang="0">
                  <a:pos x="T2" y="T3"/>
                </a:cxn>
                <a:cxn ang="0">
                  <a:pos x="T4" y="T5"/>
                </a:cxn>
                <a:cxn ang="0">
                  <a:pos x="T6" y="T7"/>
                </a:cxn>
                <a:cxn ang="0">
                  <a:pos x="T8" y="T9"/>
                </a:cxn>
              </a:cxnLst>
              <a:rect l="0" t="0" r="r" b="b"/>
              <a:pathLst>
                <a:path w="43" h="43">
                  <a:moveTo>
                    <a:pt x="37" y="11"/>
                  </a:moveTo>
                  <a:cubicBezTo>
                    <a:pt x="43" y="20"/>
                    <a:pt x="41" y="31"/>
                    <a:pt x="32" y="37"/>
                  </a:cubicBezTo>
                  <a:cubicBezTo>
                    <a:pt x="23" y="43"/>
                    <a:pt x="11" y="41"/>
                    <a:pt x="6" y="32"/>
                  </a:cubicBezTo>
                  <a:cubicBezTo>
                    <a:pt x="0" y="23"/>
                    <a:pt x="2" y="11"/>
                    <a:pt x="11" y="6"/>
                  </a:cubicBezTo>
                  <a:cubicBezTo>
                    <a:pt x="20" y="0"/>
                    <a:pt x="31" y="2"/>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5" name="Freeform 52">
              <a:extLst>
                <a:ext uri="{FF2B5EF4-FFF2-40B4-BE49-F238E27FC236}">
                  <a16:creationId xmlns:a16="http://schemas.microsoft.com/office/drawing/2014/main" id="{34005855-E1D5-4633-AD93-2821AE7B9D06}"/>
                </a:ext>
              </a:extLst>
            </p:cNvPr>
            <p:cNvSpPr>
              <a:spLocks/>
            </p:cNvSpPr>
            <p:nvPr/>
          </p:nvSpPr>
          <p:spPr bwMode="auto">
            <a:xfrm>
              <a:off x="-3065" y="428"/>
              <a:ext cx="38" cy="37"/>
            </a:xfrm>
            <a:custGeom>
              <a:avLst/>
              <a:gdLst>
                <a:gd name="T0" fmla="*/ 38 w 43"/>
                <a:gd name="T1" fmla="*/ 11 h 43"/>
                <a:gd name="T2" fmla="*/ 32 w 43"/>
                <a:gd name="T3" fmla="*/ 37 h 43"/>
                <a:gd name="T4" fmla="*/ 6 w 43"/>
                <a:gd name="T5" fmla="*/ 32 h 43"/>
                <a:gd name="T6" fmla="*/ 11 w 43"/>
                <a:gd name="T7" fmla="*/ 6 h 43"/>
                <a:gd name="T8" fmla="*/ 38 w 43"/>
                <a:gd name="T9" fmla="*/ 11 h 43"/>
              </a:gdLst>
              <a:ahLst/>
              <a:cxnLst>
                <a:cxn ang="0">
                  <a:pos x="T0" y="T1"/>
                </a:cxn>
                <a:cxn ang="0">
                  <a:pos x="T2" y="T3"/>
                </a:cxn>
                <a:cxn ang="0">
                  <a:pos x="T4" y="T5"/>
                </a:cxn>
                <a:cxn ang="0">
                  <a:pos x="T6" y="T7"/>
                </a:cxn>
                <a:cxn ang="0">
                  <a:pos x="T8" y="T9"/>
                </a:cxn>
              </a:cxnLst>
              <a:rect l="0" t="0" r="r" b="b"/>
              <a:pathLst>
                <a:path w="43" h="43">
                  <a:moveTo>
                    <a:pt x="38" y="11"/>
                  </a:moveTo>
                  <a:cubicBezTo>
                    <a:pt x="43" y="20"/>
                    <a:pt x="41" y="32"/>
                    <a:pt x="32" y="37"/>
                  </a:cubicBezTo>
                  <a:cubicBezTo>
                    <a:pt x="24" y="43"/>
                    <a:pt x="12" y="41"/>
                    <a:pt x="6" y="32"/>
                  </a:cubicBezTo>
                  <a:cubicBezTo>
                    <a:pt x="0" y="24"/>
                    <a:pt x="2" y="12"/>
                    <a:pt x="11" y="6"/>
                  </a:cubicBezTo>
                  <a:cubicBezTo>
                    <a:pt x="20" y="0"/>
                    <a:pt x="32" y="2"/>
                    <a:pt x="3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6" name="Freeform 53">
              <a:extLst>
                <a:ext uri="{FF2B5EF4-FFF2-40B4-BE49-F238E27FC236}">
                  <a16:creationId xmlns:a16="http://schemas.microsoft.com/office/drawing/2014/main" id="{F9574678-FC23-41A3-B32A-2C2E9042467C}"/>
                </a:ext>
              </a:extLst>
            </p:cNvPr>
            <p:cNvSpPr>
              <a:spLocks/>
            </p:cNvSpPr>
            <p:nvPr/>
          </p:nvSpPr>
          <p:spPr bwMode="auto">
            <a:xfrm>
              <a:off x="-3293" y="581"/>
              <a:ext cx="38" cy="38"/>
            </a:xfrm>
            <a:custGeom>
              <a:avLst/>
              <a:gdLst>
                <a:gd name="T0" fmla="*/ 37 w 43"/>
                <a:gd name="T1" fmla="*/ 11 h 43"/>
                <a:gd name="T2" fmla="*/ 32 w 43"/>
                <a:gd name="T3" fmla="*/ 37 h 43"/>
                <a:gd name="T4" fmla="*/ 6 w 43"/>
                <a:gd name="T5" fmla="*/ 32 h 43"/>
                <a:gd name="T6" fmla="*/ 11 w 43"/>
                <a:gd name="T7" fmla="*/ 6 h 43"/>
                <a:gd name="T8" fmla="*/ 37 w 43"/>
                <a:gd name="T9" fmla="*/ 11 h 43"/>
              </a:gdLst>
              <a:ahLst/>
              <a:cxnLst>
                <a:cxn ang="0">
                  <a:pos x="T0" y="T1"/>
                </a:cxn>
                <a:cxn ang="0">
                  <a:pos x="T2" y="T3"/>
                </a:cxn>
                <a:cxn ang="0">
                  <a:pos x="T4" y="T5"/>
                </a:cxn>
                <a:cxn ang="0">
                  <a:pos x="T6" y="T7"/>
                </a:cxn>
                <a:cxn ang="0">
                  <a:pos x="T8" y="T9"/>
                </a:cxn>
              </a:cxnLst>
              <a:rect l="0" t="0" r="r" b="b"/>
              <a:pathLst>
                <a:path w="43" h="43">
                  <a:moveTo>
                    <a:pt x="37" y="11"/>
                  </a:moveTo>
                  <a:cubicBezTo>
                    <a:pt x="43" y="20"/>
                    <a:pt x="41" y="32"/>
                    <a:pt x="32" y="37"/>
                  </a:cubicBezTo>
                  <a:cubicBezTo>
                    <a:pt x="23" y="43"/>
                    <a:pt x="12" y="41"/>
                    <a:pt x="6" y="32"/>
                  </a:cubicBezTo>
                  <a:cubicBezTo>
                    <a:pt x="0" y="24"/>
                    <a:pt x="2" y="12"/>
                    <a:pt x="11" y="6"/>
                  </a:cubicBezTo>
                  <a:cubicBezTo>
                    <a:pt x="20" y="0"/>
                    <a:pt x="32" y="2"/>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7" name="Freeform 54">
              <a:extLst>
                <a:ext uri="{FF2B5EF4-FFF2-40B4-BE49-F238E27FC236}">
                  <a16:creationId xmlns:a16="http://schemas.microsoft.com/office/drawing/2014/main" id="{07E7A266-E032-407C-99DC-57993074FECC}"/>
                </a:ext>
              </a:extLst>
            </p:cNvPr>
            <p:cNvSpPr>
              <a:spLocks/>
            </p:cNvSpPr>
            <p:nvPr/>
          </p:nvSpPr>
          <p:spPr bwMode="auto">
            <a:xfrm>
              <a:off x="-2475" y="628"/>
              <a:ext cx="37" cy="38"/>
            </a:xfrm>
            <a:custGeom>
              <a:avLst/>
              <a:gdLst>
                <a:gd name="T0" fmla="*/ 37 w 43"/>
                <a:gd name="T1" fmla="*/ 11 h 44"/>
                <a:gd name="T2" fmla="*/ 32 w 43"/>
                <a:gd name="T3" fmla="*/ 38 h 44"/>
                <a:gd name="T4" fmla="*/ 6 w 43"/>
                <a:gd name="T5" fmla="*/ 33 h 44"/>
                <a:gd name="T6" fmla="*/ 11 w 43"/>
                <a:gd name="T7" fmla="*/ 6 h 44"/>
                <a:gd name="T8" fmla="*/ 37 w 43"/>
                <a:gd name="T9" fmla="*/ 11 h 44"/>
              </a:gdLst>
              <a:ahLst/>
              <a:cxnLst>
                <a:cxn ang="0">
                  <a:pos x="T0" y="T1"/>
                </a:cxn>
                <a:cxn ang="0">
                  <a:pos x="T2" y="T3"/>
                </a:cxn>
                <a:cxn ang="0">
                  <a:pos x="T4" y="T5"/>
                </a:cxn>
                <a:cxn ang="0">
                  <a:pos x="T6" y="T7"/>
                </a:cxn>
                <a:cxn ang="0">
                  <a:pos x="T8" y="T9"/>
                </a:cxn>
              </a:cxnLst>
              <a:rect l="0" t="0" r="r" b="b"/>
              <a:pathLst>
                <a:path w="43" h="44">
                  <a:moveTo>
                    <a:pt x="37" y="11"/>
                  </a:moveTo>
                  <a:cubicBezTo>
                    <a:pt x="43" y="20"/>
                    <a:pt x="41" y="32"/>
                    <a:pt x="32" y="38"/>
                  </a:cubicBezTo>
                  <a:cubicBezTo>
                    <a:pt x="23" y="44"/>
                    <a:pt x="12" y="41"/>
                    <a:pt x="6" y="33"/>
                  </a:cubicBezTo>
                  <a:cubicBezTo>
                    <a:pt x="0" y="24"/>
                    <a:pt x="2" y="12"/>
                    <a:pt x="11" y="6"/>
                  </a:cubicBezTo>
                  <a:cubicBezTo>
                    <a:pt x="20" y="0"/>
                    <a:pt x="32" y="3"/>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8" name="Freeform 55">
              <a:extLst>
                <a:ext uri="{FF2B5EF4-FFF2-40B4-BE49-F238E27FC236}">
                  <a16:creationId xmlns:a16="http://schemas.microsoft.com/office/drawing/2014/main" id="{074B7DC5-B3A5-4E01-9CF8-7E05D254C32A}"/>
                </a:ext>
              </a:extLst>
            </p:cNvPr>
            <p:cNvSpPr>
              <a:spLocks/>
            </p:cNvSpPr>
            <p:nvPr/>
          </p:nvSpPr>
          <p:spPr bwMode="auto">
            <a:xfrm>
              <a:off x="-2863" y="72"/>
              <a:ext cx="38" cy="38"/>
            </a:xfrm>
            <a:custGeom>
              <a:avLst/>
              <a:gdLst>
                <a:gd name="T0" fmla="*/ 37 w 43"/>
                <a:gd name="T1" fmla="*/ 11 h 43"/>
                <a:gd name="T2" fmla="*/ 32 w 43"/>
                <a:gd name="T3" fmla="*/ 37 h 43"/>
                <a:gd name="T4" fmla="*/ 5 w 43"/>
                <a:gd name="T5" fmla="*/ 32 h 43"/>
                <a:gd name="T6" fmla="*/ 11 w 43"/>
                <a:gd name="T7" fmla="*/ 5 h 43"/>
                <a:gd name="T8" fmla="*/ 37 w 43"/>
                <a:gd name="T9" fmla="*/ 11 h 43"/>
              </a:gdLst>
              <a:ahLst/>
              <a:cxnLst>
                <a:cxn ang="0">
                  <a:pos x="T0" y="T1"/>
                </a:cxn>
                <a:cxn ang="0">
                  <a:pos x="T2" y="T3"/>
                </a:cxn>
                <a:cxn ang="0">
                  <a:pos x="T4" y="T5"/>
                </a:cxn>
                <a:cxn ang="0">
                  <a:pos x="T6" y="T7"/>
                </a:cxn>
                <a:cxn ang="0">
                  <a:pos x="T8" y="T9"/>
                </a:cxn>
              </a:cxnLst>
              <a:rect l="0" t="0" r="r" b="b"/>
              <a:pathLst>
                <a:path w="43" h="43">
                  <a:moveTo>
                    <a:pt x="37" y="11"/>
                  </a:moveTo>
                  <a:cubicBezTo>
                    <a:pt x="43" y="19"/>
                    <a:pt x="41" y="31"/>
                    <a:pt x="32" y="37"/>
                  </a:cubicBezTo>
                  <a:cubicBezTo>
                    <a:pt x="23" y="43"/>
                    <a:pt x="11" y="41"/>
                    <a:pt x="5" y="32"/>
                  </a:cubicBezTo>
                  <a:cubicBezTo>
                    <a:pt x="0" y="23"/>
                    <a:pt x="2" y="11"/>
                    <a:pt x="11" y="5"/>
                  </a:cubicBezTo>
                  <a:cubicBezTo>
                    <a:pt x="19" y="0"/>
                    <a:pt x="31" y="2"/>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9" name="Freeform 56">
              <a:extLst>
                <a:ext uri="{FF2B5EF4-FFF2-40B4-BE49-F238E27FC236}">
                  <a16:creationId xmlns:a16="http://schemas.microsoft.com/office/drawing/2014/main" id="{42664CE5-E439-4F99-80FC-3F2F908763A2}"/>
                </a:ext>
              </a:extLst>
            </p:cNvPr>
            <p:cNvSpPr>
              <a:spLocks/>
            </p:cNvSpPr>
            <p:nvPr/>
          </p:nvSpPr>
          <p:spPr bwMode="auto">
            <a:xfrm>
              <a:off x="-2726" y="532"/>
              <a:ext cx="37" cy="39"/>
            </a:xfrm>
            <a:custGeom>
              <a:avLst/>
              <a:gdLst>
                <a:gd name="T0" fmla="*/ 37 w 43"/>
                <a:gd name="T1" fmla="*/ 11 h 44"/>
                <a:gd name="T2" fmla="*/ 32 w 43"/>
                <a:gd name="T3" fmla="*/ 38 h 44"/>
                <a:gd name="T4" fmla="*/ 6 w 43"/>
                <a:gd name="T5" fmla="*/ 33 h 44"/>
                <a:gd name="T6" fmla="*/ 11 w 43"/>
                <a:gd name="T7" fmla="*/ 6 h 44"/>
                <a:gd name="T8" fmla="*/ 37 w 43"/>
                <a:gd name="T9" fmla="*/ 11 h 44"/>
              </a:gdLst>
              <a:ahLst/>
              <a:cxnLst>
                <a:cxn ang="0">
                  <a:pos x="T0" y="T1"/>
                </a:cxn>
                <a:cxn ang="0">
                  <a:pos x="T2" y="T3"/>
                </a:cxn>
                <a:cxn ang="0">
                  <a:pos x="T4" y="T5"/>
                </a:cxn>
                <a:cxn ang="0">
                  <a:pos x="T6" y="T7"/>
                </a:cxn>
                <a:cxn ang="0">
                  <a:pos x="T8" y="T9"/>
                </a:cxn>
              </a:cxnLst>
              <a:rect l="0" t="0" r="r" b="b"/>
              <a:pathLst>
                <a:path w="43" h="44">
                  <a:moveTo>
                    <a:pt x="37" y="11"/>
                  </a:moveTo>
                  <a:cubicBezTo>
                    <a:pt x="43" y="20"/>
                    <a:pt x="41" y="32"/>
                    <a:pt x="32" y="38"/>
                  </a:cubicBezTo>
                  <a:cubicBezTo>
                    <a:pt x="23" y="44"/>
                    <a:pt x="12" y="41"/>
                    <a:pt x="6" y="33"/>
                  </a:cubicBezTo>
                  <a:cubicBezTo>
                    <a:pt x="0" y="24"/>
                    <a:pt x="2" y="12"/>
                    <a:pt x="11" y="6"/>
                  </a:cubicBezTo>
                  <a:cubicBezTo>
                    <a:pt x="20" y="0"/>
                    <a:pt x="31" y="3"/>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0" name="Freeform 57">
              <a:extLst>
                <a:ext uri="{FF2B5EF4-FFF2-40B4-BE49-F238E27FC236}">
                  <a16:creationId xmlns:a16="http://schemas.microsoft.com/office/drawing/2014/main" id="{A03D0641-08DA-491C-B988-90ED931E3157}"/>
                </a:ext>
              </a:extLst>
            </p:cNvPr>
            <p:cNvSpPr>
              <a:spLocks/>
            </p:cNvSpPr>
            <p:nvPr/>
          </p:nvSpPr>
          <p:spPr bwMode="auto">
            <a:xfrm>
              <a:off x="-2893" y="313"/>
              <a:ext cx="37" cy="38"/>
            </a:xfrm>
            <a:custGeom>
              <a:avLst/>
              <a:gdLst>
                <a:gd name="T0" fmla="*/ 37 w 43"/>
                <a:gd name="T1" fmla="*/ 11 h 43"/>
                <a:gd name="T2" fmla="*/ 32 w 43"/>
                <a:gd name="T3" fmla="*/ 37 h 43"/>
                <a:gd name="T4" fmla="*/ 6 w 43"/>
                <a:gd name="T5" fmla="*/ 32 h 43"/>
                <a:gd name="T6" fmla="*/ 11 w 43"/>
                <a:gd name="T7" fmla="*/ 6 h 43"/>
                <a:gd name="T8" fmla="*/ 37 w 43"/>
                <a:gd name="T9" fmla="*/ 11 h 43"/>
              </a:gdLst>
              <a:ahLst/>
              <a:cxnLst>
                <a:cxn ang="0">
                  <a:pos x="T0" y="T1"/>
                </a:cxn>
                <a:cxn ang="0">
                  <a:pos x="T2" y="T3"/>
                </a:cxn>
                <a:cxn ang="0">
                  <a:pos x="T4" y="T5"/>
                </a:cxn>
                <a:cxn ang="0">
                  <a:pos x="T6" y="T7"/>
                </a:cxn>
                <a:cxn ang="0">
                  <a:pos x="T8" y="T9"/>
                </a:cxn>
              </a:cxnLst>
              <a:rect l="0" t="0" r="r" b="b"/>
              <a:pathLst>
                <a:path w="43" h="43">
                  <a:moveTo>
                    <a:pt x="37" y="11"/>
                  </a:moveTo>
                  <a:cubicBezTo>
                    <a:pt x="43" y="20"/>
                    <a:pt x="41" y="31"/>
                    <a:pt x="32" y="37"/>
                  </a:cubicBezTo>
                  <a:cubicBezTo>
                    <a:pt x="23" y="43"/>
                    <a:pt x="12" y="41"/>
                    <a:pt x="6" y="32"/>
                  </a:cubicBezTo>
                  <a:cubicBezTo>
                    <a:pt x="0" y="23"/>
                    <a:pt x="2" y="12"/>
                    <a:pt x="11" y="6"/>
                  </a:cubicBezTo>
                  <a:cubicBezTo>
                    <a:pt x="20" y="0"/>
                    <a:pt x="32" y="2"/>
                    <a:pt x="3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1" name="Freeform 58">
              <a:extLst>
                <a:ext uri="{FF2B5EF4-FFF2-40B4-BE49-F238E27FC236}">
                  <a16:creationId xmlns:a16="http://schemas.microsoft.com/office/drawing/2014/main" id="{A3EFA44C-910E-4C61-87CB-66BC1E6A9954}"/>
                </a:ext>
              </a:extLst>
            </p:cNvPr>
            <p:cNvSpPr>
              <a:spLocks noEditPoints="1"/>
            </p:cNvSpPr>
            <p:nvPr/>
          </p:nvSpPr>
          <p:spPr bwMode="auto">
            <a:xfrm>
              <a:off x="-3988" y="-192"/>
              <a:ext cx="2320" cy="1042"/>
            </a:xfrm>
            <a:custGeom>
              <a:avLst/>
              <a:gdLst>
                <a:gd name="T0" fmla="*/ 2382 w 2653"/>
                <a:gd name="T1" fmla="*/ 1189 h 1189"/>
                <a:gd name="T2" fmla="*/ 2124 w 2653"/>
                <a:gd name="T3" fmla="*/ 1189 h 1189"/>
                <a:gd name="T4" fmla="*/ 2084 w 2653"/>
                <a:gd name="T5" fmla="*/ 1150 h 1189"/>
                <a:gd name="T6" fmla="*/ 2084 w 2653"/>
                <a:gd name="T7" fmla="*/ 1124 h 1189"/>
                <a:gd name="T8" fmla="*/ 569 w 2653"/>
                <a:gd name="T9" fmla="*/ 1124 h 1189"/>
                <a:gd name="T10" fmla="*/ 569 w 2653"/>
                <a:gd name="T11" fmla="*/ 1150 h 1189"/>
                <a:gd name="T12" fmla="*/ 529 w 2653"/>
                <a:gd name="T13" fmla="*/ 1189 h 1189"/>
                <a:gd name="T14" fmla="*/ 271 w 2653"/>
                <a:gd name="T15" fmla="*/ 1189 h 1189"/>
                <a:gd name="T16" fmla="*/ 232 w 2653"/>
                <a:gd name="T17" fmla="*/ 1150 h 1189"/>
                <a:gd name="T18" fmla="*/ 232 w 2653"/>
                <a:gd name="T19" fmla="*/ 1124 h 1189"/>
                <a:gd name="T20" fmla="*/ 162 w 2653"/>
                <a:gd name="T21" fmla="*/ 1124 h 1189"/>
                <a:gd name="T22" fmla="*/ 0 w 2653"/>
                <a:gd name="T23" fmla="*/ 962 h 1189"/>
                <a:gd name="T24" fmla="*/ 0 w 2653"/>
                <a:gd name="T25" fmla="*/ 244 h 1189"/>
                <a:gd name="T26" fmla="*/ 162 w 2653"/>
                <a:gd name="T27" fmla="*/ 82 h 1189"/>
                <a:gd name="T28" fmla="*/ 897 w 2653"/>
                <a:gd name="T29" fmla="*/ 82 h 1189"/>
                <a:gd name="T30" fmla="*/ 963 w 2653"/>
                <a:gd name="T31" fmla="*/ 15 h 1189"/>
                <a:gd name="T32" fmla="*/ 979 w 2653"/>
                <a:gd name="T33" fmla="*/ 0 h 1189"/>
                <a:gd name="T34" fmla="*/ 1664 w 2653"/>
                <a:gd name="T35" fmla="*/ 0 h 1189"/>
                <a:gd name="T36" fmla="*/ 1679 w 2653"/>
                <a:gd name="T37" fmla="*/ 15 h 1189"/>
                <a:gd name="T38" fmla="*/ 1745 w 2653"/>
                <a:gd name="T39" fmla="*/ 82 h 1189"/>
                <a:gd name="T40" fmla="*/ 2491 w 2653"/>
                <a:gd name="T41" fmla="*/ 82 h 1189"/>
                <a:gd name="T42" fmla="*/ 2653 w 2653"/>
                <a:gd name="T43" fmla="*/ 244 h 1189"/>
                <a:gd name="T44" fmla="*/ 2653 w 2653"/>
                <a:gd name="T45" fmla="*/ 962 h 1189"/>
                <a:gd name="T46" fmla="*/ 2491 w 2653"/>
                <a:gd name="T47" fmla="*/ 1124 h 1189"/>
                <a:gd name="T48" fmla="*/ 2421 w 2653"/>
                <a:gd name="T49" fmla="*/ 1124 h 1189"/>
                <a:gd name="T50" fmla="*/ 2421 w 2653"/>
                <a:gd name="T51" fmla="*/ 1150 h 1189"/>
                <a:gd name="T52" fmla="*/ 2382 w 2653"/>
                <a:gd name="T53" fmla="*/ 1189 h 1189"/>
                <a:gd name="T54" fmla="*/ 553 w 2653"/>
                <a:gd name="T55" fmla="*/ 1094 h 1189"/>
                <a:gd name="T56" fmla="*/ 2100 w 2653"/>
                <a:gd name="T57" fmla="*/ 1094 h 1189"/>
                <a:gd name="T58" fmla="*/ 2115 w 2653"/>
                <a:gd name="T59" fmla="*/ 1109 h 1189"/>
                <a:gd name="T60" fmla="*/ 2115 w 2653"/>
                <a:gd name="T61" fmla="*/ 1150 h 1189"/>
                <a:gd name="T62" fmla="*/ 2124 w 2653"/>
                <a:gd name="T63" fmla="*/ 1158 h 1189"/>
                <a:gd name="T64" fmla="*/ 2382 w 2653"/>
                <a:gd name="T65" fmla="*/ 1158 h 1189"/>
                <a:gd name="T66" fmla="*/ 2390 w 2653"/>
                <a:gd name="T67" fmla="*/ 1150 h 1189"/>
                <a:gd name="T68" fmla="*/ 2390 w 2653"/>
                <a:gd name="T69" fmla="*/ 1109 h 1189"/>
                <a:gd name="T70" fmla="*/ 2406 w 2653"/>
                <a:gd name="T71" fmla="*/ 1094 h 1189"/>
                <a:gd name="T72" fmla="*/ 2491 w 2653"/>
                <a:gd name="T73" fmla="*/ 1094 h 1189"/>
                <a:gd name="T74" fmla="*/ 2622 w 2653"/>
                <a:gd name="T75" fmla="*/ 962 h 1189"/>
                <a:gd name="T76" fmla="*/ 2622 w 2653"/>
                <a:gd name="T77" fmla="*/ 244 h 1189"/>
                <a:gd name="T78" fmla="*/ 2491 w 2653"/>
                <a:gd name="T79" fmla="*/ 112 h 1189"/>
                <a:gd name="T80" fmla="*/ 1745 w 2653"/>
                <a:gd name="T81" fmla="*/ 112 h 1189"/>
                <a:gd name="T82" fmla="*/ 1650 w 2653"/>
                <a:gd name="T83" fmla="*/ 31 h 1189"/>
                <a:gd name="T84" fmla="*/ 993 w 2653"/>
                <a:gd name="T85" fmla="*/ 31 h 1189"/>
                <a:gd name="T86" fmla="*/ 897 w 2653"/>
                <a:gd name="T87" fmla="*/ 112 h 1189"/>
                <a:gd name="T88" fmla="*/ 162 w 2653"/>
                <a:gd name="T89" fmla="*/ 112 h 1189"/>
                <a:gd name="T90" fmla="*/ 31 w 2653"/>
                <a:gd name="T91" fmla="*/ 244 h 1189"/>
                <a:gd name="T92" fmla="*/ 31 w 2653"/>
                <a:gd name="T93" fmla="*/ 962 h 1189"/>
                <a:gd name="T94" fmla="*/ 162 w 2653"/>
                <a:gd name="T95" fmla="*/ 1094 h 1189"/>
                <a:gd name="T96" fmla="*/ 247 w 2653"/>
                <a:gd name="T97" fmla="*/ 1094 h 1189"/>
                <a:gd name="T98" fmla="*/ 263 w 2653"/>
                <a:gd name="T99" fmla="*/ 1109 h 1189"/>
                <a:gd name="T100" fmla="*/ 263 w 2653"/>
                <a:gd name="T101" fmla="*/ 1150 h 1189"/>
                <a:gd name="T102" fmla="*/ 271 w 2653"/>
                <a:gd name="T103" fmla="*/ 1158 h 1189"/>
                <a:gd name="T104" fmla="*/ 529 w 2653"/>
                <a:gd name="T105" fmla="*/ 1158 h 1189"/>
                <a:gd name="T106" fmla="*/ 538 w 2653"/>
                <a:gd name="T107" fmla="*/ 1150 h 1189"/>
                <a:gd name="T108" fmla="*/ 538 w 2653"/>
                <a:gd name="T109" fmla="*/ 1109 h 1189"/>
                <a:gd name="T110" fmla="*/ 553 w 2653"/>
                <a:gd name="T111" fmla="*/ 109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53" h="1189">
                  <a:moveTo>
                    <a:pt x="2382" y="1189"/>
                  </a:moveTo>
                  <a:cubicBezTo>
                    <a:pt x="2124" y="1189"/>
                    <a:pt x="2124" y="1189"/>
                    <a:pt x="2124" y="1189"/>
                  </a:cubicBezTo>
                  <a:cubicBezTo>
                    <a:pt x="2102" y="1189"/>
                    <a:pt x="2084" y="1171"/>
                    <a:pt x="2084" y="1150"/>
                  </a:cubicBezTo>
                  <a:cubicBezTo>
                    <a:pt x="2084" y="1124"/>
                    <a:pt x="2084" y="1124"/>
                    <a:pt x="2084" y="1124"/>
                  </a:cubicBezTo>
                  <a:cubicBezTo>
                    <a:pt x="569" y="1124"/>
                    <a:pt x="569" y="1124"/>
                    <a:pt x="569" y="1124"/>
                  </a:cubicBezTo>
                  <a:cubicBezTo>
                    <a:pt x="569" y="1150"/>
                    <a:pt x="569" y="1150"/>
                    <a:pt x="569" y="1150"/>
                  </a:cubicBezTo>
                  <a:cubicBezTo>
                    <a:pt x="569" y="1171"/>
                    <a:pt x="551" y="1189"/>
                    <a:pt x="529" y="1189"/>
                  </a:cubicBezTo>
                  <a:cubicBezTo>
                    <a:pt x="271" y="1189"/>
                    <a:pt x="271" y="1189"/>
                    <a:pt x="271" y="1189"/>
                  </a:cubicBezTo>
                  <a:cubicBezTo>
                    <a:pt x="250" y="1189"/>
                    <a:pt x="232" y="1171"/>
                    <a:pt x="232" y="1150"/>
                  </a:cubicBezTo>
                  <a:cubicBezTo>
                    <a:pt x="232" y="1124"/>
                    <a:pt x="232" y="1124"/>
                    <a:pt x="232" y="1124"/>
                  </a:cubicBezTo>
                  <a:cubicBezTo>
                    <a:pt x="162" y="1124"/>
                    <a:pt x="162" y="1124"/>
                    <a:pt x="162" y="1124"/>
                  </a:cubicBezTo>
                  <a:cubicBezTo>
                    <a:pt x="73" y="1124"/>
                    <a:pt x="0" y="1052"/>
                    <a:pt x="0" y="962"/>
                  </a:cubicBezTo>
                  <a:cubicBezTo>
                    <a:pt x="0" y="244"/>
                    <a:pt x="0" y="244"/>
                    <a:pt x="0" y="244"/>
                  </a:cubicBezTo>
                  <a:cubicBezTo>
                    <a:pt x="0" y="154"/>
                    <a:pt x="73" y="82"/>
                    <a:pt x="162" y="82"/>
                  </a:cubicBezTo>
                  <a:cubicBezTo>
                    <a:pt x="897" y="82"/>
                    <a:pt x="897" y="82"/>
                    <a:pt x="897" y="82"/>
                  </a:cubicBezTo>
                  <a:cubicBezTo>
                    <a:pt x="934" y="82"/>
                    <a:pt x="963" y="52"/>
                    <a:pt x="963" y="15"/>
                  </a:cubicBezTo>
                  <a:cubicBezTo>
                    <a:pt x="963" y="7"/>
                    <a:pt x="970" y="0"/>
                    <a:pt x="979" y="0"/>
                  </a:cubicBezTo>
                  <a:cubicBezTo>
                    <a:pt x="1664" y="0"/>
                    <a:pt x="1664" y="0"/>
                    <a:pt x="1664" y="0"/>
                  </a:cubicBezTo>
                  <a:cubicBezTo>
                    <a:pt x="1672" y="0"/>
                    <a:pt x="1679" y="7"/>
                    <a:pt x="1679" y="15"/>
                  </a:cubicBezTo>
                  <a:cubicBezTo>
                    <a:pt x="1679" y="52"/>
                    <a:pt x="1709" y="82"/>
                    <a:pt x="1745" y="82"/>
                  </a:cubicBezTo>
                  <a:cubicBezTo>
                    <a:pt x="2491" y="82"/>
                    <a:pt x="2491" y="82"/>
                    <a:pt x="2491" y="82"/>
                  </a:cubicBezTo>
                  <a:cubicBezTo>
                    <a:pt x="2580" y="82"/>
                    <a:pt x="2653" y="154"/>
                    <a:pt x="2653" y="244"/>
                  </a:cubicBezTo>
                  <a:cubicBezTo>
                    <a:pt x="2653" y="962"/>
                    <a:pt x="2653" y="962"/>
                    <a:pt x="2653" y="962"/>
                  </a:cubicBezTo>
                  <a:cubicBezTo>
                    <a:pt x="2653" y="1052"/>
                    <a:pt x="2580" y="1124"/>
                    <a:pt x="2491" y="1124"/>
                  </a:cubicBezTo>
                  <a:cubicBezTo>
                    <a:pt x="2421" y="1124"/>
                    <a:pt x="2421" y="1124"/>
                    <a:pt x="2421" y="1124"/>
                  </a:cubicBezTo>
                  <a:cubicBezTo>
                    <a:pt x="2421" y="1150"/>
                    <a:pt x="2421" y="1150"/>
                    <a:pt x="2421" y="1150"/>
                  </a:cubicBezTo>
                  <a:cubicBezTo>
                    <a:pt x="2421" y="1171"/>
                    <a:pt x="2403" y="1189"/>
                    <a:pt x="2382" y="1189"/>
                  </a:cubicBezTo>
                  <a:close/>
                  <a:moveTo>
                    <a:pt x="553" y="1094"/>
                  </a:moveTo>
                  <a:cubicBezTo>
                    <a:pt x="2100" y="1094"/>
                    <a:pt x="2100" y="1094"/>
                    <a:pt x="2100" y="1094"/>
                  </a:cubicBezTo>
                  <a:cubicBezTo>
                    <a:pt x="2108" y="1094"/>
                    <a:pt x="2115" y="1100"/>
                    <a:pt x="2115" y="1109"/>
                  </a:cubicBezTo>
                  <a:cubicBezTo>
                    <a:pt x="2115" y="1150"/>
                    <a:pt x="2115" y="1150"/>
                    <a:pt x="2115" y="1150"/>
                  </a:cubicBezTo>
                  <a:cubicBezTo>
                    <a:pt x="2115" y="1154"/>
                    <a:pt x="2119" y="1158"/>
                    <a:pt x="2124" y="1158"/>
                  </a:cubicBezTo>
                  <a:cubicBezTo>
                    <a:pt x="2382" y="1158"/>
                    <a:pt x="2382" y="1158"/>
                    <a:pt x="2382" y="1158"/>
                  </a:cubicBezTo>
                  <a:cubicBezTo>
                    <a:pt x="2386" y="1158"/>
                    <a:pt x="2390" y="1154"/>
                    <a:pt x="2390" y="1150"/>
                  </a:cubicBezTo>
                  <a:cubicBezTo>
                    <a:pt x="2390" y="1109"/>
                    <a:pt x="2390" y="1109"/>
                    <a:pt x="2390" y="1109"/>
                  </a:cubicBezTo>
                  <a:cubicBezTo>
                    <a:pt x="2390" y="1100"/>
                    <a:pt x="2397" y="1094"/>
                    <a:pt x="2406" y="1094"/>
                  </a:cubicBezTo>
                  <a:cubicBezTo>
                    <a:pt x="2491" y="1094"/>
                    <a:pt x="2491" y="1094"/>
                    <a:pt x="2491" y="1094"/>
                  </a:cubicBezTo>
                  <a:cubicBezTo>
                    <a:pt x="2563" y="1094"/>
                    <a:pt x="2622" y="1035"/>
                    <a:pt x="2622" y="962"/>
                  </a:cubicBezTo>
                  <a:cubicBezTo>
                    <a:pt x="2622" y="244"/>
                    <a:pt x="2622" y="244"/>
                    <a:pt x="2622" y="244"/>
                  </a:cubicBezTo>
                  <a:cubicBezTo>
                    <a:pt x="2622" y="171"/>
                    <a:pt x="2563" y="112"/>
                    <a:pt x="2491" y="112"/>
                  </a:cubicBezTo>
                  <a:cubicBezTo>
                    <a:pt x="1745" y="112"/>
                    <a:pt x="1745" y="112"/>
                    <a:pt x="1745" y="112"/>
                  </a:cubicBezTo>
                  <a:cubicBezTo>
                    <a:pt x="1697" y="112"/>
                    <a:pt x="1657" y="77"/>
                    <a:pt x="1650" y="31"/>
                  </a:cubicBezTo>
                  <a:cubicBezTo>
                    <a:pt x="993" y="31"/>
                    <a:pt x="993" y="31"/>
                    <a:pt x="993" y="31"/>
                  </a:cubicBezTo>
                  <a:cubicBezTo>
                    <a:pt x="985" y="77"/>
                    <a:pt x="945" y="112"/>
                    <a:pt x="897" y="112"/>
                  </a:cubicBezTo>
                  <a:cubicBezTo>
                    <a:pt x="162" y="112"/>
                    <a:pt x="162" y="112"/>
                    <a:pt x="162" y="112"/>
                  </a:cubicBezTo>
                  <a:cubicBezTo>
                    <a:pt x="90" y="112"/>
                    <a:pt x="31" y="171"/>
                    <a:pt x="31" y="244"/>
                  </a:cubicBezTo>
                  <a:cubicBezTo>
                    <a:pt x="31" y="962"/>
                    <a:pt x="31" y="962"/>
                    <a:pt x="31" y="962"/>
                  </a:cubicBezTo>
                  <a:cubicBezTo>
                    <a:pt x="31" y="1035"/>
                    <a:pt x="90" y="1094"/>
                    <a:pt x="162" y="1094"/>
                  </a:cubicBezTo>
                  <a:cubicBezTo>
                    <a:pt x="247" y="1094"/>
                    <a:pt x="247" y="1094"/>
                    <a:pt x="247" y="1094"/>
                  </a:cubicBezTo>
                  <a:cubicBezTo>
                    <a:pt x="256" y="1094"/>
                    <a:pt x="263" y="1100"/>
                    <a:pt x="263" y="1109"/>
                  </a:cubicBezTo>
                  <a:cubicBezTo>
                    <a:pt x="263" y="1150"/>
                    <a:pt x="263" y="1150"/>
                    <a:pt x="263" y="1150"/>
                  </a:cubicBezTo>
                  <a:cubicBezTo>
                    <a:pt x="263" y="1154"/>
                    <a:pt x="267" y="1158"/>
                    <a:pt x="271" y="1158"/>
                  </a:cubicBezTo>
                  <a:cubicBezTo>
                    <a:pt x="529" y="1158"/>
                    <a:pt x="529" y="1158"/>
                    <a:pt x="529" y="1158"/>
                  </a:cubicBezTo>
                  <a:cubicBezTo>
                    <a:pt x="534" y="1158"/>
                    <a:pt x="538" y="1154"/>
                    <a:pt x="538" y="1150"/>
                  </a:cubicBezTo>
                  <a:cubicBezTo>
                    <a:pt x="538" y="1109"/>
                    <a:pt x="538" y="1109"/>
                    <a:pt x="538" y="1109"/>
                  </a:cubicBezTo>
                  <a:cubicBezTo>
                    <a:pt x="538" y="1100"/>
                    <a:pt x="545" y="1094"/>
                    <a:pt x="553" y="10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2" name="Freeform 59">
              <a:extLst>
                <a:ext uri="{FF2B5EF4-FFF2-40B4-BE49-F238E27FC236}">
                  <a16:creationId xmlns:a16="http://schemas.microsoft.com/office/drawing/2014/main" id="{9265E62B-E72D-44C8-BF5A-69A24D211061}"/>
                </a:ext>
              </a:extLst>
            </p:cNvPr>
            <p:cNvSpPr>
              <a:spLocks noEditPoints="1"/>
            </p:cNvSpPr>
            <p:nvPr/>
          </p:nvSpPr>
          <p:spPr bwMode="auto">
            <a:xfrm>
              <a:off x="-3119" y="-291"/>
              <a:ext cx="572" cy="126"/>
            </a:xfrm>
            <a:custGeom>
              <a:avLst/>
              <a:gdLst>
                <a:gd name="T0" fmla="*/ 639 w 654"/>
                <a:gd name="T1" fmla="*/ 144 h 144"/>
                <a:gd name="T2" fmla="*/ 15 w 654"/>
                <a:gd name="T3" fmla="*/ 144 h 144"/>
                <a:gd name="T4" fmla="*/ 0 w 654"/>
                <a:gd name="T5" fmla="*/ 128 h 144"/>
                <a:gd name="T6" fmla="*/ 0 w 654"/>
                <a:gd name="T7" fmla="*/ 34 h 144"/>
                <a:gd name="T8" fmla="*/ 34 w 654"/>
                <a:gd name="T9" fmla="*/ 0 h 144"/>
                <a:gd name="T10" fmla="*/ 620 w 654"/>
                <a:gd name="T11" fmla="*/ 0 h 144"/>
                <a:gd name="T12" fmla="*/ 654 w 654"/>
                <a:gd name="T13" fmla="*/ 34 h 144"/>
                <a:gd name="T14" fmla="*/ 654 w 654"/>
                <a:gd name="T15" fmla="*/ 128 h 144"/>
                <a:gd name="T16" fmla="*/ 639 w 654"/>
                <a:gd name="T17" fmla="*/ 144 h 144"/>
                <a:gd name="T18" fmla="*/ 31 w 654"/>
                <a:gd name="T19" fmla="*/ 113 h 144"/>
                <a:gd name="T20" fmla="*/ 624 w 654"/>
                <a:gd name="T21" fmla="*/ 113 h 144"/>
                <a:gd name="T22" fmla="*/ 624 w 654"/>
                <a:gd name="T23" fmla="*/ 34 h 144"/>
                <a:gd name="T24" fmla="*/ 620 w 654"/>
                <a:gd name="T25" fmla="*/ 31 h 144"/>
                <a:gd name="T26" fmla="*/ 34 w 654"/>
                <a:gd name="T27" fmla="*/ 31 h 144"/>
                <a:gd name="T28" fmla="*/ 31 w 654"/>
                <a:gd name="T29" fmla="*/ 34 h 144"/>
                <a:gd name="T30" fmla="*/ 31 w 654"/>
                <a:gd name="T31" fmla="*/ 11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4" h="144">
                  <a:moveTo>
                    <a:pt x="639" y="144"/>
                  </a:moveTo>
                  <a:cubicBezTo>
                    <a:pt x="15" y="144"/>
                    <a:pt x="15" y="144"/>
                    <a:pt x="15" y="144"/>
                  </a:cubicBezTo>
                  <a:cubicBezTo>
                    <a:pt x="7" y="144"/>
                    <a:pt x="0" y="137"/>
                    <a:pt x="0" y="128"/>
                  </a:cubicBezTo>
                  <a:cubicBezTo>
                    <a:pt x="0" y="34"/>
                    <a:pt x="0" y="34"/>
                    <a:pt x="0" y="34"/>
                  </a:cubicBezTo>
                  <a:cubicBezTo>
                    <a:pt x="0" y="15"/>
                    <a:pt x="15" y="0"/>
                    <a:pt x="34" y="0"/>
                  </a:cubicBezTo>
                  <a:cubicBezTo>
                    <a:pt x="620" y="0"/>
                    <a:pt x="620" y="0"/>
                    <a:pt x="620" y="0"/>
                  </a:cubicBezTo>
                  <a:cubicBezTo>
                    <a:pt x="639" y="0"/>
                    <a:pt x="654" y="15"/>
                    <a:pt x="654" y="34"/>
                  </a:cubicBezTo>
                  <a:cubicBezTo>
                    <a:pt x="654" y="128"/>
                    <a:pt x="654" y="128"/>
                    <a:pt x="654" y="128"/>
                  </a:cubicBezTo>
                  <a:cubicBezTo>
                    <a:pt x="654" y="137"/>
                    <a:pt x="647" y="144"/>
                    <a:pt x="639" y="144"/>
                  </a:cubicBezTo>
                  <a:close/>
                  <a:moveTo>
                    <a:pt x="31" y="113"/>
                  </a:moveTo>
                  <a:cubicBezTo>
                    <a:pt x="624" y="113"/>
                    <a:pt x="624" y="113"/>
                    <a:pt x="624" y="113"/>
                  </a:cubicBezTo>
                  <a:cubicBezTo>
                    <a:pt x="624" y="34"/>
                    <a:pt x="624" y="34"/>
                    <a:pt x="624" y="34"/>
                  </a:cubicBezTo>
                  <a:cubicBezTo>
                    <a:pt x="624" y="32"/>
                    <a:pt x="622" y="31"/>
                    <a:pt x="620" y="31"/>
                  </a:cubicBezTo>
                  <a:cubicBezTo>
                    <a:pt x="34" y="31"/>
                    <a:pt x="34" y="31"/>
                    <a:pt x="34" y="31"/>
                  </a:cubicBezTo>
                  <a:cubicBezTo>
                    <a:pt x="32" y="31"/>
                    <a:pt x="31" y="32"/>
                    <a:pt x="31" y="34"/>
                  </a:cubicBezTo>
                  <a:lnTo>
                    <a:pt x="31"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3" name="Freeform 60">
              <a:extLst>
                <a:ext uri="{FF2B5EF4-FFF2-40B4-BE49-F238E27FC236}">
                  <a16:creationId xmlns:a16="http://schemas.microsoft.com/office/drawing/2014/main" id="{9ECB60B0-EBDA-4FBE-8A29-74DC3BBCD8CA}"/>
                </a:ext>
              </a:extLst>
            </p:cNvPr>
            <p:cNvSpPr>
              <a:spLocks/>
            </p:cNvSpPr>
            <p:nvPr/>
          </p:nvSpPr>
          <p:spPr bwMode="auto">
            <a:xfrm>
              <a:off x="-2053" y="455"/>
              <a:ext cx="27" cy="117"/>
            </a:xfrm>
            <a:custGeom>
              <a:avLst/>
              <a:gdLst>
                <a:gd name="T0" fmla="*/ 15 w 31"/>
                <a:gd name="T1" fmla="*/ 134 h 134"/>
                <a:gd name="T2" fmla="*/ 0 w 31"/>
                <a:gd name="T3" fmla="*/ 119 h 134"/>
                <a:gd name="T4" fmla="*/ 0 w 31"/>
                <a:gd name="T5" fmla="*/ 15 h 134"/>
                <a:gd name="T6" fmla="*/ 15 w 31"/>
                <a:gd name="T7" fmla="*/ 0 h 134"/>
                <a:gd name="T8" fmla="*/ 31 w 31"/>
                <a:gd name="T9" fmla="*/ 15 h 134"/>
                <a:gd name="T10" fmla="*/ 31 w 31"/>
                <a:gd name="T11" fmla="*/ 119 h 134"/>
                <a:gd name="T12" fmla="*/ 15 w 31"/>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31" h="134">
                  <a:moveTo>
                    <a:pt x="15" y="134"/>
                  </a:moveTo>
                  <a:cubicBezTo>
                    <a:pt x="7" y="134"/>
                    <a:pt x="0" y="127"/>
                    <a:pt x="0" y="119"/>
                  </a:cubicBezTo>
                  <a:cubicBezTo>
                    <a:pt x="0" y="15"/>
                    <a:pt x="0" y="15"/>
                    <a:pt x="0" y="15"/>
                  </a:cubicBezTo>
                  <a:cubicBezTo>
                    <a:pt x="0" y="7"/>
                    <a:pt x="7" y="0"/>
                    <a:pt x="15" y="0"/>
                  </a:cubicBezTo>
                  <a:cubicBezTo>
                    <a:pt x="24" y="0"/>
                    <a:pt x="31" y="7"/>
                    <a:pt x="31" y="15"/>
                  </a:cubicBezTo>
                  <a:cubicBezTo>
                    <a:pt x="31" y="119"/>
                    <a:pt x="31" y="119"/>
                    <a:pt x="31" y="119"/>
                  </a:cubicBezTo>
                  <a:cubicBezTo>
                    <a:pt x="31" y="127"/>
                    <a:pt x="24" y="134"/>
                    <a:pt x="15"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4" name="Freeform 61">
              <a:extLst>
                <a:ext uri="{FF2B5EF4-FFF2-40B4-BE49-F238E27FC236}">
                  <a16:creationId xmlns:a16="http://schemas.microsoft.com/office/drawing/2014/main" id="{E73BF2E3-3C42-427D-96B1-B0B998C2039D}"/>
                </a:ext>
              </a:extLst>
            </p:cNvPr>
            <p:cNvSpPr>
              <a:spLocks/>
            </p:cNvSpPr>
            <p:nvPr/>
          </p:nvSpPr>
          <p:spPr bwMode="auto">
            <a:xfrm>
              <a:off x="-2053" y="-105"/>
              <a:ext cx="27" cy="464"/>
            </a:xfrm>
            <a:custGeom>
              <a:avLst/>
              <a:gdLst>
                <a:gd name="T0" fmla="*/ 15 w 31"/>
                <a:gd name="T1" fmla="*/ 529 h 529"/>
                <a:gd name="T2" fmla="*/ 0 w 31"/>
                <a:gd name="T3" fmla="*/ 513 h 529"/>
                <a:gd name="T4" fmla="*/ 0 w 31"/>
                <a:gd name="T5" fmla="*/ 15 h 529"/>
                <a:gd name="T6" fmla="*/ 15 w 31"/>
                <a:gd name="T7" fmla="*/ 0 h 529"/>
                <a:gd name="T8" fmla="*/ 31 w 31"/>
                <a:gd name="T9" fmla="*/ 15 h 529"/>
                <a:gd name="T10" fmla="*/ 31 w 31"/>
                <a:gd name="T11" fmla="*/ 513 h 529"/>
                <a:gd name="T12" fmla="*/ 15 w 31"/>
                <a:gd name="T13" fmla="*/ 529 h 529"/>
              </a:gdLst>
              <a:ahLst/>
              <a:cxnLst>
                <a:cxn ang="0">
                  <a:pos x="T0" y="T1"/>
                </a:cxn>
                <a:cxn ang="0">
                  <a:pos x="T2" y="T3"/>
                </a:cxn>
                <a:cxn ang="0">
                  <a:pos x="T4" y="T5"/>
                </a:cxn>
                <a:cxn ang="0">
                  <a:pos x="T6" y="T7"/>
                </a:cxn>
                <a:cxn ang="0">
                  <a:pos x="T8" y="T9"/>
                </a:cxn>
                <a:cxn ang="0">
                  <a:pos x="T10" y="T11"/>
                </a:cxn>
                <a:cxn ang="0">
                  <a:pos x="T12" y="T13"/>
                </a:cxn>
              </a:cxnLst>
              <a:rect l="0" t="0" r="r" b="b"/>
              <a:pathLst>
                <a:path w="31" h="529">
                  <a:moveTo>
                    <a:pt x="15" y="529"/>
                  </a:moveTo>
                  <a:cubicBezTo>
                    <a:pt x="7" y="529"/>
                    <a:pt x="0" y="522"/>
                    <a:pt x="0" y="513"/>
                  </a:cubicBezTo>
                  <a:cubicBezTo>
                    <a:pt x="0" y="15"/>
                    <a:pt x="0" y="15"/>
                    <a:pt x="0" y="15"/>
                  </a:cubicBezTo>
                  <a:cubicBezTo>
                    <a:pt x="0" y="7"/>
                    <a:pt x="7" y="0"/>
                    <a:pt x="15" y="0"/>
                  </a:cubicBezTo>
                  <a:cubicBezTo>
                    <a:pt x="24" y="0"/>
                    <a:pt x="31" y="7"/>
                    <a:pt x="31" y="15"/>
                  </a:cubicBezTo>
                  <a:cubicBezTo>
                    <a:pt x="31" y="513"/>
                    <a:pt x="31" y="513"/>
                    <a:pt x="31" y="513"/>
                  </a:cubicBezTo>
                  <a:cubicBezTo>
                    <a:pt x="31" y="522"/>
                    <a:pt x="24" y="529"/>
                    <a:pt x="15" y="5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5" name="Freeform 62">
              <a:extLst>
                <a:ext uri="{FF2B5EF4-FFF2-40B4-BE49-F238E27FC236}">
                  <a16:creationId xmlns:a16="http://schemas.microsoft.com/office/drawing/2014/main" id="{7898F930-9FFB-408A-A586-D7B41790D746}"/>
                </a:ext>
              </a:extLst>
            </p:cNvPr>
            <p:cNvSpPr>
              <a:spLocks/>
            </p:cNvSpPr>
            <p:nvPr/>
          </p:nvSpPr>
          <p:spPr bwMode="auto">
            <a:xfrm>
              <a:off x="-2273" y="627"/>
              <a:ext cx="28" cy="158"/>
            </a:xfrm>
            <a:custGeom>
              <a:avLst/>
              <a:gdLst>
                <a:gd name="T0" fmla="*/ 15 w 31"/>
                <a:gd name="T1" fmla="*/ 181 h 181"/>
                <a:gd name="T2" fmla="*/ 0 w 31"/>
                <a:gd name="T3" fmla="*/ 166 h 181"/>
                <a:gd name="T4" fmla="*/ 0 w 31"/>
                <a:gd name="T5" fmla="*/ 16 h 181"/>
                <a:gd name="T6" fmla="*/ 15 w 31"/>
                <a:gd name="T7" fmla="*/ 0 h 181"/>
                <a:gd name="T8" fmla="*/ 31 w 31"/>
                <a:gd name="T9" fmla="*/ 16 h 181"/>
                <a:gd name="T10" fmla="*/ 31 w 31"/>
                <a:gd name="T11" fmla="*/ 166 h 181"/>
                <a:gd name="T12" fmla="*/ 15 w 31"/>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31" h="181">
                  <a:moveTo>
                    <a:pt x="15" y="181"/>
                  </a:moveTo>
                  <a:cubicBezTo>
                    <a:pt x="7" y="181"/>
                    <a:pt x="0" y="174"/>
                    <a:pt x="0" y="166"/>
                  </a:cubicBezTo>
                  <a:cubicBezTo>
                    <a:pt x="0" y="16"/>
                    <a:pt x="0" y="16"/>
                    <a:pt x="0" y="16"/>
                  </a:cubicBezTo>
                  <a:cubicBezTo>
                    <a:pt x="0" y="7"/>
                    <a:pt x="7" y="0"/>
                    <a:pt x="15" y="0"/>
                  </a:cubicBezTo>
                  <a:cubicBezTo>
                    <a:pt x="24" y="0"/>
                    <a:pt x="31" y="7"/>
                    <a:pt x="31" y="16"/>
                  </a:cubicBezTo>
                  <a:cubicBezTo>
                    <a:pt x="31" y="166"/>
                    <a:pt x="31" y="166"/>
                    <a:pt x="31" y="166"/>
                  </a:cubicBezTo>
                  <a:cubicBezTo>
                    <a:pt x="31" y="174"/>
                    <a:pt x="24" y="181"/>
                    <a:pt x="1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6" name="Freeform 63">
              <a:extLst>
                <a:ext uri="{FF2B5EF4-FFF2-40B4-BE49-F238E27FC236}">
                  <a16:creationId xmlns:a16="http://schemas.microsoft.com/office/drawing/2014/main" id="{479FEF5E-2456-4667-80E4-A04945461C25}"/>
                </a:ext>
              </a:extLst>
            </p:cNvPr>
            <p:cNvSpPr>
              <a:spLocks/>
            </p:cNvSpPr>
            <p:nvPr/>
          </p:nvSpPr>
          <p:spPr bwMode="auto">
            <a:xfrm>
              <a:off x="-3636" y="455"/>
              <a:ext cx="28" cy="117"/>
            </a:xfrm>
            <a:custGeom>
              <a:avLst/>
              <a:gdLst>
                <a:gd name="T0" fmla="*/ 15 w 31"/>
                <a:gd name="T1" fmla="*/ 134 h 134"/>
                <a:gd name="T2" fmla="*/ 0 w 31"/>
                <a:gd name="T3" fmla="*/ 119 h 134"/>
                <a:gd name="T4" fmla="*/ 0 w 31"/>
                <a:gd name="T5" fmla="*/ 15 h 134"/>
                <a:gd name="T6" fmla="*/ 15 w 31"/>
                <a:gd name="T7" fmla="*/ 0 h 134"/>
                <a:gd name="T8" fmla="*/ 31 w 31"/>
                <a:gd name="T9" fmla="*/ 15 h 134"/>
                <a:gd name="T10" fmla="*/ 31 w 31"/>
                <a:gd name="T11" fmla="*/ 119 h 134"/>
                <a:gd name="T12" fmla="*/ 15 w 31"/>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31" h="134">
                  <a:moveTo>
                    <a:pt x="15" y="134"/>
                  </a:moveTo>
                  <a:cubicBezTo>
                    <a:pt x="7" y="134"/>
                    <a:pt x="0" y="127"/>
                    <a:pt x="0" y="119"/>
                  </a:cubicBezTo>
                  <a:cubicBezTo>
                    <a:pt x="0" y="15"/>
                    <a:pt x="0" y="15"/>
                    <a:pt x="0" y="15"/>
                  </a:cubicBezTo>
                  <a:cubicBezTo>
                    <a:pt x="0" y="7"/>
                    <a:pt x="7" y="0"/>
                    <a:pt x="15" y="0"/>
                  </a:cubicBezTo>
                  <a:cubicBezTo>
                    <a:pt x="24" y="0"/>
                    <a:pt x="31" y="7"/>
                    <a:pt x="31" y="15"/>
                  </a:cubicBezTo>
                  <a:cubicBezTo>
                    <a:pt x="31" y="119"/>
                    <a:pt x="31" y="119"/>
                    <a:pt x="31" y="119"/>
                  </a:cubicBezTo>
                  <a:cubicBezTo>
                    <a:pt x="31" y="127"/>
                    <a:pt x="24" y="134"/>
                    <a:pt x="15"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7" name="Freeform 64">
              <a:extLst>
                <a:ext uri="{FF2B5EF4-FFF2-40B4-BE49-F238E27FC236}">
                  <a16:creationId xmlns:a16="http://schemas.microsoft.com/office/drawing/2014/main" id="{1A3B2AA2-4E07-4F15-A0A0-089DD8F077C2}"/>
                </a:ext>
              </a:extLst>
            </p:cNvPr>
            <p:cNvSpPr>
              <a:spLocks/>
            </p:cNvSpPr>
            <p:nvPr/>
          </p:nvSpPr>
          <p:spPr bwMode="auto">
            <a:xfrm>
              <a:off x="-3636" y="-105"/>
              <a:ext cx="28" cy="464"/>
            </a:xfrm>
            <a:custGeom>
              <a:avLst/>
              <a:gdLst>
                <a:gd name="T0" fmla="*/ 15 w 31"/>
                <a:gd name="T1" fmla="*/ 529 h 529"/>
                <a:gd name="T2" fmla="*/ 0 w 31"/>
                <a:gd name="T3" fmla="*/ 513 h 529"/>
                <a:gd name="T4" fmla="*/ 0 w 31"/>
                <a:gd name="T5" fmla="*/ 15 h 529"/>
                <a:gd name="T6" fmla="*/ 15 w 31"/>
                <a:gd name="T7" fmla="*/ 0 h 529"/>
                <a:gd name="T8" fmla="*/ 31 w 31"/>
                <a:gd name="T9" fmla="*/ 15 h 529"/>
                <a:gd name="T10" fmla="*/ 31 w 31"/>
                <a:gd name="T11" fmla="*/ 513 h 529"/>
                <a:gd name="T12" fmla="*/ 15 w 31"/>
                <a:gd name="T13" fmla="*/ 529 h 529"/>
              </a:gdLst>
              <a:ahLst/>
              <a:cxnLst>
                <a:cxn ang="0">
                  <a:pos x="T0" y="T1"/>
                </a:cxn>
                <a:cxn ang="0">
                  <a:pos x="T2" y="T3"/>
                </a:cxn>
                <a:cxn ang="0">
                  <a:pos x="T4" y="T5"/>
                </a:cxn>
                <a:cxn ang="0">
                  <a:pos x="T6" y="T7"/>
                </a:cxn>
                <a:cxn ang="0">
                  <a:pos x="T8" y="T9"/>
                </a:cxn>
                <a:cxn ang="0">
                  <a:pos x="T10" y="T11"/>
                </a:cxn>
                <a:cxn ang="0">
                  <a:pos x="T12" y="T13"/>
                </a:cxn>
              </a:cxnLst>
              <a:rect l="0" t="0" r="r" b="b"/>
              <a:pathLst>
                <a:path w="31" h="529">
                  <a:moveTo>
                    <a:pt x="15" y="529"/>
                  </a:moveTo>
                  <a:cubicBezTo>
                    <a:pt x="7" y="529"/>
                    <a:pt x="0" y="522"/>
                    <a:pt x="0" y="513"/>
                  </a:cubicBezTo>
                  <a:cubicBezTo>
                    <a:pt x="0" y="15"/>
                    <a:pt x="0" y="15"/>
                    <a:pt x="0" y="15"/>
                  </a:cubicBezTo>
                  <a:cubicBezTo>
                    <a:pt x="0" y="7"/>
                    <a:pt x="7" y="0"/>
                    <a:pt x="15" y="0"/>
                  </a:cubicBezTo>
                  <a:cubicBezTo>
                    <a:pt x="24" y="0"/>
                    <a:pt x="31" y="7"/>
                    <a:pt x="31" y="15"/>
                  </a:cubicBezTo>
                  <a:cubicBezTo>
                    <a:pt x="31" y="513"/>
                    <a:pt x="31" y="513"/>
                    <a:pt x="31" y="513"/>
                  </a:cubicBezTo>
                  <a:cubicBezTo>
                    <a:pt x="31" y="522"/>
                    <a:pt x="24" y="529"/>
                    <a:pt x="15" y="5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8" name="Freeform 65">
              <a:extLst>
                <a:ext uri="{FF2B5EF4-FFF2-40B4-BE49-F238E27FC236}">
                  <a16:creationId xmlns:a16="http://schemas.microsoft.com/office/drawing/2014/main" id="{A0601E37-3E45-4D02-975F-E71897E10F78}"/>
                </a:ext>
              </a:extLst>
            </p:cNvPr>
            <p:cNvSpPr>
              <a:spLocks/>
            </p:cNvSpPr>
            <p:nvPr/>
          </p:nvSpPr>
          <p:spPr bwMode="auto">
            <a:xfrm>
              <a:off x="-3416" y="627"/>
              <a:ext cx="27" cy="158"/>
            </a:xfrm>
            <a:custGeom>
              <a:avLst/>
              <a:gdLst>
                <a:gd name="T0" fmla="*/ 15 w 31"/>
                <a:gd name="T1" fmla="*/ 181 h 181"/>
                <a:gd name="T2" fmla="*/ 0 w 31"/>
                <a:gd name="T3" fmla="*/ 166 h 181"/>
                <a:gd name="T4" fmla="*/ 0 w 31"/>
                <a:gd name="T5" fmla="*/ 16 h 181"/>
                <a:gd name="T6" fmla="*/ 15 w 31"/>
                <a:gd name="T7" fmla="*/ 0 h 181"/>
                <a:gd name="T8" fmla="*/ 31 w 31"/>
                <a:gd name="T9" fmla="*/ 16 h 181"/>
                <a:gd name="T10" fmla="*/ 31 w 31"/>
                <a:gd name="T11" fmla="*/ 166 h 181"/>
                <a:gd name="T12" fmla="*/ 15 w 31"/>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31" h="181">
                  <a:moveTo>
                    <a:pt x="15" y="181"/>
                  </a:moveTo>
                  <a:cubicBezTo>
                    <a:pt x="7" y="181"/>
                    <a:pt x="0" y="174"/>
                    <a:pt x="0" y="166"/>
                  </a:cubicBezTo>
                  <a:cubicBezTo>
                    <a:pt x="0" y="16"/>
                    <a:pt x="0" y="16"/>
                    <a:pt x="0" y="16"/>
                  </a:cubicBezTo>
                  <a:cubicBezTo>
                    <a:pt x="0" y="7"/>
                    <a:pt x="7" y="0"/>
                    <a:pt x="15" y="0"/>
                  </a:cubicBezTo>
                  <a:cubicBezTo>
                    <a:pt x="24" y="0"/>
                    <a:pt x="31" y="7"/>
                    <a:pt x="31" y="16"/>
                  </a:cubicBezTo>
                  <a:cubicBezTo>
                    <a:pt x="31" y="166"/>
                    <a:pt x="31" y="166"/>
                    <a:pt x="31" y="166"/>
                  </a:cubicBezTo>
                  <a:cubicBezTo>
                    <a:pt x="31" y="174"/>
                    <a:pt x="24" y="181"/>
                    <a:pt x="1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pic>
        <p:nvPicPr>
          <p:cNvPr id="3" name="Picture 2">
            <a:extLst>
              <a:ext uri="{FF2B5EF4-FFF2-40B4-BE49-F238E27FC236}">
                <a16:creationId xmlns:a16="http://schemas.microsoft.com/office/drawing/2014/main" id="{058E8502-F8E0-41A5-A1DD-0DD78BC68D93}"/>
              </a:ext>
            </a:extLst>
          </p:cNvPr>
          <p:cNvPicPr>
            <a:picLocks noChangeAspect="1"/>
          </p:cNvPicPr>
          <p:nvPr/>
        </p:nvPicPr>
        <p:blipFill>
          <a:blip r:embed="rId3"/>
          <a:stretch>
            <a:fillRect/>
          </a:stretch>
        </p:blipFill>
        <p:spPr>
          <a:xfrm>
            <a:off x="918558" y="6362700"/>
            <a:ext cx="1171575" cy="495300"/>
          </a:xfrm>
          <a:prstGeom prst="rect">
            <a:avLst/>
          </a:prstGeom>
        </p:spPr>
      </p:pic>
      <p:sp>
        <p:nvSpPr>
          <p:cNvPr id="31" name="TextBox 30">
            <a:extLst>
              <a:ext uri="{FF2B5EF4-FFF2-40B4-BE49-F238E27FC236}">
                <a16:creationId xmlns:a16="http://schemas.microsoft.com/office/drawing/2014/main" id="{EE3C959B-0E7F-784F-A4E7-06341B36BF5B}"/>
              </a:ext>
            </a:extLst>
          </p:cNvPr>
          <p:cNvSpPr txBox="1"/>
          <p:nvPr/>
        </p:nvSpPr>
        <p:spPr>
          <a:xfrm>
            <a:off x="520618" y="3029488"/>
            <a:ext cx="4037056"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Arial Black"/>
                <a:ea typeface="+mn-ea"/>
                <a:cs typeface="+mn-cs"/>
              </a:rPr>
              <a:t>HOW MU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Arial Black"/>
                <a:ea typeface="+mn-ea"/>
                <a:cs typeface="+mn-cs"/>
              </a:rPr>
              <a:t>DICAMBA C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Arial Black"/>
                <a:ea typeface="+mn-ea"/>
                <a:cs typeface="+mn-cs"/>
              </a:rPr>
              <a:t>CAUSE SYMPTOMOLOGY IN SOYBEANS?</a:t>
            </a:r>
            <a:endParaRPr kumimoji="0" lang="en-US" sz="1800" b="0" i="0" u="none" strike="noStrike" kern="0" cap="none" spc="0" normalizeH="0" baseline="0" noProof="0">
              <a:ln>
                <a:noFill/>
              </a:ln>
              <a:solidFill>
                <a:prstClr val="white"/>
              </a:solidFill>
              <a:effectLst/>
              <a:uLnTx/>
              <a:uFillTx/>
              <a:latin typeface="Arial Black"/>
              <a:ea typeface="+mn-ea"/>
              <a:cs typeface="+mn-cs"/>
            </a:endParaRPr>
          </a:p>
        </p:txBody>
      </p:sp>
      <p:pic>
        <p:nvPicPr>
          <p:cNvPr id="74" name="Picture 73">
            <a:extLst>
              <a:ext uri="{FF2B5EF4-FFF2-40B4-BE49-F238E27FC236}">
                <a16:creationId xmlns:a16="http://schemas.microsoft.com/office/drawing/2014/main" id="{621C0D5A-7007-4E2C-9BC7-35E1E435A080}"/>
              </a:ext>
            </a:extLst>
          </p:cNvPr>
          <p:cNvPicPr>
            <a:picLocks noChangeAspect="1"/>
          </p:cNvPicPr>
          <p:nvPr/>
        </p:nvPicPr>
        <p:blipFill>
          <a:blip r:embed="rId4"/>
          <a:stretch>
            <a:fillRect/>
          </a:stretch>
        </p:blipFill>
        <p:spPr>
          <a:xfrm>
            <a:off x="838200" y="6393164"/>
            <a:ext cx="1333500" cy="378995"/>
          </a:xfrm>
          <a:prstGeom prst="rect">
            <a:avLst/>
          </a:prstGeom>
        </p:spPr>
      </p:pic>
      <p:sp>
        <p:nvSpPr>
          <p:cNvPr id="75" name="Title 5">
            <a:extLst>
              <a:ext uri="{FF2B5EF4-FFF2-40B4-BE49-F238E27FC236}">
                <a16:creationId xmlns:a16="http://schemas.microsoft.com/office/drawing/2014/main" id="{78BE94F6-7C3E-4E58-824F-858AAA08DC44}"/>
              </a:ext>
            </a:extLst>
          </p:cNvPr>
          <p:cNvSpPr>
            <a:spLocks noGrp="1"/>
          </p:cNvSpPr>
          <p:nvPr>
            <p:ph type="title"/>
          </p:nvPr>
        </p:nvSpPr>
        <p:spPr>
          <a:xfrm>
            <a:off x="838200" y="248564"/>
            <a:ext cx="10515600" cy="646331"/>
          </a:xfrm>
        </p:spPr>
        <p:txBody>
          <a:bodyPr/>
          <a:lstStyle/>
          <a:p>
            <a:r>
              <a:rPr lang="en-US" sz="4000"/>
              <a:t>SPRAY SYSTEM CLEANOUT</a:t>
            </a:r>
          </a:p>
        </p:txBody>
      </p:sp>
      <p:sp>
        <p:nvSpPr>
          <p:cNvPr id="2" name="TextBox 1">
            <a:extLst>
              <a:ext uri="{FF2B5EF4-FFF2-40B4-BE49-F238E27FC236}">
                <a16:creationId xmlns:a16="http://schemas.microsoft.com/office/drawing/2014/main" id="{3BE6950A-C69F-46AC-8E91-11E82EAEDA1A}"/>
              </a:ext>
            </a:extLst>
          </p:cNvPr>
          <p:cNvSpPr txBox="1"/>
          <p:nvPr/>
        </p:nvSpPr>
        <p:spPr>
          <a:xfrm>
            <a:off x="755687" y="1162050"/>
            <a:ext cx="10598113" cy="707886"/>
          </a:xfrm>
          <a:prstGeom prst="rect">
            <a:avLst/>
          </a:prstGeom>
          <a:noFill/>
        </p:spPr>
        <p:txBody>
          <a:bodyPr wrap="square" rtlCol="0">
            <a:spAutoFit/>
          </a:bodyPr>
          <a:lstStyle/>
          <a:p>
            <a:r>
              <a:rPr lang="en-US" sz="2000"/>
              <a:t>Dicamba contamination may cause injury to non-dicamba-tolerant soybeans and other sensitive crops and certain plants</a:t>
            </a:r>
          </a:p>
        </p:txBody>
      </p:sp>
    </p:spTree>
    <p:extLst>
      <p:ext uri="{BB962C8B-B14F-4D97-AF65-F5344CB8AC3E}">
        <p14:creationId xmlns:p14="http://schemas.microsoft.com/office/powerpoint/2010/main" val="220290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998A2387-DECE-2345-9928-4A2706E476FA}"/>
              </a:ext>
            </a:extLst>
          </p:cNvPr>
          <p:cNvSpPr/>
          <p:nvPr/>
        </p:nvSpPr>
        <p:spPr>
          <a:xfrm>
            <a:off x="1545996" y="1198243"/>
            <a:ext cx="2081774" cy="2433823"/>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Oval 25">
            <a:extLst>
              <a:ext uri="{FF2B5EF4-FFF2-40B4-BE49-F238E27FC236}">
                <a16:creationId xmlns:a16="http://schemas.microsoft.com/office/drawing/2014/main" id="{E120A07F-3740-354C-9AA3-A3BBBD68E7EA}"/>
              </a:ext>
            </a:extLst>
          </p:cNvPr>
          <p:cNvSpPr/>
          <p:nvPr/>
        </p:nvSpPr>
        <p:spPr>
          <a:xfrm>
            <a:off x="5067962" y="1211927"/>
            <a:ext cx="2081774" cy="2420139"/>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Oval 28">
            <a:extLst>
              <a:ext uri="{FF2B5EF4-FFF2-40B4-BE49-F238E27FC236}">
                <a16:creationId xmlns:a16="http://schemas.microsoft.com/office/drawing/2014/main" id="{F277BA43-9748-8E4A-A94B-99D3145A5771}"/>
              </a:ext>
            </a:extLst>
          </p:cNvPr>
          <p:cNvSpPr/>
          <p:nvPr/>
        </p:nvSpPr>
        <p:spPr>
          <a:xfrm>
            <a:off x="8555727" y="1198243"/>
            <a:ext cx="2081774" cy="2433823"/>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6533E2D-0740-0043-ACE3-DF72FAFF280E}"/>
              </a:ext>
            </a:extLst>
          </p:cNvPr>
          <p:cNvSpPr/>
          <p:nvPr/>
        </p:nvSpPr>
        <p:spPr>
          <a:xfrm>
            <a:off x="872402" y="2408299"/>
            <a:ext cx="10481398" cy="16164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EFA6026B-9BEE-BA42-B815-015A272EF8CD}"/>
              </a:ext>
            </a:extLst>
          </p:cNvPr>
          <p:cNvSpPr/>
          <p:nvPr/>
        </p:nvSpPr>
        <p:spPr>
          <a:xfrm>
            <a:off x="838200" y="2227481"/>
            <a:ext cx="10515600" cy="516937"/>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 name="Title 1"/>
          <p:cNvSpPr>
            <a:spLocks noGrp="1"/>
          </p:cNvSpPr>
          <p:nvPr>
            <p:ph type="title"/>
          </p:nvPr>
        </p:nvSpPr>
        <p:spPr>
          <a:xfrm>
            <a:off x="838200" y="241133"/>
            <a:ext cx="10515600" cy="844601"/>
          </a:xfrm>
        </p:spPr>
        <p:txBody>
          <a:bodyPr>
            <a:noAutofit/>
          </a:bodyPr>
          <a:lstStyle/>
          <a:p>
            <a:r>
              <a:rPr lang="en-US" sz="3200"/>
              <a:t>Mixing, handling, transport and spray equipment cleanout considerations</a:t>
            </a:r>
          </a:p>
        </p:txBody>
      </p:sp>
      <p:sp>
        <p:nvSpPr>
          <p:cNvPr id="12" name="Text Placeholder 20">
            <a:extLst>
              <a:ext uri="{FF2B5EF4-FFF2-40B4-BE49-F238E27FC236}">
                <a16:creationId xmlns:a16="http://schemas.microsoft.com/office/drawing/2014/main" id="{BDD7C28C-E70E-B348-8539-1B715A05DFA4}"/>
              </a:ext>
            </a:extLst>
          </p:cNvPr>
          <p:cNvSpPr txBox="1">
            <a:spLocks/>
          </p:cNvSpPr>
          <p:nvPr/>
        </p:nvSpPr>
        <p:spPr>
          <a:xfrm>
            <a:off x="1131321" y="2752053"/>
            <a:ext cx="2739864" cy="2087573"/>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effectLst/>
                <a:uLnTx/>
                <a:uFillTx/>
                <a:latin typeface="Arial"/>
                <a:ea typeface="+mn-ea"/>
                <a:cs typeface="+mn-cs"/>
              </a:rPr>
              <a:t>Drain unused spray mix before cleanout</a:t>
            </a:r>
          </a:p>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effectLst/>
                <a:uLnTx/>
                <a:uFillTx/>
                <a:latin typeface="Arial"/>
                <a:ea typeface="+mn-ea"/>
                <a:cs typeface="+mn-cs"/>
              </a:rPr>
              <a:t>Ensure all surfaces are cleaned for each rinse</a:t>
            </a:r>
            <a:endParaRPr lang="en-US" sz="1600" b="0" i="0" u="none" strike="noStrike" kern="1200" cap="none" spc="0" normalizeH="0" baseline="0" noProof="0">
              <a:ln>
                <a:noFill/>
              </a:ln>
              <a:effectLst/>
              <a:uLnTx/>
              <a:uFillTx/>
              <a:latin typeface="Arial"/>
              <a:cs typeface="Arial"/>
            </a:endParaRPr>
          </a:p>
          <a:p>
            <a:pPr marL="0" lvl="1" indent="0">
              <a:lnSpc>
                <a:spcPct val="100000"/>
              </a:lnSpc>
              <a:spcBef>
                <a:spcPts val="600"/>
              </a:spcBef>
              <a:spcAft>
                <a:spcPts val="600"/>
              </a:spcAft>
              <a:buNone/>
              <a:defRPr/>
            </a:pPr>
            <a:r>
              <a:rPr kumimoji="0" lang="en-US" sz="1600" b="0" i="0" u="none" strike="noStrike" kern="1200" cap="none" spc="0" normalizeH="0" baseline="0" noProof="0">
                <a:ln>
                  <a:noFill/>
                </a:ln>
                <a:effectLst/>
                <a:uLnTx/>
                <a:uFillTx/>
                <a:latin typeface="Arial"/>
                <a:ea typeface="+mn-ea"/>
                <a:cs typeface="+mn-cs"/>
              </a:rPr>
              <a:t>Drain all </a:t>
            </a:r>
            <a:r>
              <a:rPr lang="en-US" sz="1600">
                <a:latin typeface="Arial"/>
              </a:rPr>
              <a:t>rinse water </a:t>
            </a:r>
            <a:r>
              <a:rPr kumimoji="0" lang="en-US" sz="1600" b="0" i="0" u="none" strike="noStrike" kern="1200" cap="none" spc="0" normalizeH="0" baseline="0" noProof="0">
                <a:ln>
                  <a:noFill/>
                </a:ln>
                <a:effectLst/>
                <a:uLnTx/>
                <a:uFillTx/>
                <a:latin typeface="Arial"/>
                <a:ea typeface="+mn-ea"/>
                <a:cs typeface="+mn-cs"/>
              </a:rPr>
              <a:t>between each rinse.</a:t>
            </a:r>
            <a:r>
              <a:rPr lang="en-US" sz="1600">
                <a:latin typeface="Arial"/>
              </a:rPr>
              <a:t>  </a:t>
            </a:r>
            <a:endParaRPr lang="en-US" sz="1600" b="0" i="0" u="none" strike="noStrike" kern="1200" cap="none" spc="0" normalizeH="0" baseline="0" noProof="0">
              <a:ln>
                <a:noFill/>
              </a:ln>
              <a:effectLst/>
              <a:uLnTx/>
              <a:uFillTx/>
              <a:latin typeface="Arial"/>
              <a:cs typeface="Arial"/>
            </a:endParaRPr>
          </a:p>
        </p:txBody>
      </p:sp>
      <p:sp>
        <p:nvSpPr>
          <p:cNvPr id="44" name="TextBox 43">
            <a:extLst>
              <a:ext uri="{FF2B5EF4-FFF2-40B4-BE49-F238E27FC236}">
                <a16:creationId xmlns:a16="http://schemas.microsoft.com/office/drawing/2014/main" id="{059D597F-B5D9-674E-9912-D862A7630FFA}"/>
              </a:ext>
            </a:extLst>
          </p:cNvPr>
          <p:cNvSpPr txBox="1"/>
          <p:nvPr/>
        </p:nvSpPr>
        <p:spPr>
          <a:xfrm>
            <a:off x="872402" y="2316165"/>
            <a:ext cx="343239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rial Black"/>
                <a:ea typeface="+mn-ea"/>
                <a:cs typeface="+mn-cs"/>
              </a:rPr>
              <a:t>TANKS</a:t>
            </a:r>
          </a:p>
        </p:txBody>
      </p:sp>
      <p:sp>
        <p:nvSpPr>
          <p:cNvPr id="53" name="Text Placeholder 20">
            <a:extLst>
              <a:ext uri="{FF2B5EF4-FFF2-40B4-BE49-F238E27FC236}">
                <a16:creationId xmlns:a16="http://schemas.microsoft.com/office/drawing/2014/main" id="{E23A3185-15B5-544C-8432-0196C10CEEA5}"/>
              </a:ext>
            </a:extLst>
          </p:cNvPr>
          <p:cNvSpPr txBox="1">
            <a:spLocks/>
          </p:cNvSpPr>
          <p:nvPr/>
        </p:nvSpPr>
        <p:spPr>
          <a:xfrm>
            <a:off x="4658690" y="2752053"/>
            <a:ext cx="2739864" cy="208757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ll valves should be cycled during cleaning</a:t>
            </a:r>
            <a:br>
              <a:rPr kumimoji="0" lang="en-US" sz="1600" b="0" i="0" u="none" strike="noStrike" kern="1200" cap="none" spc="0" normalizeH="0" baseline="0" noProof="0">
                <a:ln>
                  <a:noFill/>
                </a:ln>
                <a:solidFill>
                  <a:prstClr val="black"/>
                </a:solidFill>
                <a:effectLst/>
                <a:uLnTx/>
                <a:uFillTx/>
                <a:latin typeface="Arial"/>
                <a:ea typeface="+mn-ea"/>
                <a:cs typeface="+mn-cs"/>
              </a:rPr>
            </a:br>
            <a:r>
              <a:rPr kumimoji="0" lang="en-US" sz="1600" b="0" i="0" u="none" strike="noStrike" kern="1200" cap="none" spc="0" normalizeH="0" baseline="0" noProof="0">
                <a:ln>
                  <a:noFill/>
                </a:ln>
                <a:solidFill>
                  <a:prstClr val="black"/>
                </a:solidFill>
                <a:effectLst/>
                <a:uLnTx/>
                <a:uFillTx/>
                <a:latin typeface="Arial"/>
                <a:ea typeface="+mn-ea"/>
                <a:cs typeface="+mn-cs"/>
              </a:rPr>
              <a:t/>
            </a:r>
            <a:br>
              <a:rPr kumimoji="0" lang="en-US" sz="1600" b="0" i="0" u="none" strike="noStrike" kern="1200" cap="none" spc="0" normalizeH="0" baseline="0" noProof="0">
                <a:ln>
                  <a:noFill/>
                </a:ln>
                <a:solidFill>
                  <a:prstClr val="black"/>
                </a:solidFill>
                <a:effectLst/>
                <a:uLnTx/>
                <a:uFillTx/>
                <a:latin typeface="Arial"/>
                <a:ea typeface="+mn-ea"/>
                <a:cs typeface="+mn-cs"/>
              </a:rPr>
            </a:br>
            <a:r>
              <a:rPr kumimoji="0" lang="en-US" sz="1600" b="0" i="0" u="none" strike="noStrike" kern="1200" cap="none" spc="0" normalizeH="0" baseline="0" noProof="0">
                <a:ln>
                  <a:noFill/>
                </a:ln>
                <a:solidFill>
                  <a:prstClr val="black"/>
                </a:solidFill>
                <a:effectLst/>
                <a:uLnTx/>
                <a:uFillTx/>
                <a:latin typeface="Arial"/>
                <a:ea typeface="+mn-ea"/>
                <a:cs typeface="+mn-cs"/>
              </a:rPr>
              <a:t>Flush loading ports</a:t>
            </a:r>
            <a:br>
              <a:rPr kumimoji="0" lang="en-US" sz="1600" b="0" i="0" u="none" strike="noStrike" kern="1200" cap="none" spc="0" normalizeH="0" baseline="0" noProof="0">
                <a:ln>
                  <a:noFill/>
                </a:ln>
                <a:solidFill>
                  <a:prstClr val="black"/>
                </a:solidFill>
                <a:effectLst/>
                <a:uLnTx/>
                <a:uFillTx/>
                <a:latin typeface="Arial"/>
                <a:ea typeface="+mn-ea"/>
                <a:cs typeface="+mn-cs"/>
              </a:rPr>
            </a:br>
            <a:r>
              <a:rPr kumimoji="0" lang="en-US" sz="1600" b="0" i="0" u="none" strike="noStrike" kern="1200" cap="none" spc="0" normalizeH="0" baseline="0" noProof="0">
                <a:ln>
                  <a:noFill/>
                </a:ln>
                <a:solidFill>
                  <a:prstClr val="black"/>
                </a:solidFill>
                <a:effectLst/>
                <a:uLnTx/>
                <a:uFillTx/>
                <a:latin typeface="Arial"/>
                <a:ea typeface="+mn-ea"/>
                <a:cs typeface="+mn-cs"/>
              </a:rPr>
              <a:t/>
            </a:r>
            <a:br>
              <a:rPr kumimoji="0" lang="en-US" sz="1600" b="0" i="0" u="none" strike="noStrike" kern="1200" cap="none" spc="0" normalizeH="0" baseline="0" noProof="0">
                <a:ln>
                  <a:noFill/>
                </a:ln>
                <a:solidFill>
                  <a:prstClr val="black"/>
                </a:solidFill>
                <a:effectLst/>
                <a:uLnTx/>
                <a:uFillTx/>
                <a:latin typeface="Arial"/>
                <a:ea typeface="+mn-ea"/>
                <a:cs typeface="+mn-cs"/>
              </a:rPr>
            </a:br>
            <a:r>
              <a:rPr kumimoji="0" lang="en-US" sz="1600" b="0" i="0" u="none" strike="noStrike" kern="1200" cap="none" spc="0" normalizeH="0" baseline="0" noProof="0">
                <a:ln>
                  <a:noFill/>
                </a:ln>
                <a:solidFill>
                  <a:prstClr val="black"/>
                </a:solidFill>
                <a:effectLst/>
                <a:uLnTx/>
                <a:uFillTx/>
                <a:latin typeface="Arial"/>
                <a:ea typeface="+mn-ea"/>
                <a:cs typeface="+mn-cs"/>
              </a:rPr>
              <a:t>Clean flowmeters &amp; associated lines/hoses</a:t>
            </a:r>
          </a:p>
        </p:txBody>
      </p:sp>
      <p:sp>
        <p:nvSpPr>
          <p:cNvPr id="28" name="TextBox 27">
            <a:extLst>
              <a:ext uri="{FF2B5EF4-FFF2-40B4-BE49-F238E27FC236}">
                <a16:creationId xmlns:a16="http://schemas.microsoft.com/office/drawing/2014/main" id="{DB4B3028-5A04-574E-AFA6-293776748953}"/>
              </a:ext>
            </a:extLst>
          </p:cNvPr>
          <p:cNvSpPr txBox="1"/>
          <p:nvPr/>
        </p:nvSpPr>
        <p:spPr>
          <a:xfrm>
            <a:off x="4416539" y="2316165"/>
            <a:ext cx="339819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Arial Black"/>
                <a:ea typeface="+mn-ea"/>
                <a:cs typeface="+mn-cs"/>
              </a:rPr>
              <a:t>VALVES/LINES/HOSES</a:t>
            </a:r>
          </a:p>
        </p:txBody>
      </p:sp>
      <p:sp>
        <p:nvSpPr>
          <p:cNvPr id="51" name="Text Placeholder 20">
            <a:extLst>
              <a:ext uri="{FF2B5EF4-FFF2-40B4-BE49-F238E27FC236}">
                <a16:creationId xmlns:a16="http://schemas.microsoft.com/office/drawing/2014/main" id="{C68A835D-8301-A44A-BC44-0ABF2204278C}"/>
              </a:ext>
            </a:extLst>
          </p:cNvPr>
          <p:cNvSpPr txBox="1">
            <a:spLocks/>
          </p:cNvSpPr>
          <p:nvPr/>
        </p:nvSpPr>
        <p:spPr>
          <a:xfrm>
            <a:off x="8613936" y="2943966"/>
            <a:ext cx="2739864" cy="345848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59" name="TextBox 58">
            <a:extLst>
              <a:ext uri="{FF2B5EF4-FFF2-40B4-BE49-F238E27FC236}">
                <a16:creationId xmlns:a16="http://schemas.microsoft.com/office/drawing/2014/main" id="{736E8477-4405-7642-829D-46AC3EE92078}"/>
              </a:ext>
            </a:extLst>
          </p:cNvPr>
          <p:cNvSpPr txBox="1"/>
          <p:nvPr/>
        </p:nvSpPr>
        <p:spPr>
          <a:xfrm>
            <a:off x="7883136" y="2316165"/>
            <a:ext cx="345406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a:solidFill>
                  <a:prstClr val="white"/>
                </a:solidFill>
                <a:latin typeface="Arial Black"/>
              </a:rPr>
              <a:t>SCREENS/BOOMS/NOZZLES</a:t>
            </a:r>
            <a:endParaRPr kumimoji="0" lang="en-US" sz="1600" b="0" i="0" u="none" strike="noStrike" kern="0" cap="none" spc="0" normalizeH="0" baseline="0" noProof="0">
              <a:ln>
                <a:noFill/>
              </a:ln>
              <a:solidFill>
                <a:prstClr val="white"/>
              </a:solidFill>
              <a:effectLst/>
              <a:uLnTx/>
              <a:uFillTx/>
              <a:latin typeface="Arial Black"/>
              <a:ea typeface="+mn-ea"/>
              <a:cs typeface="+mn-cs"/>
            </a:endParaRPr>
          </a:p>
        </p:txBody>
      </p:sp>
      <p:cxnSp>
        <p:nvCxnSpPr>
          <p:cNvPr id="68" name="Straight Connector 67">
            <a:extLst>
              <a:ext uri="{FF2B5EF4-FFF2-40B4-BE49-F238E27FC236}">
                <a16:creationId xmlns:a16="http://schemas.microsoft.com/office/drawing/2014/main" id="{B127A947-1218-2A49-A7A6-C8B2E7A7F0A4}"/>
              </a:ext>
            </a:extLst>
          </p:cNvPr>
          <p:cNvCxnSpPr/>
          <p:nvPr/>
        </p:nvCxnSpPr>
        <p:spPr>
          <a:xfrm>
            <a:off x="4360668" y="1954222"/>
            <a:ext cx="0" cy="3498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E32184B-A90D-9846-8BF3-F699DE9AD35B}"/>
              </a:ext>
            </a:extLst>
          </p:cNvPr>
          <p:cNvCxnSpPr/>
          <p:nvPr/>
        </p:nvCxnSpPr>
        <p:spPr>
          <a:xfrm>
            <a:off x="7848935" y="1954222"/>
            <a:ext cx="0" cy="3498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8428E2B-94F4-304A-AB54-9DFFE29B3FA4}"/>
              </a:ext>
            </a:extLst>
          </p:cNvPr>
          <p:cNvCxnSpPr>
            <a:cxnSpLocks/>
          </p:cNvCxnSpPr>
          <p:nvPr/>
        </p:nvCxnSpPr>
        <p:spPr>
          <a:xfrm flipH="1">
            <a:off x="4343066" y="2943966"/>
            <a:ext cx="17602" cy="2113456"/>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3" name="Straight Connector 72">
            <a:extLst>
              <a:ext uri="{FF2B5EF4-FFF2-40B4-BE49-F238E27FC236}">
                <a16:creationId xmlns:a16="http://schemas.microsoft.com/office/drawing/2014/main" id="{15F6B136-7A2C-8249-ABA7-3E3C34D2A621}"/>
              </a:ext>
            </a:extLst>
          </p:cNvPr>
          <p:cNvCxnSpPr>
            <a:cxnSpLocks/>
          </p:cNvCxnSpPr>
          <p:nvPr/>
        </p:nvCxnSpPr>
        <p:spPr>
          <a:xfrm>
            <a:off x="7873631" y="2943966"/>
            <a:ext cx="9505" cy="2113456"/>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 name="Footer Placeholder 4">
            <a:extLst>
              <a:ext uri="{FF2B5EF4-FFF2-40B4-BE49-F238E27FC236}">
                <a16:creationId xmlns:a16="http://schemas.microsoft.com/office/drawing/2014/main" id="{B292B3E5-CA91-4950-878C-949AD5EF6BF8}"/>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a:extLst>
              <a:ext uri="{FF2B5EF4-FFF2-40B4-BE49-F238E27FC236}">
                <a16:creationId xmlns:a16="http://schemas.microsoft.com/office/drawing/2014/main" id="{FE8636A6-6BD1-4D03-8925-E05DD772F9D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grpSp>
        <p:nvGrpSpPr>
          <p:cNvPr id="58" name="Group 57">
            <a:extLst>
              <a:ext uri="{FF2B5EF4-FFF2-40B4-BE49-F238E27FC236}">
                <a16:creationId xmlns:a16="http://schemas.microsoft.com/office/drawing/2014/main" id="{CC947833-BF01-4257-8524-4F11D3603F6D}"/>
              </a:ext>
            </a:extLst>
          </p:cNvPr>
          <p:cNvGrpSpPr/>
          <p:nvPr/>
        </p:nvGrpSpPr>
        <p:grpSpPr>
          <a:xfrm>
            <a:off x="2111291" y="1375128"/>
            <a:ext cx="951182" cy="711209"/>
            <a:chOff x="-3940175" y="1243013"/>
            <a:chExt cx="3121025" cy="2333625"/>
          </a:xfrm>
          <a:solidFill>
            <a:schemeClr val="accent6"/>
          </a:solidFill>
        </p:grpSpPr>
        <p:sp>
          <p:nvSpPr>
            <p:cNvPr id="60" name="Freeform 16">
              <a:extLst>
                <a:ext uri="{FF2B5EF4-FFF2-40B4-BE49-F238E27FC236}">
                  <a16:creationId xmlns:a16="http://schemas.microsoft.com/office/drawing/2014/main" id="{21CC78AF-7C55-4124-9871-188338C1DBD8}"/>
                </a:ext>
              </a:extLst>
            </p:cNvPr>
            <p:cNvSpPr>
              <a:spLocks noEditPoints="1"/>
            </p:cNvSpPr>
            <p:nvPr/>
          </p:nvSpPr>
          <p:spPr bwMode="auto">
            <a:xfrm>
              <a:off x="-3940175" y="1243013"/>
              <a:ext cx="3121025" cy="2333625"/>
            </a:xfrm>
            <a:custGeom>
              <a:avLst/>
              <a:gdLst>
                <a:gd name="T0" fmla="*/ 1529 w 2075"/>
                <a:gd name="T1" fmla="*/ 219 h 1551"/>
                <a:gd name="T2" fmla="*/ 1442 w 2075"/>
                <a:gd name="T3" fmla="*/ 131 h 1551"/>
                <a:gd name="T4" fmla="*/ 1354 w 2075"/>
                <a:gd name="T5" fmla="*/ 0 h 1551"/>
                <a:gd name="T6" fmla="*/ 633 w 2075"/>
                <a:gd name="T7" fmla="*/ 87 h 1551"/>
                <a:gd name="T8" fmla="*/ 590 w 2075"/>
                <a:gd name="T9" fmla="*/ 175 h 1551"/>
                <a:gd name="T10" fmla="*/ 218 w 2075"/>
                <a:gd name="T11" fmla="*/ 219 h 1551"/>
                <a:gd name="T12" fmla="*/ 0 w 2075"/>
                <a:gd name="T13" fmla="*/ 1267 h 1551"/>
                <a:gd name="T14" fmla="*/ 262 w 2075"/>
                <a:gd name="T15" fmla="*/ 1485 h 1551"/>
                <a:gd name="T16" fmla="*/ 633 w 2075"/>
                <a:gd name="T17" fmla="*/ 1551 h 1551"/>
                <a:gd name="T18" fmla="*/ 1376 w 2075"/>
                <a:gd name="T19" fmla="*/ 1485 h 1551"/>
                <a:gd name="T20" fmla="*/ 1747 w 2075"/>
                <a:gd name="T21" fmla="*/ 1551 h 1551"/>
                <a:gd name="T22" fmla="*/ 1878 w 2075"/>
                <a:gd name="T23" fmla="*/ 1485 h 1551"/>
                <a:gd name="T24" fmla="*/ 2075 w 2075"/>
                <a:gd name="T25" fmla="*/ 437 h 1551"/>
                <a:gd name="T26" fmla="*/ 721 w 2075"/>
                <a:gd name="T27" fmla="*/ 87 h 1551"/>
                <a:gd name="T28" fmla="*/ 1354 w 2075"/>
                <a:gd name="T29" fmla="*/ 87 h 1551"/>
                <a:gd name="T30" fmla="*/ 721 w 2075"/>
                <a:gd name="T31" fmla="*/ 131 h 1551"/>
                <a:gd name="T32" fmla="*/ 721 w 2075"/>
                <a:gd name="T33" fmla="*/ 87 h 1551"/>
                <a:gd name="T34" fmla="*/ 1878 w 2075"/>
                <a:gd name="T35" fmla="*/ 1398 h 1551"/>
                <a:gd name="T36" fmla="*/ 1726 w 2075"/>
                <a:gd name="T37" fmla="*/ 1442 h 1551"/>
                <a:gd name="T38" fmla="*/ 1463 w 2075"/>
                <a:gd name="T39" fmla="*/ 1464 h 1551"/>
                <a:gd name="T40" fmla="*/ 1420 w 2075"/>
                <a:gd name="T41" fmla="*/ 1398 h 1551"/>
                <a:gd name="T42" fmla="*/ 1354 w 2075"/>
                <a:gd name="T43" fmla="*/ 1267 h 1551"/>
                <a:gd name="T44" fmla="*/ 1267 w 2075"/>
                <a:gd name="T45" fmla="*/ 1267 h 1551"/>
                <a:gd name="T46" fmla="*/ 852 w 2075"/>
                <a:gd name="T47" fmla="*/ 1398 h 1551"/>
                <a:gd name="T48" fmla="*/ 808 w 2075"/>
                <a:gd name="T49" fmla="*/ 1223 h 1551"/>
                <a:gd name="T50" fmla="*/ 764 w 2075"/>
                <a:gd name="T51" fmla="*/ 1398 h 1551"/>
                <a:gd name="T52" fmla="*/ 612 w 2075"/>
                <a:gd name="T53" fmla="*/ 1442 h 1551"/>
                <a:gd name="T54" fmla="*/ 349 w 2075"/>
                <a:gd name="T55" fmla="*/ 1464 h 1551"/>
                <a:gd name="T56" fmla="*/ 306 w 2075"/>
                <a:gd name="T57" fmla="*/ 1398 h 1551"/>
                <a:gd name="T58" fmla="*/ 87 w 2075"/>
                <a:gd name="T59" fmla="*/ 1267 h 1551"/>
                <a:gd name="T60" fmla="*/ 218 w 2075"/>
                <a:gd name="T61" fmla="*/ 306 h 1551"/>
                <a:gd name="T62" fmla="*/ 524 w 2075"/>
                <a:gd name="T63" fmla="*/ 808 h 1551"/>
                <a:gd name="T64" fmla="*/ 612 w 2075"/>
                <a:gd name="T65" fmla="*/ 808 h 1551"/>
                <a:gd name="T66" fmla="*/ 668 w 2075"/>
                <a:gd name="T67" fmla="*/ 219 h 1551"/>
                <a:gd name="T68" fmla="*/ 1398 w 2075"/>
                <a:gd name="T69" fmla="*/ 219 h 1551"/>
                <a:gd name="T70" fmla="*/ 1485 w 2075"/>
                <a:gd name="T71" fmla="*/ 297 h 1551"/>
                <a:gd name="T72" fmla="*/ 1529 w 2075"/>
                <a:gd name="T73" fmla="*/ 852 h 1551"/>
                <a:gd name="T74" fmla="*/ 1573 w 2075"/>
                <a:gd name="T75" fmla="*/ 306 h 1551"/>
                <a:gd name="T76" fmla="*/ 1988 w 2075"/>
                <a:gd name="T77" fmla="*/ 43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75" h="1551">
                  <a:moveTo>
                    <a:pt x="1878" y="219"/>
                  </a:moveTo>
                  <a:cubicBezTo>
                    <a:pt x="1529" y="219"/>
                    <a:pt x="1529" y="219"/>
                    <a:pt x="1529" y="219"/>
                  </a:cubicBezTo>
                  <a:cubicBezTo>
                    <a:pt x="1509" y="219"/>
                    <a:pt x="1485" y="194"/>
                    <a:pt x="1485" y="175"/>
                  </a:cubicBezTo>
                  <a:cubicBezTo>
                    <a:pt x="1485" y="151"/>
                    <a:pt x="1466" y="131"/>
                    <a:pt x="1442" y="131"/>
                  </a:cubicBezTo>
                  <a:cubicBezTo>
                    <a:pt x="1442" y="87"/>
                    <a:pt x="1442" y="87"/>
                    <a:pt x="1442" y="87"/>
                  </a:cubicBezTo>
                  <a:cubicBezTo>
                    <a:pt x="1442" y="42"/>
                    <a:pt x="1400" y="0"/>
                    <a:pt x="1354" y="0"/>
                  </a:cubicBezTo>
                  <a:cubicBezTo>
                    <a:pt x="721" y="0"/>
                    <a:pt x="721" y="0"/>
                    <a:pt x="721" y="0"/>
                  </a:cubicBezTo>
                  <a:cubicBezTo>
                    <a:pt x="675" y="0"/>
                    <a:pt x="633" y="42"/>
                    <a:pt x="633" y="87"/>
                  </a:cubicBezTo>
                  <a:cubicBezTo>
                    <a:pt x="633" y="131"/>
                    <a:pt x="633" y="131"/>
                    <a:pt x="633" y="131"/>
                  </a:cubicBezTo>
                  <a:cubicBezTo>
                    <a:pt x="609" y="131"/>
                    <a:pt x="590" y="151"/>
                    <a:pt x="590" y="175"/>
                  </a:cubicBezTo>
                  <a:cubicBezTo>
                    <a:pt x="590" y="194"/>
                    <a:pt x="566" y="219"/>
                    <a:pt x="546" y="219"/>
                  </a:cubicBezTo>
                  <a:cubicBezTo>
                    <a:pt x="218" y="219"/>
                    <a:pt x="218" y="219"/>
                    <a:pt x="218" y="219"/>
                  </a:cubicBezTo>
                  <a:cubicBezTo>
                    <a:pt x="86" y="219"/>
                    <a:pt x="0" y="304"/>
                    <a:pt x="0" y="437"/>
                  </a:cubicBezTo>
                  <a:cubicBezTo>
                    <a:pt x="0" y="1267"/>
                    <a:pt x="0" y="1267"/>
                    <a:pt x="0" y="1267"/>
                  </a:cubicBezTo>
                  <a:cubicBezTo>
                    <a:pt x="0" y="1374"/>
                    <a:pt x="82" y="1485"/>
                    <a:pt x="218" y="1485"/>
                  </a:cubicBezTo>
                  <a:cubicBezTo>
                    <a:pt x="262" y="1485"/>
                    <a:pt x="262" y="1485"/>
                    <a:pt x="262" y="1485"/>
                  </a:cubicBezTo>
                  <a:cubicBezTo>
                    <a:pt x="262" y="1528"/>
                    <a:pt x="296" y="1551"/>
                    <a:pt x="328" y="1551"/>
                  </a:cubicBezTo>
                  <a:cubicBezTo>
                    <a:pt x="633" y="1551"/>
                    <a:pt x="633" y="1551"/>
                    <a:pt x="633" y="1551"/>
                  </a:cubicBezTo>
                  <a:cubicBezTo>
                    <a:pt x="679" y="1551"/>
                    <a:pt x="699" y="1531"/>
                    <a:pt x="699" y="1485"/>
                  </a:cubicBezTo>
                  <a:cubicBezTo>
                    <a:pt x="1376" y="1485"/>
                    <a:pt x="1376" y="1485"/>
                    <a:pt x="1376" y="1485"/>
                  </a:cubicBezTo>
                  <a:cubicBezTo>
                    <a:pt x="1376" y="1531"/>
                    <a:pt x="1396" y="1551"/>
                    <a:pt x="1442" y="1551"/>
                  </a:cubicBezTo>
                  <a:cubicBezTo>
                    <a:pt x="1747" y="1551"/>
                    <a:pt x="1747" y="1551"/>
                    <a:pt x="1747" y="1551"/>
                  </a:cubicBezTo>
                  <a:cubicBezTo>
                    <a:pt x="1779" y="1551"/>
                    <a:pt x="1813" y="1528"/>
                    <a:pt x="1813" y="1485"/>
                  </a:cubicBezTo>
                  <a:cubicBezTo>
                    <a:pt x="1878" y="1485"/>
                    <a:pt x="1878" y="1485"/>
                    <a:pt x="1878" y="1485"/>
                  </a:cubicBezTo>
                  <a:cubicBezTo>
                    <a:pt x="1996" y="1485"/>
                    <a:pt x="2075" y="1372"/>
                    <a:pt x="2075" y="1267"/>
                  </a:cubicBezTo>
                  <a:cubicBezTo>
                    <a:pt x="2075" y="437"/>
                    <a:pt x="2075" y="437"/>
                    <a:pt x="2075" y="437"/>
                  </a:cubicBezTo>
                  <a:cubicBezTo>
                    <a:pt x="2075" y="308"/>
                    <a:pt x="1994" y="219"/>
                    <a:pt x="1878" y="219"/>
                  </a:cubicBezTo>
                  <a:close/>
                  <a:moveTo>
                    <a:pt x="721" y="87"/>
                  </a:moveTo>
                  <a:cubicBezTo>
                    <a:pt x="1352" y="87"/>
                    <a:pt x="1352" y="87"/>
                    <a:pt x="1352" y="87"/>
                  </a:cubicBezTo>
                  <a:cubicBezTo>
                    <a:pt x="1353" y="88"/>
                    <a:pt x="1354" y="89"/>
                    <a:pt x="1354" y="87"/>
                  </a:cubicBezTo>
                  <a:cubicBezTo>
                    <a:pt x="1354" y="131"/>
                    <a:pt x="1354" y="131"/>
                    <a:pt x="1354" y="131"/>
                  </a:cubicBezTo>
                  <a:cubicBezTo>
                    <a:pt x="721" y="131"/>
                    <a:pt x="721" y="131"/>
                    <a:pt x="721" y="131"/>
                  </a:cubicBezTo>
                  <a:cubicBezTo>
                    <a:pt x="720" y="90"/>
                    <a:pt x="720" y="90"/>
                    <a:pt x="720" y="90"/>
                  </a:cubicBezTo>
                  <a:cubicBezTo>
                    <a:pt x="721" y="89"/>
                    <a:pt x="722" y="88"/>
                    <a:pt x="721" y="87"/>
                  </a:cubicBezTo>
                  <a:close/>
                  <a:moveTo>
                    <a:pt x="1988" y="1267"/>
                  </a:moveTo>
                  <a:cubicBezTo>
                    <a:pt x="1988" y="1329"/>
                    <a:pt x="1941" y="1398"/>
                    <a:pt x="1878" y="1398"/>
                  </a:cubicBezTo>
                  <a:cubicBezTo>
                    <a:pt x="1769" y="1398"/>
                    <a:pt x="1769" y="1398"/>
                    <a:pt x="1769" y="1398"/>
                  </a:cubicBezTo>
                  <a:cubicBezTo>
                    <a:pt x="1745" y="1398"/>
                    <a:pt x="1726" y="1418"/>
                    <a:pt x="1726" y="1442"/>
                  </a:cubicBezTo>
                  <a:cubicBezTo>
                    <a:pt x="1726" y="1464"/>
                    <a:pt x="1726" y="1464"/>
                    <a:pt x="1726" y="1464"/>
                  </a:cubicBezTo>
                  <a:cubicBezTo>
                    <a:pt x="1463" y="1464"/>
                    <a:pt x="1463" y="1464"/>
                    <a:pt x="1463" y="1464"/>
                  </a:cubicBezTo>
                  <a:cubicBezTo>
                    <a:pt x="1463" y="1442"/>
                    <a:pt x="1463" y="1442"/>
                    <a:pt x="1463" y="1442"/>
                  </a:cubicBezTo>
                  <a:cubicBezTo>
                    <a:pt x="1463" y="1418"/>
                    <a:pt x="1444" y="1398"/>
                    <a:pt x="1420" y="1398"/>
                  </a:cubicBezTo>
                  <a:cubicBezTo>
                    <a:pt x="1354" y="1398"/>
                    <a:pt x="1354" y="1398"/>
                    <a:pt x="1354" y="1398"/>
                  </a:cubicBezTo>
                  <a:cubicBezTo>
                    <a:pt x="1354" y="1267"/>
                    <a:pt x="1354" y="1267"/>
                    <a:pt x="1354" y="1267"/>
                  </a:cubicBezTo>
                  <a:cubicBezTo>
                    <a:pt x="1354" y="1243"/>
                    <a:pt x="1335" y="1223"/>
                    <a:pt x="1311" y="1223"/>
                  </a:cubicBezTo>
                  <a:cubicBezTo>
                    <a:pt x="1286" y="1223"/>
                    <a:pt x="1267" y="1243"/>
                    <a:pt x="1267" y="1267"/>
                  </a:cubicBezTo>
                  <a:cubicBezTo>
                    <a:pt x="1267" y="1398"/>
                    <a:pt x="1267" y="1398"/>
                    <a:pt x="1267" y="1398"/>
                  </a:cubicBezTo>
                  <a:cubicBezTo>
                    <a:pt x="852" y="1398"/>
                    <a:pt x="852" y="1398"/>
                    <a:pt x="852" y="1398"/>
                  </a:cubicBezTo>
                  <a:cubicBezTo>
                    <a:pt x="852" y="1267"/>
                    <a:pt x="852" y="1267"/>
                    <a:pt x="852" y="1267"/>
                  </a:cubicBezTo>
                  <a:cubicBezTo>
                    <a:pt x="852" y="1243"/>
                    <a:pt x="832" y="1223"/>
                    <a:pt x="808" y="1223"/>
                  </a:cubicBezTo>
                  <a:cubicBezTo>
                    <a:pt x="784" y="1223"/>
                    <a:pt x="764" y="1243"/>
                    <a:pt x="764" y="1267"/>
                  </a:cubicBezTo>
                  <a:cubicBezTo>
                    <a:pt x="764" y="1398"/>
                    <a:pt x="764" y="1398"/>
                    <a:pt x="764" y="1398"/>
                  </a:cubicBezTo>
                  <a:cubicBezTo>
                    <a:pt x="655" y="1398"/>
                    <a:pt x="655" y="1398"/>
                    <a:pt x="655" y="1398"/>
                  </a:cubicBezTo>
                  <a:cubicBezTo>
                    <a:pt x="631" y="1398"/>
                    <a:pt x="612" y="1418"/>
                    <a:pt x="612" y="1442"/>
                  </a:cubicBezTo>
                  <a:cubicBezTo>
                    <a:pt x="612" y="1464"/>
                    <a:pt x="612" y="1464"/>
                    <a:pt x="612" y="1464"/>
                  </a:cubicBezTo>
                  <a:cubicBezTo>
                    <a:pt x="349" y="1464"/>
                    <a:pt x="349" y="1464"/>
                    <a:pt x="349" y="1464"/>
                  </a:cubicBezTo>
                  <a:cubicBezTo>
                    <a:pt x="349" y="1442"/>
                    <a:pt x="349" y="1442"/>
                    <a:pt x="349" y="1442"/>
                  </a:cubicBezTo>
                  <a:cubicBezTo>
                    <a:pt x="349" y="1418"/>
                    <a:pt x="330" y="1398"/>
                    <a:pt x="306" y="1398"/>
                  </a:cubicBezTo>
                  <a:cubicBezTo>
                    <a:pt x="218" y="1398"/>
                    <a:pt x="218" y="1398"/>
                    <a:pt x="218" y="1398"/>
                  </a:cubicBezTo>
                  <a:cubicBezTo>
                    <a:pt x="133" y="1398"/>
                    <a:pt x="87" y="1330"/>
                    <a:pt x="87" y="1267"/>
                  </a:cubicBezTo>
                  <a:cubicBezTo>
                    <a:pt x="87" y="437"/>
                    <a:pt x="87" y="437"/>
                    <a:pt x="87" y="437"/>
                  </a:cubicBezTo>
                  <a:cubicBezTo>
                    <a:pt x="87" y="352"/>
                    <a:pt x="134" y="306"/>
                    <a:pt x="218" y="306"/>
                  </a:cubicBezTo>
                  <a:cubicBezTo>
                    <a:pt x="524" y="306"/>
                    <a:pt x="524" y="306"/>
                    <a:pt x="524" y="306"/>
                  </a:cubicBezTo>
                  <a:cubicBezTo>
                    <a:pt x="524" y="808"/>
                    <a:pt x="524" y="808"/>
                    <a:pt x="524" y="808"/>
                  </a:cubicBezTo>
                  <a:cubicBezTo>
                    <a:pt x="524" y="832"/>
                    <a:pt x="544" y="852"/>
                    <a:pt x="568" y="852"/>
                  </a:cubicBezTo>
                  <a:cubicBezTo>
                    <a:pt x="592" y="852"/>
                    <a:pt x="612" y="832"/>
                    <a:pt x="612" y="808"/>
                  </a:cubicBezTo>
                  <a:cubicBezTo>
                    <a:pt x="612" y="285"/>
                    <a:pt x="612" y="285"/>
                    <a:pt x="612" y="285"/>
                  </a:cubicBezTo>
                  <a:cubicBezTo>
                    <a:pt x="637" y="270"/>
                    <a:pt x="657" y="246"/>
                    <a:pt x="668" y="219"/>
                  </a:cubicBezTo>
                  <a:cubicBezTo>
                    <a:pt x="677" y="219"/>
                    <a:pt x="677" y="219"/>
                    <a:pt x="677" y="219"/>
                  </a:cubicBezTo>
                  <a:cubicBezTo>
                    <a:pt x="1398" y="219"/>
                    <a:pt x="1398" y="219"/>
                    <a:pt x="1398" y="219"/>
                  </a:cubicBezTo>
                  <a:cubicBezTo>
                    <a:pt x="1407" y="219"/>
                    <a:pt x="1407" y="219"/>
                    <a:pt x="1407" y="219"/>
                  </a:cubicBezTo>
                  <a:cubicBezTo>
                    <a:pt x="1421" y="253"/>
                    <a:pt x="1450" y="283"/>
                    <a:pt x="1485" y="297"/>
                  </a:cubicBezTo>
                  <a:cubicBezTo>
                    <a:pt x="1485" y="808"/>
                    <a:pt x="1485" y="808"/>
                    <a:pt x="1485" y="808"/>
                  </a:cubicBezTo>
                  <a:cubicBezTo>
                    <a:pt x="1485" y="832"/>
                    <a:pt x="1505" y="852"/>
                    <a:pt x="1529" y="852"/>
                  </a:cubicBezTo>
                  <a:cubicBezTo>
                    <a:pt x="1553" y="852"/>
                    <a:pt x="1573" y="832"/>
                    <a:pt x="1573" y="808"/>
                  </a:cubicBezTo>
                  <a:cubicBezTo>
                    <a:pt x="1573" y="306"/>
                    <a:pt x="1573" y="306"/>
                    <a:pt x="1573" y="306"/>
                  </a:cubicBezTo>
                  <a:cubicBezTo>
                    <a:pt x="1878" y="306"/>
                    <a:pt x="1878" y="306"/>
                    <a:pt x="1878" y="306"/>
                  </a:cubicBezTo>
                  <a:cubicBezTo>
                    <a:pt x="1946" y="306"/>
                    <a:pt x="1988" y="356"/>
                    <a:pt x="1988" y="437"/>
                  </a:cubicBezTo>
                  <a:lnTo>
                    <a:pt x="1988" y="1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 name="Freeform 17">
              <a:extLst>
                <a:ext uri="{FF2B5EF4-FFF2-40B4-BE49-F238E27FC236}">
                  <a16:creationId xmlns:a16="http://schemas.microsoft.com/office/drawing/2014/main" id="{71A6FAB3-AF4A-488F-B931-FED8CC4B3989}"/>
                </a:ext>
              </a:extLst>
            </p:cNvPr>
            <p:cNvSpPr>
              <a:spLocks/>
            </p:cNvSpPr>
            <p:nvPr/>
          </p:nvSpPr>
          <p:spPr bwMode="auto">
            <a:xfrm>
              <a:off x="-1706563" y="2622550"/>
              <a:ext cx="131762" cy="330200"/>
            </a:xfrm>
            <a:custGeom>
              <a:avLst/>
              <a:gdLst>
                <a:gd name="T0" fmla="*/ 44 w 88"/>
                <a:gd name="T1" fmla="*/ 0 h 219"/>
                <a:gd name="T2" fmla="*/ 0 w 88"/>
                <a:gd name="T3" fmla="*/ 44 h 219"/>
                <a:gd name="T4" fmla="*/ 0 w 88"/>
                <a:gd name="T5" fmla="*/ 175 h 219"/>
                <a:gd name="T6" fmla="*/ 44 w 88"/>
                <a:gd name="T7" fmla="*/ 219 h 219"/>
                <a:gd name="T8" fmla="*/ 88 w 88"/>
                <a:gd name="T9" fmla="*/ 175 h 219"/>
                <a:gd name="T10" fmla="*/ 88 w 88"/>
                <a:gd name="T11" fmla="*/ 44 h 219"/>
                <a:gd name="T12" fmla="*/ 44 w 88"/>
                <a:gd name="T13" fmla="*/ 0 h 219"/>
              </a:gdLst>
              <a:ahLst/>
              <a:cxnLst>
                <a:cxn ang="0">
                  <a:pos x="T0" y="T1"/>
                </a:cxn>
                <a:cxn ang="0">
                  <a:pos x="T2" y="T3"/>
                </a:cxn>
                <a:cxn ang="0">
                  <a:pos x="T4" y="T5"/>
                </a:cxn>
                <a:cxn ang="0">
                  <a:pos x="T6" y="T7"/>
                </a:cxn>
                <a:cxn ang="0">
                  <a:pos x="T8" y="T9"/>
                </a:cxn>
                <a:cxn ang="0">
                  <a:pos x="T10" y="T11"/>
                </a:cxn>
                <a:cxn ang="0">
                  <a:pos x="T12" y="T13"/>
                </a:cxn>
              </a:cxnLst>
              <a:rect l="0" t="0" r="r" b="b"/>
              <a:pathLst>
                <a:path w="88" h="219">
                  <a:moveTo>
                    <a:pt x="44" y="0"/>
                  </a:moveTo>
                  <a:cubicBezTo>
                    <a:pt x="20" y="0"/>
                    <a:pt x="0" y="20"/>
                    <a:pt x="0" y="44"/>
                  </a:cubicBezTo>
                  <a:cubicBezTo>
                    <a:pt x="0" y="175"/>
                    <a:pt x="0" y="175"/>
                    <a:pt x="0" y="175"/>
                  </a:cubicBezTo>
                  <a:cubicBezTo>
                    <a:pt x="0" y="199"/>
                    <a:pt x="20" y="219"/>
                    <a:pt x="44" y="219"/>
                  </a:cubicBezTo>
                  <a:cubicBezTo>
                    <a:pt x="68" y="219"/>
                    <a:pt x="88" y="199"/>
                    <a:pt x="88" y="175"/>
                  </a:cubicBezTo>
                  <a:cubicBezTo>
                    <a:pt x="88" y="44"/>
                    <a:pt x="88" y="44"/>
                    <a:pt x="88" y="44"/>
                  </a:cubicBezTo>
                  <a:cubicBezTo>
                    <a:pt x="88" y="20"/>
                    <a:pt x="68" y="0"/>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5" name="Freeform 18">
              <a:extLst>
                <a:ext uri="{FF2B5EF4-FFF2-40B4-BE49-F238E27FC236}">
                  <a16:creationId xmlns:a16="http://schemas.microsoft.com/office/drawing/2014/main" id="{704A03B7-50A6-4B59-A9EF-9F2FFDFDBDDF}"/>
                </a:ext>
              </a:extLst>
            </p:cNvPr>
            <p:cNvSpPr>
              <a:spLocks/>
            </p:cNvSpPr>
            <p:nvPr/>
          </p:nvSpPr>
          <p:spPr bwMode="auto">
            <a:xfrm>
              <a:off x="-3151188" y="2622550"/>
              <a:ext cx="131762" cy="330200"/>
            </a:xfrm>
            <a:custGeom>
              <a:avLst/>
              <a:gdLst>
                <a:gd name="T0" fmla="*/ 44 w 88"/>
                <a:gd name="T1" fmla="*/ 0 h 219"/>
                <a:gd name="T2" fmla="*/ 0 w 88"/>
                <a:gd name="T3" fmla="*/ 44 h 219"/>
                <a:gd name="T4" fmla="*/ 0 w 88"/>
                <a:gd name="T5" fmla="*/ 175 h 219"/>
                <a:gd name="T6" fmla="*/ 44 w 88"/>
                <a:gd name="T7" fmla="*/ 219 h 219"/>
                <a:gd name="T8" fmla="*/ 88 w 88"/>
                <a:gd name="T9" fmla="*/ 175 h 219"/>
                <a:gd name="T10" fmla="*/ 88 w 88"/>
                <a:gd name="T11" fmla="*/ 44 h 219"/>
                <a:gd name="T12" fmla="*/ 44 w 88"/>
                <a:gd name="T13" fmla="*/ 0 h 219"/>
              </a:gdLst>
              <a:ahLst/>
              <a:cxnLst>
                <a:cxn ang="0">
                  <a:pos x="T0" y="T1"/>
                </a:cxn>
                <a:cxn ang="0">
                  <a:pos x="T2" y="T3"/>
                </a:cxn>
                <a:cxn ang="0">
                  <a:pos x="T4" y="T5"/>
                </a:cxn>
                <a:cxn ang="0">
                  <a:pos x="T6" y="T7"/>
                </a:cxn>
                <a:cxn ang="0">
                  <a:pos x="T8" y="T9"/>
                </a:cxn>
                <a:cxn ang="0">
                  <a:pos x="T10" y="T11"/>
                </a:cxn>
                <a:cxn ang="0">
                  <a:pos x="T12" y="T13"/>
                </a:cxn>
              </a:cxnLst>
              <a:rect l="0" t="0" r="r" b="b"/>
              <a:pathLst>
                <a:path w="88" h="219">
                  <a:moveTo>
                    <a:pt x="44" y="0"/>
                  </a:moveTo>
                  <a:cubicBezTo>
                    <a:pt x="20" y="0"/>
                    <a:pt x="0" y="20"/>
                    <a:pt x="0" y="44"/>
                  </a:cubicBezTo>
                  <a:cubicBezTo>
                    <a:pt x="0" y="175"/>
                    <a:pt x="0" y="175"/>
                    <a:pt x="0" y="175"/>
                  </a:cubicBezTo>
                  <a:cubicBezTo>
                    <a:pt x="0" y="199"/>
                    <a:pt x="20" y="219"/>
                    <a:pt x="44" y="219"/>
                  </a:cubicBezTo>
                  <a:cubicBezTo>
                    <a:pt x="68" y="219"/>
                    <a:pt x="88" y="199"/>
                    <a:pt x="88" y="175"/>
                  </a:cubicBezTo>
                  <a:cubicBezTo>
                    <a:pt x="88" y="44"/>
                    <a:pt x="88" y="44"/>
                    <a:pt x="88" y="44"/>
                  </a:cubicBezTo>
                  <a:cubicBezTo>
                    <a:pt x="88" y="20"/>
                    <a:pt x="68" y="0"/>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70" name="Group 69">
            <a:extLst>
              <a:ext uri="{FF2B5EF4-FFF2-40B4-BE49-F238E27FC236}">
                <a16:creationId xmlns:a16="http://schemas.microsoft.com/office/drawing/2014/main" id="{E298883B-F9F3-4AB7-A69B-575C1A3909AF}"/>
              </a:ext>
            </a:extLst>
          </p:cNvPr>
          <p:cNvGrpSpPr/>
          <p:nvPr/>
        </p:nvGrpSpPr>
        <p:grpSpPr>
          <a:xfrm>
            <a:off x="5604863" y="1449955"/>
            <a:ext cx="1007972" cy="590744"/>
            <a:chOff x="-3900487" y="-522288"/>
            <a:chExt cx="3236912" cy="1897063"/>
          </a:xfrm>
          <a:solidFill>
            <a:schemeClr val="accent6"/>
          </a:solidFill>
        </p:grpSpPr>
        <p:sp>
          <p:nvSpPr>
            <p:cNvPr id="71" name="Freeform 22">
              <a:extLst>
                <a:ext uri="{FF2B5EF4-FFF2-40B4-BE49-F238E27FC236}">
                  <a16:creationId xmlns:a16="http://schemas.microsoft.com/office/drawing/2014/main" id="{02800DD1-EF46-4BC8-9DEE-4BC20FDC6791}"/>
                </a:ext>
              </a:extLst>
            </p:cNvPr>
            <p:cNvSpPr>
              <a:spLocks/>
            </p:cNvSpPr>
            <p:nvPr/>
          </p:nvSpPr>
          <p:spPr bwMode="auto">
            <a:xfrm>
              <a:off x="-968375" y="609600"/>
              <a:ext cx="304800" cy="122238"/>
            </a:xfrm>
            <a:custGeom>
              <a:avLst/>
              <a:gdLst>
                <a:gd name="T0" fmla="*/ 125 w 156"/>
                <a:gd name="T1" fmla="*/ 62 h 62"/>
                <a:gd name="T2" fmla="*/ 31 w 156"/>
                <a:gd name="T3" fmla="*/ 62 h 62"/>
                <a:gd name="T4" fmla="*/ 0 w 156"/>
                <a:gd name="T5" fmla="*/ 31 h 62"/>
                <a:gd name="T6" fmla="*/ 31 w 156"/>
                <a:gd name="T7" fmla="*/ 0 h 62"/>
                <a:gd name="T8" fmla="*/ 125 w 156"/>
                <a:gd name="T9" fmla="*/ 0 h 62"/>
                <a:gd name="T10" fmla="*/ 156 w 156"/>
                <a:gd name="T11" fmla="*/ 31 h 62"/>
                <a:gd name="T12" fmla="*/ 125 w 156"/>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56" h="62">
                  <a:moveTo>
                    <a:pt x="125" y="62"/>
                  </a:moveTo>
                  <a:cubicBezTo>
                    <a:pt x="31" y="62"/>
                    <a:pt x="31" y="62"/>
                    <a:pt x="31" y="62"/>
                  </a:cubicBezTo>
                  <a:cubicBezTo>
                    <a:pt x="15" y="62"/>
                    <a:pt x="0" y="47"/>
                    <a:pt x="0" y="31"/>
                  </a:cubicBezTo>
                  <a:cubicBezTo>
                    <a:pt x="0" y="0"/>
                    <a:pt x="15" y="0"/>
                    <a:pt x="31" y="0"/>
                  </a:cubicBezTo>
                  <a:cubicBezTo>
                    <a:pt x="125" y="0"/>
                    <a:pt x="125" y="0"/>
                    <a:pt x="125" y="0"/>
                  </a:cubicBezTo>
                  <a:cubicBezTo>
                    <a:pt x="141" y="0"/>
                    <a:pt x="156" y="0"/>
                    <a:pt x="156" y="31"/>
                  </a:cubicBezTo>
                  <a:cubicBezTo>
                    <a:pt x="156" y="47"/>
                    <a:pt x="141" y="62"/>
                    <a:pt x="125"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74" name="Freeform 23">
              <a:extLst>
                <a:ext uri="{FF2B5EF4-FFF2-40B4-BE49-F238E27FC236}">
                  <a16:creationId xmlns:a16="http://schemas.microsoft.com/office/drawing/2014/main" id="{BED06992-2BC2-41E1-83E9-5E7D4D058291}"/>
                </a:ext>
              </a:extLst>
            </p:cNvPr>
            <p:cNvSpPr>
              <a:spLocks noEditPoints="1"/>
            </p:cNvSpPr>
            <p:nvPr/>
          </p:nvSpPr>
          <p:spPr bwMode="auto">
            <a:xfrm>
              <a:off x="-3900487" y="-522288"/>
              <a:ext cx="3236912" cy="1897063"/>
            </a:xfrm>
            <a:custGeom>
              <a:avLst/>
              <a:gdLst>
                <a:gd name="T0" fmla="*/ 1142 w 1658"/>
                <a:gd name="T1" fmla="*/ 814 h 970"/>
                <a:gd name="T2" fmla="*/ 1330 w 1658"/>
                <a:gd name="T3" fmla="*/ 641 h 970"/>
                <a:gd name="T4" fmla="*/ 1330 w 1658"/>
                <a:gd name="T5" fmla="*/ 579 h 970"/>
                <a:gd name="T6" fmla="*/ 1142 w 1658"/>
                <a:gd name="T7" fmla="*/ 501 h 970"/>
                <a:gd name="T8" fmla="*/ 1658 w 1658"/>
                <a:gd name="T9" fmla="*/ 469 h 970"/>
                <a:gd name="T10" fmla="*/ 1142 w 1658"/>
                <a:gd name="T11" fmla="*/ 438 h 970"/>
                <a:gd name="T12" fmla="*/ 1111 w 1658"/>
                <a:gd name="T13" fmla="*/ 313 h 970"/>
                <a:gd name="T14" fmla="*/ 923 w 1658"/>
                <a:gd name="T15" fmla="*/ 203 h 970"/>
                <a:gd name="T16" fmla="*/ 1330 w 1658"/>
                <a:gd name="T17" fmla="*/ 172 h 970"/>
                <a:gd name="T18" fmla="*/ 1298 w 1658"/>
                <a:gd name="T19" fmla="*/ 0 h 970"/>
                <a:gd name="T20" fmla="*/ 532 w 1658"/>
                <a:gd name="T21" fmla="*/ 31 h 970"/>
                <a:gd name="T22" fmla="*/ 563 w 1658"/>
                <a:gd name="T23" fmla="*/ 203 h 970"/>
                <a:gd name="T24" fmla="*/ 657 w 1658"/>
                <a:gd name="T25" fmla="*/ 313 h 970"/>
                <a:gd name="T26" fmla="*/ 438 w 1658"/>
                <a:gd name="T27" fmla="*/ 344 h 970"/>
                <a:gd name="T28" fmla="*/ 31 w 1658"/>
                <a:gd name="T29" fmla="*/ 438 h 970"/>
                <a:gd name="T30" fmla="*/ 31 w 1658"/>
                <a:gd name="T31" fmla="*/ 501 h 970"/>
                <a:gd name="T32" fmla="*/ 438 w 1658"/>
                <a:gd name="T33" fmla="*/ 579 h 970"/>
                <a:gd name="T34" fmla="*/ 31 w 1658"/>
                <a:gd name="T35" fmla="*/ 579 h 970"/>
                <a:gd name="T36" fmla="*/ 31 w 1658"/>
                <a:gd name="T37" fmla="*/ 641 h 970"/>
                <a:gd name="T38" fmla="*/ 438 w 1658"/>
                <a:gd name="T39" fmla="*/ 626 h 970"/>
                <a:gd name="T40" fmla="*/ 31 w 1658"/>
                <a:gd name="T41" fmla="*/ 814 h 970"/>
                <a:gd name="T42" fmla="*/ 31 w 1658"/>
                <a:gd name="T43" fmla="*/ 876 h 970"/>
                <a:gd name="T44" fmla="*/ 438 w 1658"/>
                <a:gd name="T45" fmla="*/ 939 h 970"/>
                <a:gd name="T46" fmla="*/ 1111 w 1658"/>
                <a:gd name="T47" fmla="*/ 970 h 970"/>
                <a:gd name="T48" fmla="*/ 1142 w 1658"/>
                <a:gd name="T49" fmla="*/ 876 h 970"/>
                <a:gd name="T50" fmla="*/ 1658 w 1658"/>
                <a:gd name="T51" fmla="*/ 845 h 970"/>
                <a:gd name="T52" fmla="*/ 594 w 1658"/>
                <a:gd name="T53" fmla="*/ 63 h 970"/>
                <a:gd name="T54" fmla="*/ 1267 w 1658"/>
                <a:gd name="T55" fmla="*/ 141 h 970"/>
                <a:gd name="T56" fmla="*/ 688 w 1658"/>
                <a:gd name="T57" fmla="*/ 141 h 970"/>
                <a:gd name="T58" fmla="*/ 594 w 1658"/>
                <a:gd name="T59" fmla="*/ 63 h 970"/>
                <a:gd name="T60" fmla="*/ 860 w 1658"/>
                <a:gd name="T61" fmla="*/ 203 h 970"/>
                <a:gd name="T62" fmla="*/ 719 w 1658"/>
                <a:gd name="T63" fmla="*/ 313 h 970"/>
                <a:gd name="T64" fmla="*/ 1079 w 1658"/>
                <a:gd name="T65" fmla="*/ 907 h 970"/>
                <a:gd name="T66" fmla="*/ 500 w 1658"/>
                <a:gd name="T67" fmla="*/ 876 h 970"/>
                <a:gd name="T68" fmla="*/ 500 w 1658"/>
                <a:gd name="T69" fmla="*/ 501 h 970"/>
                <a:gd name="T70" fmla="*/ 500 w 1658"/>
                <a:gd name="T71" fmla="*/ 375 h 970"/>
                <a:gd name="T72" fmla="*/ 719 w 1658"/>
                <a:gd name="T73" fmla="*/ 375 h 970"/>
                <a:gd name="T74" fmla="*/ 923 w 1658"/>
                <a:gd name="T75" fmla="*/ 375 h 970"/>
                <a:gd name="T76" fmla="*/ 1079 w 1658"/>
                <a:gd name="T77" fmla="*/ 438 h 970"/>
                <a:gd name="T78" fmla="*/ 1079 w 1658"/>
                <a:gd name="T79" fmla="*/ 814 h 970"/>
                <a:gd name="T80" fmla="*/ 1079 w 1658"/>
                <a:gd name="T81" fmla="*/ 907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8" h="970">
                  <a:moveTo>
                    <a:pt x="1627" y="814"/>
                  </a:moveTo>
                  <a:cubicBezTo>
                    <a:pt x="1142" y="814"/>
                    <a:pt x="1142" y="814"/>
                    <a:pt x="1142" y="814"/>
                  </a:cubicBezTo>
                  <a:cubicBezTo>
                    <a:pt x="1142" y="641"/>
                    <a:pt x="1142" y="641"/>
                    <a:pt x="1142" y="641"/>
                  </a:cubicBezTo>
                  <a:cubicBezTo>
                    <a:pt x="1330" y="641"/>
                    <a:pt x="1330" y="641"/>
                    <a:pt x="1330" y="641"/>
                  </a:cubicBezTo>
                  <a:cubicBezTo>
                    <a:pt x="1345" y="641"/>
                    <a:pt x="1361" y="626"/>
                    <a:pt x="1361" y="610"/>
                  </a:cubicBezTo>
                  <a:cubicBezTo>
                    <a:pt x="1361" y="579"/>
                    <a:pt x="1345" y="579"/>
                    <a:pt x="1330" y="579"/>
                  </a:cubicBezTo>
                  <a:cubicBezTo>
                    <a:pt x="1142" y="579"/>
                    <a:pt x="1142" y="579"/>
                    <a:pt x="1142" y="579"/>
                  </a:cubicBezTo>
                  <a:cubicBezTo>
                    <a:pt x="1142" y="501"/>
                    <a:pt x="1142" y="501"/>
                    <a:pt x="1142" y="501"/>
                  </a:cubicBezTo>
                  <a:cubicBezTo>
                    <a:pt x="1627" y="501"/>
                    <a:pt x="1627" y="501"/>
                    <a:pt x="1627" y="501"/>
                  </a:cubicBezTo>
                  <a:cubicBezTo>
                    <a:pt x="1643" y="501"/>
                    <a:pt x="1658" y="485"/>
                    <a:pt x="1658" y="469"/>
                  </a:cubicBezTo>
                  <a:cubicBezTo>
                    <a:pt x="1658" y="454"/>
                    <a:pt x="1643" y="438"/>
                    <a:pt x="1627" y="438"/>
                  </a:cubicBezTo>
                  <a:cubicBezTo>
                    <a:pt x="1142" y="438"/>
                    <a:pt x="1142" y="438"/>
                    <a:pt x="1142" y="438"/>
                  </a:cubicBezTo>
                  <a:cubicBezTo>
                    <a:pt x="1142" y="344"/>
                    <a:pt x="1142" y="344"/>
                    <a:pt x="1142" y="344"/>
                  </a:cubicBezTo>
                  <a:cubicBezTo>
                    <a:pt x="1142" y="329"/>
                    <a:pt x="1126" y="313"/>
                    <a:pt x="1111" y="313"/>
                  </a:cubicBezTo>
                  <a:cubicBezTo>
                    <a:pt x="923" y="313"/>
                    <a:pt x="923" y="313"/>
                    <a:pt x="923" y="313"/>
                  </a:cubicBezTo>
                  <a:cubicBezTo>
                    <a:pt x="923" y="203"/>
                    <a:pt x="923" y="203"/>
                    <a:pt x="923" y="203"/>
                  </a:cubicBezTo>
                  <a:cubicBezTo>
                    <a:pt x="1298" y="203"/>
                    <a:pt x="1298" y="203"/>
                    <a:pt x="1298" y="203"/>
                  </a:cubicBezTo>
                  <a:cubicBezTo>
                    <a:pt x="1314" y="203"/>
                    <a:pt x="1330" y="188"/>
                    <a:pt x="1330" y="172"/>
                  </a:cubicBezTo>
                  <a:cubicBezTo>
                    <a:pt x="1330" y="31"/>
                    <a:pt x="1330" y="31"/>
                    <a:pt x="1330" y="31"/>
                  </a:cubicBezTo>
                  <a:cubicBezTo>
                    <a:pt x="1330" y="16"/>
                    <a:pt x="1314" y="0"/>
                    <a:pt x="1298" y="0"/>
                  </a:cubicBezTo>
                  <a:cubicBezTo>
                    <a:pt x="563" y="0"/>
                    <a:pt x="563" y="0"/>
                    <a:pt x="563" y="0"/>
                  </a:cubicBezTo>
                  <a:cubicBezTo>
                    <a:pt x="532" y="0"/>
                    <a:pt x="532" y="16"/>
                    <a:pt x="532" y="31"/>
                  </a:cubicBezTo>
                  <a:cubicBezTo>
                    <a:pt x="532" y="172"/>
                    <a:pt x="532" y="172"/>
                    <a:pt x="532" y="172"/>
                  </a:cubicBezTo>
                  <a:cubicBezTo>
                    <a:pt x="532" y="188"/>
                    <a:pt x="532" y="203"/>
                    <a:pt x="563" y="203"/>
                  </a:cubicBezTo>
                  <a:cubicBezTo>
                    <a:pt x="657" y="203"/>
                    <a:pt x="657" y="203"/>
                    <a:pt x="657" y="203"/>
                  </a:cubicBezTo>
                  <a:cubicBezTo>
                    <a:pt x="657" y="313"/>
                    <a:pt x="657" y="313"/>
                    <a:pt x="657" y="313"/>
                  </a:cubicBezTo>
                  <a:cubicBezTo>
                    <a:pt x="469" y="313"/>
                    <a:pt x="469" y="313"/>
                    <a:pt x="469" y="313"/>
                  </a:cubicBezTo>
                  <a:cubicBezTo>
                    <a:pt x="454" y="313"/>
                    <a:pt x="438" y="329"/>
                    <a:pt x="438" y="344"/>
                  </a:cubicBezTo>
                  <a:cubicBezTo>
                    <a:pt x="438" y="438"/>
                    <a:pt x="438" y="438"/>
                    <a:pt x="438" y="438"/>
                  </a:cubicBezTo>
                  <a:cubicBezTo>
                    <a:pt x="31" y="438"/>
                    <a:pt x="31" y="438"/>
                    <a:pt x="31" y="438"/>
                  </a:cubicBezTo>
                  <a:cubicBezTo>
                    <a:pt x="15" y="438"/>
                    <a:pt x="0" y="454"/>
                    <a:pt x="0" y="469"/>
                  </a:cubicBezTo>
                  <a:cubicBezTo>
                    <a:pt x="0" y="485"/>
                    <a:pt x="15" y="501"/>
                    <a:pt x="31" y="501"/>
                  </a:cubicBezTo>
                  <a:cubicBezTo>
                    <a:pt x="438" y="501"/>
                    <a:pt x="438" y="501"/>
                    <a:pt x="438" y="501"/>
                  </a:cubicBezTo>
                  <a:cubicBezTo>
                    <a:pt x="438" y="579"/>
                    <a:pt x="438" y="579"/>
                    <a:pt x="438" y="579"/>
                  </a:cubicBezTo>
                  <a:cubicBezTo>
                    <a:pt x="438" y="579"/>
                    <a:pt x="438" y="579"/>
                    <a:pt x="438" y="579"/>
                  </a:cubicBezTo>
                  <a:cubicBezTo>
                    <a:pt x="31" y="579"/>
                    <a:pt x="31" y="579"/>
                    <a:pt x="31" y="579"/>
                  </a:cubicBezTo>
                  <a:cubicBezTo>
                    <a:pt x="15" y="579"/>
                    <a:pt x="0" y="579"/>
                    <a:pt x="0" y="610"/>
                  </a:cubicBezTo>
                  <a:cubicBezTo>
                    <a:pt x="0" y="626"/>
                    <a:pt x="15" y="641"/>
                    <a:pt x="31" y="641"/>
                  </a:cubicBezTo>
                  <a:cubicBezTo>
                    <a:pt x="438" y="641"/>
                    <a:pt x="438" y="641"/>
                    <a:pt x="438" y="641"/>
                  </a:cubicBezTo>
                  <a:cubicBezTo>
                    <a:pt x="438" y="626"/>
                    <a:pt x="438" y="626"/>
                    <a:pt x="438" y="626"/>
                  </a:cubicBezTo>
                  <a:cubicBezTo>
                    <a:pt x="438" y="814"/>
                    <a:pt x="438" y="814"/>
                    <a:pt x="438" y="814"/>
                  </a:cubicBezTo>
                  <a:cubicBezTo>
                    <a:pt x="31" y="814"/>
                    <a:pt x="31" y="814"/>
                    <a:pt x="31" y="814"/>
                  </a:cubicBezTo>
                  <a:cubicBezTo>
                    <a:pt x="15" y="814"/>
                    <a:pt x="0" y="829"/>
                    <a:pt x="0" y="845"/>
                  </a:cubicBezTo>
                  <a:cubicBezTo>
                    <a:pt x="0" y="860"/>
                    <a:pt x="15" y="876"/>
                    <a:pt x="31" y="876"/>
                  </a:cubicBezTo>
                  <a:cubicBezTo>
                    <a:pt x="438" y="876"/>
                    <a:pt x="438" y="876"/>
                    <a:pt x="438" y="876"/>
                  </a:cubicBezTo>
                  <a:cubicBezTo>
                    <a:pt x="438" y="939"/>
                    <a:pt x="438" y="939"/>
                    <a:pt x="438" y="939"/>
                  </a:cubicBezTo>
                  <a:cubicBezTo>
                    <a:pt x="438" y="954"/>
                    <a:pt x="454" y="970"/>
                    <a:pt x="469" y="970"/>
                  </a:cubicBezTo>
                  <a:cubicBezTo>
                    <a:pt x="1111" y="970"/>
                    <a:pt x="1111" y="970"/>
                    <a:pt x="1111" y="970"/>
                  </a:cubicBezTo>
                  <a:cubicBezTo>
                    <a:pt x="1126" y="970"/>
                    <a:pt x="1142" y="954"/>
                    <a:pt x="1142" y="939"/>
                  </a:cubicBezTo>
                  <a:cubicBezTo>
                    <a:pt x="1142" y="876"/>
                    <a:pt x="1142" y="876"/>
                    <a:pt x="1142" y="876"/>
                  </a:cubicBezTo>
                  <a:cubicBezTo>
                    <a:pt x="1627" y="876"/>
                    <a:pt x="1627" y="876"/>
                    <a:pt x="1627" y="876"/>
                  </a:cubicBezTo>
                  <a:cubicBezTo>
                    <a:pt x="1643" y="876"/>
                    <a:pt x="1658" y="860"/>
                    <a:pt x="1658" y="845"/>
                  </a:cubicBezTo>
                  <a:cubicBezTo>
                    <a:pt x="1658" y="829"/>
                    <a:pt x="1643" y="814"/>
                    <a:pt x="1627" y="814"/>
                  </a:cubicBezTo>
                  <a:close/>
                  <a:moveTo>
                    <a:pt x="594" y="63"/>
                  </a:moveTo>
                  <a:cubicBezTo>
                    <a:pt x="1267" y="63"/>
                    <a:pt x="1267" y="63"/>
                    <a:pt x="1267" y="63"/>
                  </a:cubicBezTo>
                  <a:cubicBezTo>
                    <a:pt x="1267" y="141"/>
                    <a:pt x="1267" y="141"/>
                    <a:pt x="1267" y="141"/>
                  </a:cubicBezTo>
                  <a:cubicBezTo>
                    <a:pt x="892" y="141"/>
                    <a:pt x="892" y="141"/>
                    <a:pt x="892" y="141"/>
                  </a:cubicBezTo>
                  <a:cubicBezTo>
                    <a:pt x="688" y="141"/>
                    <a:pt x="688" y="141"/>
                    <a:pt x="688" y="141"/>
                  </a:cubicBezTo>
                  <a:cubicBezTo>
                    <a:pt x="594" y="141"/>
                    <a:pt x="594" y="141"/>
                    <a:pt x="594" y="141"/>
                  </a:cubicBezTo>
                  <a:lnTo>
                    <a:pt x="594" y="63"/>
                  </a:lnTo>
                  <a:close/>
                  <a:moveTo>
                    <a:pt x="719" y="203"/>
                  </a:moveTo>
                  <a:cubicBezTo>
                    <a:pt x="860" y="203"/>
                    <a:pt x="860" y="203"/>
                    <a:pt x="860" y="203"/>
                  </a:cubicBezTo>
                  <a:cubicBezTo>
                    <a:pt x="860" y="313"/>
                    <a:pt x="860" y="313"/>
                    <a:pt x="860" y="313"/>
                  </a:cubicBezTo>
                  <a:cubicBezTo>
                    <a:pt x="719" y="313"/>
                    <a:pt x="719" y="313"/>
                    <a:pt x="719" y="313"/>
                  </a:cubicBezTo>
                  <a:lnTo>
                    <a:pt x="719" y="203"/>
                  </a:lnTo>
                  <a:close/>
                  <a:moveTo>
                    <a:pt x="1079" y="907"/>
                  </a:moveTo>
                  <a:cubicBezTo>
                    <a:pt x="500" y="907"/>
                    <a:pt x="500" y="907"/>
                    <a:pt x="500" y="907"/>
                  </a:cubicBezTo>
                  <a:cubicBezTo>
                    <a:pt x="500" y="876"/>
                    <a:pt x="500" y="876"/>
                    <a:pt x="500" y="876"/>
                  </a:cubicBezTo>
                  <a:cubicBezTo>
                    <a:pt x="500" y="814"/>
                    <a:pt x="500" y="814"/>
                    <a:pt x="500" y="814"/>
                  </a:cubicBezTo>
                  <a:cubicBezTo>
                    <a:pt x="500" y="501"/>
                    <a:pt x="500" y="501"/>
                    <a:pt x="500" y="501"/>
                  </a:cubicBezTo>
                  <a:cubicBezTo>
                    <a:pt x="500" y="438"/>
                    <a:pt x="500" y="438"/>
                    <a:pt x="500" y="438"/>
                  </a:cubicBezTo>
                  <a:cubicBezTo>
                    <a:pt x="500" y="375"/>
                    <a:pt x="500" y="375"/>
                    <a:pt x="500" y="375"/>
                  </a:cubicBezTo>
                  <a:cubicBezTo>
                    <a:pt x="657" y="375"/>
                    <a:pt x="657" y="375"/>
                    <a:pt x="657" y="375"/>
                  </a:cubicBezTo>
                  <a:cubicBezTo>
                    <a:pt x="719" y="375"/>
                    <a:pt x="719" y="375"/>
                    <a:pt x="719" y="375"/>
                  </a:cubicBezTo>
                  <a:cubicBezTo>
                    <a:pt x="860" y="375"/>
                    <a:pt x="860" y="375"/>
                    <a:pt x="860" y="375"/>
                  </a:cubicBezTo>
                  <a:cubicBezTo>
                    <a:pt x="923" y="375"/>
                    <a:pt x="923" y="375"/>
                    <a:pt x="923" y="375"/>
                  </a:cubicBezTo>
                  <a:cubicBezTo>
                    <a:pt x="1079" y="375"/>
                    <a:pt x="1079" y="375"/>
                    <a:pt x="1079" y="375"/>
                  </a:cubicBezTo>
                  <a:cubicBezTo>
                    <a:pt x="1079" y="438"/>
                    <a:pt x="1079" y="438"/>
                    <a:pt x="1079" y="438"/>
                  </a:cubicBezTo>
                  <a:cubicBezTo>
                    <a:pt x="1079" y="501"/>
                    <a:pt x="1079" y="501"/>
                    <a:pt x="1079" y="501"/>
                  </a:cubicBezTo>
                  <a:cubicBezTo>
                    <a:pt x="1079" y="814"/>
                    <a:pt x="1079" y="814"/>
                    <a:pt x="1079" y="814"/>
                  </a:cubicBezTo>
                  <a:cubicBezTo>
                    <a:pt x="1079" y="876"/>
                    <a:pt x="1079" y="876"/>
                    <a:pt x="1079" y="876"/>
                  </a:cubicBezTo>
                  <a:lnTo>
                    <a:pt x="1079" y="9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75" name="Freeform 27">
            <a:extLst>
              <a:ext uri="{FF2B5EF4-FFF2-40B4-BE49-F238E27FC236}">
                <a16:creationId xmlns:a16="http://schemas.microsoft.com/office/drawing/2014/main" id="{A296BDF3-5CB8-49D9-AE34-42F64E24B032}"/>
              </a:ext>
            </a:extLst>
          </p:cNvPr>
          <p:cNvSpPr>
            <a:spLocks noEditPoints="1"/>
          </p:cNvSpPr>
          <p:nvPr/>
        </p:nvSpPr>
        <p:spPr bwMode="auto">
          <a:xfrm>
            <a:off x="9211452" y="1428046"/>
            <a:ext cx="770324" cy="729143"/>
          </a:xfrm>
          <a:custGeom>
            <a:avLst/>
            <a:gdLst>
              <a:gd name="T0" fmla="*/ 1732 w 1816"/>
              <a:gd name="T1" fmla="*/ 1141 h 1718"/>
              <a:gd name="T2" fmla="*/ 172 w 1816"/>
              <a:gd name="T3" fmla="*/ 49 h 1718"/>
              <a:gd name="T4" fmla="*/ 1578 w 1816"/>
              <a:gd name="T5" fmla="*/ 1116 h 1718"/>
              <a:gd name="T6" fmla="*/ 1535 w 1816"/>
              <a:gd name="T7" fmla="*/ 1133 h 1718"/>
              <a:gd name="T8" fmla="*/ 1448 w 1816"/>
              <a:gd name="T9" fmla="*/ 1031 h 1718"/>
              <a:gd name="T10" fmla="*/ 1399 w 1816"/>
              <a:gd name="T11" fmla="*/ 1077 h 1718"/>
              <a:gd name="T12" fmla="*/ 1347 w 1816"/>
              <a:gd name="T13" fmla="*/ 1080 h 1718"/>
              <a:gd name="T14" fmla="*/ 1313 w 1816"/>
              <a:gd name="T15" fmla="*/ 1006 h 1718"/>
              <a:gd name="T16" fmla="*/ 1252 w 1816"/>
              <a:gd name="T17" fmla="*/ 979 h 1718"/>
              <a:gd name="T18" fmla="*/ 98 w 1816"/>
              <a:gd name="T19" fmla="*/ 221 h 1718"/>
              <a:gd name="T20" fmla="*/ 74 w 1816"/>
              <a:gd name="T21" fmla="*/ 221 h 1718"/>
              <a:gd name="T22" fmla="*/ 49 w 1816"/>
              <a:gd name="T23" fmla="*/ 319 h 1718"/>
              <a:gd name="T24" fmla="*/ 1116 w 1816"/>
              <a:gd name="T25" fmla="*/ 1349 h 1718"/>
              <a:gd name="T26" fmla="*/ 1006 w 1816"/>
              <a:gd name="T27" fmla="*/ 1227 h 1718"/>
              <a:gd name="T28" fmla="*/ 1065 w 1816"/>
              <a:gd name="T29" fmla="*/ 1374 h 1718"/>
              <a:gd name="T30" fmla="*/ 98 w 1816"/>
              <a:gd name="T31" fmla="*/ 491 h 1718"/>
              <a:gd name="T32" fmla="*/ 49 w 1816"/>
              <a:gd name="T33" fmla="*/ 565 h 1718"/>
              <a:gd name="T34" fmla="*/ 803 w 1816"/>
              <a:gd name="T35" fmla="*/ 1409 h 1718"/>
              <a:gd name="T36" fmla="*/ 687 w 1816"/>
              <a:gd name="T37" fmla="*/ 1276 h 1718"/>
              <a:gd name="T38" fmla="*/ 750 w 1816"/>
              <a:gd name="T39" fmla="*/ 1429 h 1718"/>
              <a:gd name="T40" fmla="*/ 98 w 1816"/>
              <a:gd name="T41" fmla="*/ 785 h 1718"/>
              <a:gd name="T42" fmla="*/ 49 w 1816"/>
              <a:gd name="T43" fmla="*/ 883 h 1718"/>
              <a:gd name="T44" fmla="*/ 657 w 1816"/>
              <a:gd name="T45" fmla="*/ 1632 h 1718"/>
              <a:gd name="T46" fmla="*/ 810 w 1816"/>
              <a:gd name="T47" fmla="*/ 1718 h 1718"/>
              <a:gd name="T48" fmla="*/ 982 w 1816"/>
              <a:gd name="T49" fmla="*/ 1620 h 1718"/>
              <a:gd name="T50" fmla="*/ 1080 w 1816"/>
              <a:gd name="T51" fmla="*/ 1644 h 1718"/>
              <a:gd name="T52" fmla="*/ 1227 w 1816"/>
              <a:gd name="T53" fmla="*/ 1644 h 1718"/>
              <a:gd name="T54" fmla="*/ 1325 w 1816"/>
              <a:gd name="T55" fmla="*/ 1423 h 1718"/>
              <a:gd name="T56" fmla="*/ 1325 w 1816"/>
              <a:gd name="T57" fmla="*/ 1399 h 1718"/>
              <a:gd name="T58" fmla="*/ 1423 w 1816"/>
              <a:gd name="T59" fmla="*/ 1350 h 1718"/>
              <a:gd name="T60" fmla="*/ 1570 w 1816"/>
              <a:gd name="T61" fmla="*/ 1423 h 1718"/>
              <a:gd name="T62" fmla="*/ 1767 w 1816"/>
              <a:gd name="T63" fmla="*/ 1202 h 1718"/>
              <a:gd name="T64" fmla="*/ 859 w 1816"/>
              <a:gd name="T65" fmla="*/ 1620 h 1718"/>
              <a:gd name="T66" fmla="*/ 736 w 1816"/>
              <a:gd name="T67" fmla="*/ 1570 h 1718"/>
              <a:gd name="T68" fmla="*/ 859 w 1816"/>
              <a:gd name="T69" fmla="*/ 1497 h 1718"/>
              <a:gd name="T70" fmla="*/ 908 w 1816"/>
              <a:gd name="T71" fmla="*/ 1570 h 1718"/>
              <a:gd name="T72" fmla="*/ 1178 w 1816"/>
              <a:gd name="T73" fmla="*/ 1546 h 1718"/>
              <a:gd name="T74" fmla="*/ 1080 w 1816"/>
              <a:gd name="T75" fmla="*/ 1521 h 1718"/>
              <a:gd name="T76" fmla="*/ 1178 w 1816"/>
              <a:gd name="T77" fmla="*/ 1448 h 1718"/>
              <a:gd name="T78" fmla="*/ 1252 w 1816"/>
              <a:gd name="T79" fmla="*/ 1472 h 1718"/>
              <a:gd name="T80" fmla="*/ 1400 w 1816"/>
              <a:gd name="T81" fmla="*/ 1130 h 1718"/>
              <a:gd name="T82" fmla="*/ 1409 w 1816"/>
              <a:gd name="T83" fmla="*/ 1093 h 1718"/>
              <a:gd name="T84" fmla="*/ 1447 w 1816"/>
              <a:gd name="T85" fmla="*/ 1200 h 1718"/>
              <a:gd name="T86" fmla="*/ 1400 w 1816"/>
              <a:gd name="T87" fmla="*/ 1130 h 1718"/>
              <a:gd name="T88" fmla="*/ 1546 w 1816"/>
              <a:gd name="T89" fmla="*/ 1325 h 1718"/>
              <a:gd name="T90" fmla="*/ 1570 w 1816"/>
              <a:gd name="T91" fmla="*/ 1227 h 1718"/>
              <a:gd name="T92" fmla="*/ 1644 w 1816"/>
              <a:gd name="T93" fmla="*/ 1202 h 1718"/>
              <a:gd name="T94" fmla="*/ 1669 w 1816"/>
              <a:gd name="T95" fmla="*/ 1227 h 1718"/>
              <a:gd name="T96" fmla="*/ 1620 w 1816"/>
              <a:gd name="T97" fmla="*/ 1325 h 1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16" h="1718">
                <a:moveTo>
                  <a:pt x="1767" y="1202"/>
                </a:moveTo>
                <a:cubicBezTo>
                  <a:pt x="1767" y="1176"/>
                  <a:pt x="1753" y="1157"/>
                  <a:pt x="1732" y="1141"/>
                </a:cubicBezTo>
                <a:cubicBezTo>
                  <a:pt x="1119" y="389"/>
                  <a:pt x="246" y="25"/>
                  <a:pt x="246" y="25"/>
                </a:cubicBezTo>
                <a:cubicBezTo>
                  <a:pt x="221" y="0"/>
                  <a:pt x="197" y="25"/>
                  <a:pt x="172" y="49"/>
                </a:cubicBezTo>
                <a:cubicBezTo>
                  <a:pt x="172" y="74"/>
                  <a:pt x="172" y="98"/>
                  <a:pt x="197" y="123"/>
                </a:cubicBezTo>
                <a:cubicBezTo>
                  <a:pt x="220" y="123"/>
                  <a:pt x="996" y="433"/>
                  <a:pt x="1578" y="1116"/>
                </a:cubicBezTo>
                <a:cubicBezTo>
                  <a:pt x="1568" y="1119"/>
                  <a:pt x="1557" y="1123"/>
                  <a:pt x="1546" y="1129"/>
                </a:cubicBezTo>
                <a:cubicBezTo>
                  <a:pt x="1542" y="1130"/>
                  <a:pt x="1539" y="1132"/>
                  <a:pt x="1535" y="1133"/>
                </a:cubicBezTo>
                <a:cubicBezTo>
                  <a:pt x="1532" y="1130"/>
                  <a:pt x="1527" y="1129"/>
                  <a:pt x="1521" y="1129"/>
                </a:cubicBezTo>
                <a:cubicBezTo>
                  <a:pt x="1521" y="1129"/>
                  <a:pt x="1521" y="1129"/>
                  <a:pt x="1448" y="1031"/>
                </a:cubicBezTo>
                <a:cubicBezTo>
                  <a:pt x="1448" y="1031"/>
                  <a:pt x="1423" y="1031"/>
                  <a:pt x="1399" y="1031"/>
                </a:cubicBezTo>
                <a:cubicBezTo>
                  <a:pt x="1399" y="1054"/>
                  <a:pt x="1399" y="1055"/>
                  <a:pt x="1399" y="1077"/>
                </a:cubicBezTo>
                <a:cubicBezTo>
                  <a:pt x="1385" y="1065"/>
                  <a:pt x="1361" y="1065"/>
                  <a:pt x="1348" y="1078"/>
                </a:cubicBezTo>
                <a:cubicBezTo>
                  <a:pt x="1348" y="1079"/>
                  <a:pt x="1347" y="1079"/>
                  <a:pt x="1347" y="1080"/>
                </a:cubicBezTo>
                <a:cubicBezTo>
                  <a:pt x="1332" y="1063"/>
                  <a:pt x="1318" y="1047"/>
                  <a:pt x="1303" y="1031"/>
                </a:cubicBezTo>
                <a:cubicBezTo>
                  <a:pt x="1309" y="1025"/>
                  <a:pt x="1313" y="1016"/>
                  <a:pt x="1313" y="1006"/>
                </a:cubicBezTo>
                <a:cubicBezTo>
                  <a:pt x="1313" y="996"/>
                  <a:pt x="1309" y="987"/>
                  <a:pt x="1302" y="980"/>
                </a:cubicBezTo>
                <a:cubicBezTo>
                  <a:pt x="1289" y="967"/>
                  <a:pt x="1266" y="967"/>
                  <a:pt x="1252" y="979"/>
                </a:cubicBezTo>
                <a:cubicBezTo>
                  <a:pt x="805" y="528"/>
                  <a:pt x="240" y="274"/>
                  <a:pt x="103" y="229"/>
                </a:cubicBezTo>
                <a:cubicBezTo>
                  <a:pt x="100" y="226"/>
                  <a:pt x="98" y="223"/>
                  <a:pt x="98" y="221"/>
                </a:cubicBezTo>
                <a:cubicBezTo>
                  <a:pt x="92" y="221"/>
                  <a:pt x="84" y="221"/>
                  <a:pt x="76" y="221"/>
                </a:cubicBezTo>
                <a:cubicBezTo>
                  <a:pt x="76" y="221"/>
                  <a:pt x="74" y="221"/>
                  <a:pt x="74" y="221"/>
                </a:cubicBezTo>
                <a:cubicBezTo>
                  <a:pt x="49" y="196"/>
                  <a:pt x="25" y="221"/>
                  <a:pt x="25" y="246"/>
                </a:cubicBezTo>
                <a:cubicBezTo>
                  <a:pt x="0" y="270"/>
                  <a:pt x="25" y="295"/>
                  <a:pt x="49" y="319"/>
                </a:cubicBezTo>
                <a:cubicBezTo>
                  <a:pt x="49" y="319"/>
                  <a:pt x="860" y="736"/>
                  <a:pt x="1177" y="1340"/>
                </a:cubicBezTo>
                <a:cubicBezTo>
                  <a:pt x="1158" y="1343"/>
                  <a:pt x="1137" y="1347"/>
                  <a:pt x="1116" y="1349"/>
                </a:cubicBezTo>
                <a:cubicBezTo>
                  <a:pt x="1106" y="1329"/>
                  <a:pt x="1088" y="1293"/>
                  <a:pt x="1055" y="1227"/>
                </a:cubicBezTo>
                <a:cubicBezTo>
                  <a:pt x="1055" y="1227"/>
                  <a:pt x="1031" y="1202"/>
                  <a:pt x="1006" y="1227"/>
                </a:cubicBezTo>
                <a:cubicBezTo>
                  <a:pt x="982" y="1227"/>
                  <a:pt x="982" y="1251"/>
                  <a:pt x="1006" y="1276"/>
                </a:cubicBezTo>
                <a:cubicBezTo>
                  <a:pt x="1006" y="1276"/>
                  <a:pt x="1006" y="1276"/>
                  <a:pt x="1065" y="1374"/>
                </a:cubicBezTo>
                <a:cubicBezTo>
                  <a:pt x="1051" y="1385"/>
                  <a:pt x="1038" y="1397"/>
                  <a:pt x="1027" y="1409"/>
                </a:cubicBezTo>
                <a:cubicBezTo>
                  <a:pt x="730" y="838"/>
                  <a:pt x="121" y="491"/>
                  <a:pt x="98" y="491"/>
                </a:cubicBezTo>
                <a:cubicBezTo>
                  <a:pt x="74" y="466"/>
                  <a:pt x="25" y="466"/>
                  <a:pt x="25" y="491"/>
                </a:cubicBezTo>
                <a:cubicBezTo>
                  <a:pt x="0" y="515"/>
                  <a:pt x="25" y="565"/>
                  <a:pt x="49" y="565"/>
                </a:cubicBezTo>
                <a:cubicBezTo>
                  <a:pt x="49" y="565"/>
                  <a:pt x="620" y="891"/>
                  <a:pt x="907" y="1413"/>
                </a:cubicBezTo>
                <a:cubicBezTo>
                  <a:pt x="874" y="1403"/>
                  <a:pt x="838" y="1400"/>
                  <a:pt x="803" y="1409"/>
                </a:cubicBezTo>
                <a:cubicBezTo>
                  <a:pt x="794" y="1392"/>
                  <a:pt x="776" y="1355"/>
                  <a:pt x="736" y="1276"/>
                </a:cubicBezTo>
                <a:cubicBezTo>
                  <a:pt x="736" y="1276"/>
                  <a:pt x="712" y="1276"/>
                  <a:pt x="687" y="1276"/>
                </a:cubicBezTo>
                <a:cubicBezTo>
                  <a:pt x="687" y="1276"/>
                  <a:pt x="663" y="1301"/>
                  <a:pt x="687" y="1325"/>
                </a:cubicBezTo>
                <a:cubicBezTo>
                  <a:pt x="687" y="1325"/>
                  <a:pt x="687" y="1325"/>
                  <a:pt x="750" y="1429"/>
                </a:cubicBezTo>
                <a:cubicBezTo>
                  <a:pt x="726" y="1442"/>
                  <a:pt x="709" y="1455"/>
                  <a:pt x="694" y="1472"/>
                </a:cubicBezTo>
                <a:cubicBezTo>
                  <a:pt x="467" y="983"/>
                  <a:pt x="98" y="808"/>
                  <a:pt x="98" y="785"/>
                </a:cubicBezTo>
                <a:cubicBezTo>
                  <a:pt x="74" y="785"/>
                  <a:pt x="25" y="785"/>
                  <a:pt x="25" y="810"/>
                </a:cubicBezTo>
                <a:cubicBezTo>
                  <a:pt x="0" y="834"/>
                  <a:pt x="25" y="859"/>
                  <a:pt x="49" y="883"/>
                </a:cubicBezTo>
                <a:cubicBezTo>
                  <a:pt x="49" y="883"/>
                  <a:pt x="442" y="1080"/>
                  <a:pt x="638" y="1595"/>
                </a:cubicBezTo>
                <a:cubicBezTo>
                  <a:pt x="638" y="1609"/>
                  <a:pt x="646" y="1623"/>
                  <a:pt x="657" y="1632"/>
                </a:cubicBezTo>
                <a:cubicBezTo>
                  <a:pt x="659" y="1636"/>
                  <a:pt x="661" y="1640"/>
                  <a:pt x="663" y="1644"/>
                </a:cubicBezTo>
                <a:cubicBezTo>
                  <a:pt x="687" y="1693"/>
                  <a:pt x="736" y="1718"/>
                  <a:pt x="810" y="1718"/>
                </a:cubicBezTo>
                <a:cubicBezTo>
                  <a:pt x="834" y="1718"/>
                  <a:pt x="859" y="1718"/>
                  <a:pt x="883" y="1718"/>
                </a:cubicBezTo>
                <a:cubicBezTo>
                  <a:pt x="933" y="1693"/>
                  <a:pt x="982" y="1669"/>
                  <a:pt x="982" y="1620"/>
                </a:cubicBezTo>
                <a:cubicBezTo>
                  <a:pt x="986" y="1610"/>
                  <a:pt x="991" y="1602"/>
                  <a:pt x="995" y="1594"/>
                </a:cubicBezTo>
                <a:cubicBezTo>
                  <a:pt x="1016" y="1627"/>
                  <a:pt x="1040" y="1644"/>
                  <a:pt x="1080" y="1644"/>
                </a:cubicBezTo>
                <a:cubicBezTo>
                  <a:pt x="1104" y="1644"/>
                  <a:pt x="1129" y="1669"/>
                  <a:pt x="1129" y="1669"/>
                </a:cubicBezTo>
                <a:cubicBezTo>
                  <a:pt x="1153" y="1669"/>
                  <a:pt x="1202" y="1644"/>
                  <a:pt x="1227" y="1644"/>
                </a:cubicBezTo>
                <a:cubicBezTo>
                  <a:pt x="1276" y="1620"/>
                  <a:pt x="1301" y="1595"/>
                  <a:pt x="1325" y="1546"/>
                </a:cubicBezTo>
                <a:cubicBezTo>
                  <a:pt x="1350" y="1521"/>
                  <a:pt x="1350" y="1472"/>
                  <a:pt x="1325" y="1423"/>
                </a:cubicBezTo>
                <a:cubicBezTo>
                  <a:pt x="1325" y="1423"/>
                  <a:pt x="1325" y="1422"/>
                  <a:pt x="1325" y="1421"/>
                </a:cubicBezTo>
                <a:cubicBezTo>
                  <a:pt x="1325" y="1413"/>
                  <a:pt x="1325" y="1405"/>
                  <a:pt x="1325" y="1399"/>
                </a:cubicBezTo>
                <a:cubicBezTo>
                  <a:pt x="1235" y="1174"/>
                  <a:pt x="1072" y="977"/>
                  <a:pt x="903" y="812"/>
                </a:cubicBezTo>
                <a:cubicBezTo>
                  <a:pt x="1095" y="960"/>
                  <a:pt x="1284" y="1140"/>
                  <a:pt x="1423" y="1350"/>
                </a:cubicBezTo>
                <a:cubicBezTo>
                  <a:pt x="1448" y="1374"/>
                  <a:pt x="1472" y="1399"/>
                  <a:pt x="1521" y="1423"/>
                </a:cubicBezTo>
                <a:cubicBezTo>
                  <a:pt x="1546" y="1423"/>
                  <a:pt x="1570" y="1423"/>
                  <a:pt x="1570" y="1423"/>
                </a:cubicBezTo>
                <a:cubicBezTo>
                  <a:pt x="1595" y="1423"/>
                  <a:pt x="1644" y="1423"/>
                  <a:pt x="1669" y="1399"/>
                </a:cubicBezTo>
                <a:cubicBezTo>
                  <a:pt x="1767" y="1374"/>
                  <a:pt x="1816" y="1276"/>
                  <a:pt x="1767" y="1202"/>
                </a:cubicBezTo>
                <a:close/>
                <a:moveTo>
                  <a:pt x="908" y="1570"/>
                </a:moveTo>
                <a:cubicBezTo>
                  <a:pt x="908" y="1595"/>
                  <a:pt x="883" y="1620"/>
                  <a:pt x="859" y="1620"/>
                </a:cubicBezTo>
                <a:cubicBezTo>
                  <a:pt x="810" y="1644"/>
                  <a:pt x="761" y="1620"/>
                  <a:pt x="736" y="1595"/>
                </a:cubicBezTo>
                <a:cubicBezTo>
                  <a:pt x="736" y="1570"/>
                  <a:pt x="736" y="1570"/>
                  <a:pt x="736" y="1570"/>
                </a:cubicBezTo>
                <a:cubicBezTo>
                  <a:pt x="761" y="1546"/>
                  <a:pt x="785" y="1521"/>
                  <a:pt x="810" y="1521"/>
                </a:cubicBezTo>
                <a:cubicBezTo>
                  <a:pt x="834" y="1497"/>
                  <a:pt x="834" y="1497"/>
                  <a:pt x="859" y="1497"/>
                </a:cubicBezTo>
                <a:cubicBezTo>
                  <a:pt x="883" y="1497"/>
                  <a:pt x="908" y="1521"/>
                  <a:pt x="908" y="1521"/>
                </a:cubicBezTo>
                <a:cubicBezTo>
                  <a:pt x="933" y="1546"/>
                  <a:pt x="908" y="1570"/>
                  <a:pt x="908" y="1570"/>
                </a:cubicBezTo>
                <a:close/>
                <a:moveTo>
                  <a:pt x="1227" y="1497"/>
                </a:moveTo>
                <a:cubicBezTo>
                  <a:pt x="1227" y="1521"/>
                  <a:pt x="1202" y="1546"/>
                  <a:pt x="1178" y="1546"/>
                </a:cubicBezTo>
                <a:cubicBezTo>
                  <a:pt x="1153" y="1570"/>
                  <a:pt x="1129" y="1570"/>
                  <a:pt x="1104" y="1546"/>
                </a:cubicBezTo>
                <a:cubicBezTo>
                  <a:pt x="1104" y="1546"/>
                  <a:pt x="1080" y="1546"/>
                  <a:pt x="1080" y="1521"/>
                </a:cubicBezTo>
                <a:cubicBezTo>
                  <a:pt x="1080" y="1497"/>
                  <a:pt x="1104" y="1472"/>
                  <a:pt x="1153" y="1448"/>
                </a:cubicBezTo>
                <a:cubicBezTo>
                  <a:pt x="1178" y="1448"/>
                  <a:pt x="1178" y="1448"/>
                  <a:pt x="1178" y="1448"/>
                </a:cubicBezTo>
                <a:cubicBezTo>
                  <a:pt x="1202" y="1448"/>
                  <a:pt x="1202" y="1448"/>
                  <a:pt x="1202" y="1448"/>
                </a:cubicBezTo>
                <a:cubicBezTo>
                  <a:pt x="1227" y="1448"/>
                  <a:pt x="1227" y="1448"/>
                  <a:pt x="1252" y="1472"/>
                </a:cubicBezTo>
                <a:cubicBezTo>
                  <a:pt x="1252" y="1472"/>
                  <a:pt x="1252" y="1497"/>
                  <a:pt x="1227" y="1497"/>
                </a:cubicBezTo>
                <a:close/>
                <a:moveTo>
                  <a:pt x="1400" y="1130"/>
                </a:moveTo>
                <a:cubicBezTo>
                  <a:pt x="1407" y="1123"/>
                  <a:pt x="1411" y="1114"/>
                  <a:pt x="1411" y="1104"/>
                </a:cubicBezTo>
                <a:cubicBezTo>
                  <a:pt x="1411" y="1101"/>
                  <a:pt x="1410" y="1097"/>
                  <a:pt x="1409" y="1093"/>
                </a:cubicBezTo>
                <a:cubicBezTo>
                  <a:pt x="1418" y="1105"/>
                  <a:pt x="1435" y="1129"/>
                  <a:pt x="1469" y="1173"/>
                </a:cubicBezTo>
                <a:cubicBezTo>
                  <a:pt x="1460" y="1181"/>
                  <a:pt x="1453" y="1190"/>
                  <a:pt x="1447" y="1200"/>
                </a:cubicBezTo>
                <a:cubicBezTo>
                  <a:pt x="1430" y="1177"/>
                  <a:pt x="1412" y="1156"/>
                  <a:pt x="1394" y="1134"/>
                </a:cubicBezTo>
                <a:cubicBezTo>
                  <a:pt x="1396" y="1133"/>
                  <a:pt x="1399" y="1132"/>
                  <a:pt x="1400" y="1130"/>
                </a:cubicBezTo>
                <a:close/>
                <a:moveTo>
                  <a:pt x="1620" y="1325"/>
                </a:moveTo>
                <a:cubicBezTo>
                  <a:pt x="1595" y="1325"/>
                  <a:pt x="1570" y="1325"/>
                  <a:pt x="1546" y="1325"/>
                </a:cubicBezTo>
                <a:cubicBezTo>
                  <a:pt x="1546" y="1325"/>
                  <a:pt x="1521" y="1325"/>
                  <a:pt x="1521" y="1301"/>
                </a:cubicBezTo>
                <a:cubicBezTo>
                  <a:pt x="1521" y="1276"/>
                  <a:pt x="1521" y="1227"/>
                  <a:pt x="1570" y="1227"/>
                </a:cubicBezTo>
                <a:cubicBezTo>
                  <a:pt x="1595" y="1202"/>
                  <a:pt x="1620" y="1202"/>
                  <a:pt x="1620" y="1202"/>
                </a:cubicBezTo>
                <a:cubicBezTo>
                  <a:pt x="1644" y="1202"/>
                  <a:pt x="1644" y="1202"/>
                  <a:pt x="1644" y="1202"/>
                </a:cubicBezTo>
                <a:cubicBezTo>
                  <a:pt x="1646" y="1202"/>
                  <a:pt x="1648" y="1203"/>
                  <a:pt x="1650" y="1203"/>
                </a:cubicBezTo>
                <a:cubicBezTo>
                  <a:pt x="1656" y="1211"/>
                  <a:pt x="1662" y="1219"/>
                  <a:pt x="1669" y="1227"/>
                </a:cubicBezTo>
                <a:cubicBezTo>
                  <a:pt x="1681" y="1227"/>
                  <a:pt x="1687" y="1227"/>
                  <a:pt x="1693" y="1227"/>
                </a:cubicBezTo>
                <a:cubicBezTo>
                  <a:pt x="1693" y="1251"/>
                  <a:pt x="1669" y="1301"/>
                  <a:pt x="1620" y="132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3" name="Picture 2">
            <a:extLst>
              <a:ext uri="{FF2B5EF4-FFF2-40B4-BE49-F238E27FC236}">
                <a16:creationId xmlns:a16="http://schemas.microsoft.com/office/drawing/2014/main" id="{78E696C2-8974-4D46-A618-DEA12DB0E1A1}"/>
              </a:ext>
            </a:extLst>
          </p:cNvPr>
          <p:cNvPicPr>
            <a:picLocks noChangeAspect="1"/>
          </p:cNvPicPr>
          <p:nvPr/>
        </p:nvPicPr>
        <p:blipFill>
          <a:blip r:embed="rId3"/>
          <a:stretch>
            <a:fillRect/>
          </a:stretch>
        </p:blipFill>
        <p:spPr>
          <a:xfrm>
            <a:off x="914400" y="6316846"/>
            <a:ext cx="1171575" cy="495300"/>
          </a:xfrm>
          <a:prstGeom prst="rect">
            <a:avLst/>
          </a:prstGeom>
        </p:spPr>
      </p:pic>
      <p:pic>
        <p:nvPicPr>
          <p:cNvPr id="40" name="Picture 39">
            <a:extLst>
              <a:ext uri="{FF2B5EF4-FFF2-40B4-BE49-F238E27FC236}">
                <a16:creationId xmlns:a16="http://schemas.microsoft.com/office/drawing/2014/main" id="{8ECF196C-C3FE-40E8-9231-E2AF0EA911C5}"/>
              </a:ext>
            </a:extLst>
          </p:cNvPr>
          <p:cNvPicPr>
            <a:picLocks noChangeAspect="1"/>
          </p:cNvPicPr>
          <p:nvPr/>
        </p:nvPicPr>
        <p:blipFill>
          <a:blip r:embed="rId4"/>
          <a:stretch>
            <a:fillRect/>
          </a:stretch>
        </p:blipFill>
        <p:spPr>
          <a:xfrm>
            <a:off x="838200" y="6393164"/>
            <a:ext cx="1333500" cy="378995"/>
          </a:xfrm>
          <a:prstGeom prst="rect">
            <a:avLst/>
          </a:prstGeom>
        </p:spPr>
      </p:pic>
      <p:sp>
        <p:nvSpPr>
          <p:cNvPr id="45" name="Text Placeholder 20">
            <a:extLst>
              <a:ext uri="{FF2B5EF4-FFF2-40B4-BE49-F238E27FC236}">
                <a16:creationId xmlns:a16="http://schemas.microsoft.com/office/drawing/2014/main" id="{82270260-7FE8-4618-8173-84DE9AAF84D0}"/>
              </a:ext>
            </a:extLst>
          </p:cNvPr>
          <p:cNvSpPr txBox="1">
            <a:spLocks/>
          </p:cNvSpPr>
          <p:nvPr/>
        </p:nvSpPr>
        <p:spPr>
          <a:xfrm>
            <a:off x="8170468" y="2918379"/>
            <a:ext cx="2739864" cy="345848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5527B425-B4A4-4AD2-B065-37E1436A09E7}"/>
              </a:ext>
            </a:extLst>
          </p:cNvPr>
          <p:cNvSpPr/>
          <p:nvPr/>
        </p:nvSpPr>
        <p:spPr>
          <a:xfrm>
            <a:off x="8097753" y="2747149"/>
            <a:ext cx="3256047" cy="2508379"/>
          </a:xfrm>
          <a:prstGeom prst="rect">
            <a:avLst/>
          </a:prstGeom>
        </p:spPr>
        <p:txBody>
          <a:bodyPr wrap="square">
            <a:spAutoFit/>
          </a:bodyPr>
          <a:lstStyle/>
          <a:p>
            <a:pPr marL="0" lvl="1">
              <a:spcBef>
                <a:spcPts val="600"/>
              </a:spcBef>
              <a:spcAft>
                <a:spcPts val="1200"/>
              </a:spcAft>
              <a:defRPr/>
            </a:pPr>
            <a:r>
              <a:rPr lang="en-US" sz="1600">
                <a:solidFill>
                  <a:prstClr val="black"/>
                </a:solidFill>
              </a:rPr>
              <a:t>Clean all in-line strainers and suction filters</a:t>
            </a:r>
          </a:p>
          <a:p>
            <a:pPr marL="0" lvl="1">
              <a:spcBef>
                <a:spcPts val="600"/>
              </a:spcBef>
              <a:spcAft>
                <a:spcPts val="1200"/>
              </a:spcAft>
              <a:defRPr/>
            </a:pPr>
            <a:r>
              <a:rPr lang="en-US" sz="1600">
                <a:solidFill>
                  <a:prstClr val="black"/>
                </a:solidFill>
              </a:rPr>
              <a:t>Clean all nozzles and screens</a:t>
            </a:r>
          </a:p>
          <a:p>
            <a:pPr marL="0" lvl="1">
              <a:spcBef>
                <a:spcPts val="600"/>
              </a:spcBef>
              <a:spcAft>
                <a:spcPts val="1200"/>
              </a:spcAft>
              <a:defRPr/>
            </a:pPr>
            <a:r>
              <a:rPr lang="en-US" sz="1600">
                <a:solidFill>
                  <a:prstClr val="black"/>
                </a:solidFill>
              </a:rPr>
              <a:t>Flush dead ends and end caps</a:t>
            </a:r>
          </a:p>
          <a:p>
            <a:pPr marL="0" lvl="1">
              <a:spcBef>
                <a:spcPts val="600"/>
              </a:spcBef>
              <a:spcAft>
                <a:spcPts val="1200"/>
              </a:spcAft>
              <a:defRPr/>
            </a:pPr>
            <a:r>
              <a:rPr lang="en-US" sz="1600">
                <a:solidFill>
                  <a:prstClr val="black"/>
                </a:solidFill>
              </a:rPr>
              <a:t>Flush unused nozzle bodies, pressure check valves and nozzle turrets</a:t>
            </a:r>
          </a:p>
        </p:txBody>
      </p:sp>
      <p:sp>
        <p:nvSpPr>
          <p:cNvPr id="19" name="Rectangle 18">
            <a:extLst>
              <a:ext uri="{FF2B5EF4-FFF2-40B4-BE49-F238E27FC236}">
                <a16:creationId xmlns:a16="http://schemas.microsoft.com/office/drawing/2014/main" id="{833D8173-6D8E-4004-8724-1A053A156F11}"/>
              </a:ext>
            </a:extLst>
          </p:cNvPr>
          <p:cNvSpPr/>
          <p:nvPr/>
        </p:nvSpPr>
        <p:spPr>
          <a:xfrm>
            <a:off x="763315" y="5305775"/>
            <a:ext cx="10530613" cy="1077218"/>
          </a:xfrm>
          <a:prstGeom prst="rect">
            <a:avLst/>
          </a:prstGeom>
        </p:spPr>
        <p:txBody>
          <a:bodyPr wrap="square" lIns="91440" tIns="45720" rIns="91440" bIns="45720" anchor="t">
            <a:spAutoFit/>
          </a:bodyPr>
          <a:lstStyle/>
          <a:p>
            <a:pPr algn="ctr"/>
            <a:r>
              <a:rPr lang="en-US" sz="1600" b="1"/>
              <a:t>Refer to the dicamba product label for a complete listing of required sprayer cleanout procedures.  </a:t>
            </a:r>
          </a:p>
          <a:p>
            <a:pPr algn="ctr"/>
            <a:r>
              <a:rPr lang="en-US" sz="1600" b="1"/>
              <a:t>Consider using dedicated equipment for dicamba products.  </a:t>
            </a:r>
            <a:endParaRPr lang="en-US" sz="1600" b="1">
              <a:cs typeface="Arial"/>
            </a:endParaRPr>
          </a:p>
          <a:p>
            <a:pPr algn="ctr"/>
            <a:r>
              <a:rPr lang="en-US" sz="1600" b="1"/>
              <a:t>All rinse water must be disposed of as per state and local guidelines. </a:t>
            </a:r>
            <a:endParaRPr lang="en-US" sz="1600" b="1">
              <a:cs typeface="Arial"/>
            </a:endParaRPr>
          </a:p>
          <a:p>
            <a:pPr algn="ctr"/>
            <a:endParaRPr lang="en-US" sz="1600" b="1"/>
          </a:p>
        </p:txBody>
      </p:sp>
    </p:spTree>
    <p:extLst>
      <p:ext uri="{BB962C8B-B14F-4D97-AF65-F5344CB8AC3E}">
        <p14:creationId xmlns:p14="http://schemas.microsoft.com/office/powerpoint/2010/main" val="108318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7B859BB-B1FF-48C8-B276-A7205AC0BC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9760" y="1379596"/>
            <a:ext cx="7020630" cy="4906420"/>
          </a:xfrm>
          <a:prstGeom prst="rect">
            <a:avLst/>
          </a:prstGeom>
        </p:spPr>
      </p:pic>
      <p:pic>
        <p:nvPicPr>
          <p:cNvPr id="16" name="Picture 5" descr="A picture containing person, person, preparing, standing&#10;&#10;Description automatically generated">
            <a:extLst>
              <a:ext uri="{FF2B5EF4-FFF2-40B4-BE49-F238E27FC236}">
                <a16:creationId xmlns:a16="http://schemas.microsoft.com/office/drawing/2014/main" id="{C85CFE7C-E4A1-4B73-B13E-5A9F10001C3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834" r="-102"/>
          <a:stretch/>
        </p:blipFill>
        <p:spPr>
          <a:xfrm>
            <a:off x="7039011" y="1352768"/>
            <a:ext cx="5106308" cy="4965876"/>
          </a:xfrm>
          <a:prstGeom prst="rect">
            <a:avLst/>
          </a:prstGeom>
        </p:spPr>
      </p:pic>
      <p:sp>
        <p:nvSpPr>
          <p:cNvPr id="30" name="Rectangle 29">
            <a:extLst>
              <a:ext uri="{FF2B5EF4-FFF2-40B4-BE49-F238E27FC236}">
                <a16:creationId xmlns:a16="http://schemas.microsoft.com/office/drawing/2014/main" id="{1C710311-D194-473E-9C2E-5D0C3B584921}"/>
              </a:ext>
            </a:extLst>
          </p:cNvPr>
          <p:cNvSpPr/>
          <p:nvPr/>
        </p:nvSpPr>
        <p:spPr>
          <a:xfrm>
            <a:off x="-1" y="5502971"/>
            <a:ext cx="12191999" cy="1355029"/>
          </a:xfrm>
          <a:prstGeom prst="rect">
            <a:avLst/>
          </a:prstGeom>
          <a:gradFill>
            <a:gsLst>
              <a:gs pos="0">
                <a:schemeClr val="tx1">
                  <a:alpha val="0"/>
                </a:schemeClr>
              </a:gs>
              <a:gs pos="56000">
                <a:schemeClr val="tx1">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ectangle 30">
            <a:extLst>
              <a:ext uri="{FF2B5EF4-FFF2-40B4-BE49-F238E27FC236}">
                <a16:creationId xmlns:a16="http://schemas.microsoft.com/office/drawing/2014/main" id="{D1F83381-A35D-47A7-806E-8729CEF083BA}"/>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2" name="Group 31">
            <a:extLst>
              <a:ext uri="{FF2B5EF4-FFF2-40B4-BE49-F238E27FC236}">
                <a16:creationId xmlns:a16="http://schemas.microsoft.com/office/drawing/2014/main" id="{B19ADE0E-606F-4673-B8B8-7A3A69FEB445}"/>
              </a:ext>
            </a:extLst>
          </p:cNvPr>
          <p:cNvGrpSpPr/>
          <p:nvPr/>
        </p:nvGrpSpPr>
        <p:grpSpPr>
          <a:xfrm>
            <a:off x="950173" y="6425309"/>
            <a:ext cx="1075910" cy="230941"/>
            <a:chOff x="201074" y="6425309"/>
            <a:chExt cx="1075910" cy="230941"/>
          </a:xfrm>
        </p:grpSpPr>
        <p:sp>
          <p:nvSpPr>
            <p:cNvPr id="33" name="Rectangle 32">
              <a:extLst>
                <a:ext uri="{FF2B5EF4-FFF2-40B4-BE49-F238E27FC236}">
                  <a16:creationId xmlns:a16="http://schemas.microsoft.com/office/drawing/2014/main" id="{C73C95D6-FC57-49A9-BD99-6CF4F41538CD}"/>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4" name="Straight Connector 33">
              <a:extLst>
                <a:ext uri="{FF2B5EF4-FFF2-40B4-BE49-F238E27FC236}">
                  <a16:creationId xmlns:a16="http://schemas.microsoft.com/office/drawing/2014/main" id="{4BBD5E21-1B34-48DE-A0EB-E9D3DB69FB57}"/>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67FF99D-B809-465F-A37D-24D6A7761760}"/>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6" name="Title 1">
              <a:extLst>
                <a:ext uri="{FF2B5EF4-FFF2-40B4-BE49-F238E27FC236}">
                  <a16:creationId xmlns:a16="http://schemas.microsoft.com/office/drawing/2014/main" id="{76DB80BD-62EF-43E8-9D99-B1C63396D455}"/>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10" name="Title 1">
            <a:extLst>
              <a:ext uri="{FF2B5EF4-FFF2-40B4-BE49-F238E27FC236}">
                <a16:creationId xmlns:a16="http://schemas.microsoft.com/office/drawing/2014/main" id="{214A403E-FEBC-4D87-A3E0-92FABFD41332}"/>
              </a:ext>
            </a:extLst>
          </p:cNvPr>
          <p:cNvSpPr txBox="1">
            <a:spLocks/>
          </p:cNvSpPr>
          <p:nvPr/>
        </p:nvSpPr>
        <p:spPr>
          <a:xfrm>
            <a:off x="191386" y="228600"/>
            <a:ext cx="11493795"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TANK Mix partners may impact volatility and off-target movement potential</a:t>
            </a:r>
          </a:p>
        </p:txBody>
      </p:sp>
      <p:sp>
        <p:nvSpPr>
          <p:cNvPr id="4" name="Footer Placeholder 3">
            <a:extLst>
              <a:ext uri="{FF2B5EF4-FFF2-40B4-BE49-F238E27FC236}">
                <a16:creationId xmlns:a16="http://schemas.microsoft.com/office/drawing/2014/main" id="{69E0F121-6CA0-4E8D-AC7C-7E989F2BEE86}"/>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A1B94602-205A-4C9D-8F80-CA352A82712F}"/>
              </a:ext>
            </a:extLst>
          </p:cNvPr>
          <p:cNvSpPr>
            <a:spLocks noGrp="1"/>
          </p:cNvSpPr>
          <p:nvPr>
            <p:ph type="sldNum" sz="quarter" idx="11"/>
          </p:nvPr>
        </p:nvSpPr>
        <p:spPr/>
        <p:txBody>
          <a:bodyPr/>
          <a:lstStyle/>
          <a:p>
            <a:fld id="{5382645D-9DD6-408C-B0EA-C65795F9B1DE}" type="slidenum">
              <a:rPr lang="en-US" smtClean="0"/>
              <a:pPr/>
              <a:t>22</a:t>
            </a:fld>
            <a:endParaRPr lang="en-US"/>
          </a:p>
        </p:txBody>
      </p:sp>
      <p:pic>
        <p:nvPicPr>
          <p:cNvPr id="2" name="Picture 1">
            <a:extLst>
              <a:ext uri="{FF2B5EF4-FFF2-40B4-BE49-F238E27FC236}">
                <a16:creationId xmlns:a16="http://schemas.microsoft.com/office/drawing/2014/main" id="{FF982557-7170-42BD-AD4D-0272AD430181}"/>
              </a:ext>
            </a:extLst>
          </p:cNvPr>
          <p:cNvPicPr>
            <a:picLocks noChangeAspect="1"/>
          </p:cNvPicPr>
          <p:nvPr/>
        </p:nvPicPr>
        <p:blipFill>
          <a:blip r:embed="rId5"/>
          <a:stretch>
            <a:fillRect/>
          </a:stretch>
        </p:blipFill>
        <p:spPr>
          <a:xfrm>
            <a:off x="950173" y="6338719"/>
            <a:ext cx="1171575" cy="495300"/>
          </a:xfrm>
          <a:prstGeom prst="rect">
            <a:avLst/>
          </a:prstGeom>
        </p:spPr>
      </p:pic>
      <p:pic>
        <p:nvPicPr>
          <p:cNvPr id="15" name="Picture 14">
            <a:extLst>
              <a:ext uri="{FF2B5EF4-FFF2-40B4-BE49-F238E27FC236}">
                <a16:creationId xmlns:a16="http://schemas.microsoft.com/office/drawing/2014/main" id="{E73BB582-07AE-4081-802D-3502A0879378}"/>
              </a:ext>
            </a:extLst>
          </p:cNvPr>
          <p:cNvPicPr>
            <a:picLocks noChangeAspect="1"/>
          </p:cNvPicPr>
          <p:nvPr/>
        </p:nvPicPr>
        <p:blipFill>
          <a:blip r:embed="rId6"/>
          <a:stretch>
            <a:fillRect/>
          </a:stretch>
        </p:blipFill>
        <p:spPr>
          <a:xfrm>
            <a:off x="838200" y="6393164"/>
            <a:ext cx="1333500" cy="378995"/>
          </a:xfrm>
          <a:prstGeom prst="rect">
            <a:avLst/>
          </a:prstGeom>
        </p:spPr>
      </p:pic>
      <p:sp>
        <p:nvSpPr>
          <p:cNvPr id="3" name="TextBox 2">
            <a:extLst>
              <a:ext uri="{FF2B5EF4-FFF2-40B4-BE49-F238E27FC236}">
                <a16:creationId xmlns:a16="http://schemas.microsoft.com/office/drawing/2014/main" id="{884F768B-9558-42CB-A157-8CA2A5CA4602}"/>
              </a:ext>
            </a:extLst>
          </p:cNvPr>
          <p:cNvSpPr txBox="1"/>
          <p:nvPr/>
        </p:nvSpPr>
        <p:spPr>
          <a:xfrm>
            <a:off x="3347990" y="4769011"/>
            <a:ext cx="6450917" cy="132343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solidFill>
                  <a:srgbClr val="00B050"/>
                </a:solidFill>
                <a:ea typeface="+mn-lt"/>
                <a:cs typeface="+mn-lt"/>
              </a:rPr>
              <a:t>All applications of this product require the inclusion of a </a:t>
            </a:r>
            <a:r>
              <a:rPr lang="en-US" sz="1600" b="1">
                <a:solidFill>
                  <a:srgbClr val="00B050"/>
                </a:solidFill>
                <a:ea typeface="+mn-lt"/>
                <a:cs typeface="+mn-lt"/>
              </a:rPr>
              <a:t>volatility reduction adjuvant (VRA)</a:t>
            </a:r>
            <a:r>
              <a:rPr lang="en-US" sz="1600">
                <a:solidFill>
                  <a:srgbClr val="00B050"/>
                </a:solidFill>
                <a:ea typeface="+mn-lt"/>
                <a:cs typeface="+mn-lt"/>
              </a:rPr>
              <a:t>, such as a </a:t>
            </a:r>
            <a:r>
              <a:rPr lang="en-US" sz="1600" err="1">
                <a:solidFill>
                  <a:srgbClr val="00B050"/>
                </a:solidFill>
                <a:ea typeface="+mn-lt"/>
                <a:cs typeface="+mn-lt"/>
              </a:rPr>
              <a:t>VaporGrip</a:t>
            </a:r>
            <a:r>
              <a:rPr lang="en-US" sz="1600">
                <a:solidFill>
                  <a:srgbClr val="00B050"/>
                </a:solidFill>
                <a:ea typeface="+mn-lt"/>
                <a:cs typeface="+mn-lt"/>
              </a:rPr>
              <a:t>® </a:t>
            </a:r>
            <a:r>
              <a:rPr lang="en-US" sz="1600" err="1">
                <a:solidFill>
                  <a:srgbClr val="00B050"/>
                </a:solidFill>
                <a:ea typeface="+mn-lt"/>
                <a:cs typeface="+mn-lt"/>
              </a:rPr>
              <a:t>Xtra</a:t>
            </a:r>
            <a:r>
              <a:rPr lang="en-US" sz="1600">
                <a:solidFill>
                  <a:srgbClr val="00B050"/>
                </a:solidFill>
                <a:ea typeface="+mn-lt"/>
                <a:cs typeface="+mn-lt"/>
              </a:rPr>
              <a:t> Agent</a:t>
            </a:r>
            <a:endParaRPr lang="en-US" sz="1600">
              <a:solidFill>
                <a:srgbClr val="00B050"/>
              </a:solidFill>
            </a:endParaRPr>
          </a:p>
          <a:p>
            <a:r>
              <a:rPr lang="en-US" sz="1600">
                <a:solidFill>
                  <a:srgbClr val="00B050"/>
                </a:solidFill>
                <a:ea typeface="+mn-lt"/>
                <a:cs typeface="+mn-lt"/>
              </a:rPr>
              <a:t>product or an approved VRA equivalent. The inclusion of a drift reduction adjuvant (DRA) is also required, unless otherwise indicated at</a:t>
            </a:r>
            <a:r>
              <a:rPr lang="en-US" sz="1600">
                <a:ea typeface="+mn-lt"/>
                <a:cs typeface="+mn-lt"/>
              </a:rPr>
              <a:t> </a:t>
            </a:r>
            <a:r>
              <a:rPr lang="en-US" sz="1600">
                <a:ea typeface="+mn-lt"/>
                <a:cs typeface="+mn-lt"/>
                <a:hlinkClick r:id="rId7"/>
              </a:rPr>
              <a:t>www.xtendimaxapplicationrequirements.com</a:t>
            </a:r>
            <a:r>
              <a:rPr lang="en-US" sz="1600">
                <a:ea typeface="+mn-lt"/>
                <a:cs typeface="+mn-lt"/>
              </a:rPr>
              <a:t>.</a:t>
            </a:r>
            <a:endParaRPr lang="en-US" sz="1600"/>
          </a:p>
        </p:txBody>
      </p:sp>
    </p:spTree>
    <p:extLst>
      <p:ext uri="{BB962C8B-B14F-4D97-AF65-F5344CB8AC3E}">
        <p14:creationId xmlns:p14="http://schemas.microsoft.com/office/powerpoint/2010/main" val="34728819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alpha val="72000"/>
          </a:schemeClr>
        </a:solidFill>
        <a:effectLst/>
      </p:bgPr>
    </p:bg>
    <p:spTree>
      <p:nvGrpSpPr>
        <p:cNvPr id="1" name=""/>
        <p:cNvGrpSpPr/>
        <p:nvPr/>
      </p:nvGrpSpPr>
      <p:grpSpPr>
        <a:xfrm>
          <a:off x="0" y="0"/>
          <a:ext cx="0" cy="0"/>
          <a:chOff x="0" y="0"/>
          <a:chExt cx="0" cy="0"/>
        </a:xfrm>
      </p:grpSpPr>
      <p:sp>
        <p:nvSpPr>
          <p:cNvPr id="16" name="Footer Placeholder 7">
            <a:extLst>
              <a:ext uri="{FF2B5EF4-FFF2-40B4-BE49-F238E27FC236}">
                <a16:creationId xmlns:a16="http://schemas.microsoft.com/office/drawing/2014/main" id="{FB00081D-E8BB-419E-9FF9-26EB1A65D2AB}"/>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22" name="Slide Number Placeholder 21"/>
          <p:cNvSpPr>
            <a:spLocks noGrp="1"/>
          </p:cNvSpPr>
          <p:nvPr>
            <p:ph type="sldNum" sz="quarter" idx="16"/>
          </p:nvPr>
        </p:nvSpPr>
        <p:spPr/>
        <p:txBody>
          <a:bodyPr/>
          <a:lstStyle/>
          <a:p>
            <a:pPr lvl="0"/>
            <a:fld id="{5382645D-9DD6-408C-B0EA-C65795F9B1DE}" type="slidenum">
              <a:rPr lang="en-US" noProof="0" smtClean="0"/>
              <a:pPr lvl="0"/>
              <a:t>23</a:t>
            </a:fld>
            <a:endParaRPr lang="en-US" noProof="0"/>
          </a:p>
        </p:txBody>
      </p:sp>
      <p:sp>
        <p:nvSpPr>
          <p:cNvPr id="25" name="Rectangle 41">
            <a:extLst>
              <a:ext uri="{FF2B5EF4-FFF2-40B4-BE49-F238E27FC236}">
                <a16:creationId xmlns:a16="http://schemas.microsoft.com/office/drawing/2014/main" id="{A6C9829C-40BA-4E09-ABCC-585FBD4CA47D}"/>
              </a:ext>
            </a:extLst>
          </p:cNvPr>
          <p:cNvSpPr>
            <a:spLocks noChangeArrowheads="1"/>
          </p:cNvSpPr>
          <p:nvPr/>
        </p:nvSpPr>
        <p:spPr bwMode="auto">
          <a:xfrm>
            <a:off x="2610615" y="4734813"/>
            <a:ext cx="121347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XTENDIMAX</a:t>
            </a:r>
            <a:r>
              <a:rPr lang="en-US" altLang="en-US" sz="1400" b="1" kern="0" spc="140" baseline="30000">
                <a:solidFill>
                  <a:sysClr val="windowText" lastClr="000000"/>
                </a:solidFill>
                <a:latin typeface="Arial Narrow" charset="0"/>
              </a:rPr>
              <a:t>®</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WITH</a:t>
            </a:r>
            <a:br>
              <a:rPr lang="en-US" altLang="en-US" sz="1400" b="1" kern="0" spc="140">
                <a:solidFill>
                  <a:sysClr val="windowText" lastClr="000000"/>
                </a:solidFill>
                <a:latin typeface="Arial Narrow" charset="0"/>
              </a:rPr>
            </a:br>
            <a:r>
              <a:rPr lang="en-US" altLang="en-US" sz="1400" b="1" kern="0" spc="140">
                <a:solidFill>
                  <a:sysClr val="windowText" lastClr="000000"/>
                </a:solidFill>
                <a:latin typeface="Arial Narrow" charset="0"/>
              </a:rPr>
              <a:t>VAPORGRIP</a:t>
            </a:r>
            <a:r>
              <a:rPr lang="en-US" altLang="en-US" sz="1400" b="1" kern="0" spc="140" baseline="30000">
                <a:solidFill>
                  <a:sysClr val="windowText" lastClr="000000"/>
                </a:solidFill>
                <a:latin typeface="Arial Narrow" charset="0"/>
              </a:rPr>
              <a:t>®</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TECHNOLOGY</a:t>
            </a:r>
          </a:p>
        </p:txBody>
      </p:sp>
      <p:sp>
        <p:nvSpPr>
          <p:cNvPr id="26" name="Rectangle 41">
            <a:extLst>
              <a:ext uri="{FF2B5EF4-FFF2-40B4-BE49-F238E27FC236}">
                <a16:creationId xmlns:a16="http://schemas.microsoft.com/office/drawing/2014/main" id="{463D790D-8C26-4626-8EDD-BFFEBF5F4126}"/>
              </a:ext>
            </a:extLst>
          </p:cNvPr>
          <p:cNvSpPr>
            <a:spLocks noChangeArrowheads="1"/>
          </p:cNvSpPr>
          <p:nvPr/>
        </p:nvSpPr>
        <p:spPr bwMode="auto">
          <a:xfrm>
            <a:off x="4214278" y="4950257"/>
            <a:ext cx="9807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ENGENIA</a:t>
            </a:r>
            <a:r>
              <a:rPr lang="en-US" altLang="en-US" sz="1400" b="1" kern="0" spc="140" baseline="30000">
                <a:solidFill>
                  <a:sysClr val="windowText" lastClr="000000"/>
                </a:solidFill>
                <a:latin typeface="Arial Narrow" charset="0"/>
              </a:rPr>
              <a:t>®</a:t>
            </a:r>
            <a:r>
              <a:rPr lang="en-US" altLang="en-US" sz="1400" b="1" kern="0" spc="140">
                <a:solidFill>
                  <a:sysClr val="windowText" lastClr="000000"/>
                </a:solidFill>
                <a:latin typeface="Arial Narrow" charset="0"/>
              </a:rPr>
              <a:t>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HERBICIDE</a:t>
            </a:r>
            <a:endParaRPr lang="en-US" altLang="en-US" sz="1400" b="1" kern="0" spc="140">
              <a:solidFill>
                <a:schemeClr val="accent6"/>
              </a:solidFill>
              <a:latin typeface="+mj-lt"/>
            </a:endParaRPr>
          </a:p>
        </p:txBody>
      </p:sp>
      <p:sp>
        <p:nvSpPr>
          <p:cNvPr id="27" name="Rectangle 41">
            <a:extLst>
              <a:ext uri="{FF2B5EF4-FFF2-40B4-BE49-F238E27FC236}">
                <a16:creationId xmlns:a16="http://schemas.microsoft.com/office/drawing/2014/main" id="{60AE71C1-0D08-4348-8197-66E287F8C0FA}"/>
              </a:ext>
            </a:extLst>
          </p:cNvPr>
          <p:cNvSpPr>
            <a:spLocks noChangeArrowheads="1"/>
          </p:cNvSpPr>
          <p:nvPr/>
        </p:nvSpPr>
        <p:spPr bwMode="auto">
          <a:xfrm>
            <a:off x="5594803" y="4734813"/>
            <a:ext cx="121347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TAVIUM</a:t>
            </a:r>
            <a:r>
              <a:rPr lang="en-US" altLang="en-US" sz="1400" b="1" kern="0" spc="140" baseline="30000">
                <a:solidFill>
                  <a:sysClr val="windowText" lastClr="000000"/>
                </a:solidFill>
                <a:latin typeface="Arial Narrow" charset="0"/>
              </a:rPr>
              <a:t>®</a:t>
            </a:r>
            <a:r>
              <a:rPr lang="en-US" altLang="en-US" sz="1400" b="1" kern="0" spc="140">
                <a:solidFill>
                  <a:sysClr val="windowText" lastClr="000000"/>
                </a:solidFill>
                <a:latin typeface="Arial Narrow" charset="0"/>
              </a:rPr>
              <a:t>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WITH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VAPORGRIP</a:t>
            </a:r>
            <a:r>
              <a:rPr lang="en-US" altLang="en-US" sz="1400" b="1" kern="0" spc="140" baseline="30000">
                <a:solidFill>
                  <a:sysClr val="windowText" lastClr="000000"/>
                </a:solidFill>
                <a:latin typeface="Arial Narrow" charset="0"/>
              </a:rPr>
              <a:t>®</a:t>
            </a:r>
            <a:r>
              <a:rPr lang="en-US" altLang="en-US" sz="1400" b="1" kern="0" spc="140">
                <a:solidFill>
                  <a:sysClr val="windowText" lastClr="000000"/>
                </a:solidFill>
                <a:latin typeface="Arial Narrow" charset="0"/>
              </a:rPr>
              <a:t>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TECHNOLOGY</a:t>
            </a:r>
            <a:endParaRPr lang="en-US" altLang="en-US" sz="1400" b="1" kern="0" spc="140">
              <a:solidFill>
                <a:schemeClr val="accent4"/>
              </a:solidFill>
              <a:latin typeface="+mj-lt"/>
            </a:endParaRPr>
          </a:p>
        </p:txBody>
      </p:sp>
      <p:pic>
        <p:nvPicPr>
          <p:cNvPr id="5" name="Picture 4">
            <a:extLst>
              <a:ext uri="{FF2B5EF4-FFF2-40B4-BE49-F238E27FC236}">
                <a16:creationId xmlns:a16="http://schemas.microsoft.com/office/drawing/2014/main" id="{A22C251D-669C-40F8-A71B-90028648987B}"/>
              </a:ext>
            </a:extLst>
          </p:cNvPr>
          <p:cNvPicPr>
            <a:picLocks noChangeAspect="1"/>
          </p:cNvPicPr>
          <p:nvPr/>
        </p:nvPicPr>
        <p:blipFill>
          <a:blip r:embed="rId3"/>
          <a:stretch>
            <a:fillRect/>
          </a:stretch>
        </p:blipFill>
        <p:spPr>
          <a:xfrm>
            <a:off x="904032" y="6362700"/>
            <a:ext cx="1171575" cy="495300"/>
          </a:xfrm>
          <a:prstGeom prst="rect">
            <a:avLst/>
          </a:prstGeom>
        </p:spPr>
      </p:pic>
      <p:pic>
        <p:nvPicPr>
          <p:cNvPr id="32" name="Picture 31">
            <a:extLst>
              <a:ext uri="{FF2B5EF4-FFF2-40B4-BE49-F238E27FC236}">
                <a16:creationId xmlns:a16="http://schemas.microsoft.com/office/drawing/2014/main" id="{2FA03CFD-D72A-447D-8524-AA7F2F6B0955}"/>
              </a:ext>
            </a:extLst>
          </p:cNvPr>
          <p:cNvPicPr>
            <a:picLocks noChangeAspect="1"/>
          </p:cNvPicPr>
          <p:nvPr/>
        </p:nvPicPr>
        <p:blipFill>
          <a:blip r:embed="rId4"/>
          <a:stretch>
            <a:fillRect/>
          </a:stretch>
        </p:blipFill>
        <p:spPr>
          <a:xfrm>
            <a:off x="838200" y="6393164"/>
            <a:ext cx="1333500" cy="378995"/>
          </a:xfrm>
          <a:prstGeom prst="rect">
            <a:avLst/>
          </a:prstGeom>
        </p:spPr>
      </p:pic>
      <p:graphicFrame>
        <p:nvGraphicFramePr>
          <p:cNvPr id="31" name="Chart 30">
            <a:extLst>
              <a:ext uri="{FF2B5EF4-FFF2-40B4-BE49-F238E27FC236}">
                <a16:creationId xmlns:a16="http://schemas.microsoft.com/office/drawing/2014/main" id="{48A53591-3A41-4706-A67D-0618B25DAC2B}"/>
              </a:ext>
            </a:extLst>
          </p:cNvPr>
          <p:cNvGraphicFramePr/>
          <p:nvPr>
            <p:extLst>
              <p:ext uri="{D42A27DB-BD31-4B8C-83A1-F6EECF244321}">
                <p14:modId xmlns:p14="http://schemas.microsoft.com/office/powerpoint/2010/main" val="3149582277"/>
              </p:ext>
            </p:extLst>
          </p:nvPr>
        </p:nvGraphicFramePr>
        <p:xfrm>
          <a:off x="397544" y="570438"/>
          <a:ext cx="11213430" cy="4152858"/>
        </p:xfrm>
        <a:graphic>
          <a:graphicData uri="http://schemas.openxmlformats.org/drawingml/2006/chart">
            <c:chart xmlns:c="http://schemas.openxmlformats.org/drawingml/2006/chart" xmlns:r="http://schemas.openxmlformats.org/officeDocument/2006/relationships" r:id="rId5"/>
          </a:graphicData>
        </a:graphic>
      </p:graphicFrame>
      <p:sp>
        <p:nvSpPr>
          <p:cNvPr id="40" name="Rectangle 41">
            <a:extLst>
              <a:ext uri="{FF2B5EF4-FFF2-40B4-BE49-F238E27FC236}">
                <a16:creationId xmlns:a16="http://schemas.microsoft.com/office/drawing/2014/main" id="{A872CD2E-870E-4D47-B012-7D40FE674357}"/>
              </a:ext>
            </a:extLst>
          </p:cNvPr>
          <p:cNvSpPr>
            <a:spLocks noChangeArrowheads="1"/>
          </p:cNvSpPr>
          <p:nvPr/>
        </p:nvSpPr>
        <p:spPr bwMode="auto">
          <a:xfrm>
            <a:off x="1111174" y="4734813"/>
            <a:ext cx="115736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CLARITY</a:t>
            </a:r>
            <a:r>
              <a:rPr lang="en-US" altLang="en-US" sz="1400" b="1" kern="0" spc="140" baseline="30000">
                <a:solidFill>
                  <a:sysClr val="windowText" lastClr="000000"/>
                </a:solidFill>
                <a:latin typeface="Arial Narrow" charset="0"/>
              </a:rPr>
              <a:t>®</a:t>
            </a:r>
            <a:r>
              <a:rPr lang="en-US" altLang="en-US" sz="1400" b="1" kern="0" spc="140">
                <a:solidFill>
                  <a:sysClr val="windowText" lastClr="000000"/>
                </a:solidFill>
                <a:latin typeface="Arial Narrow" charset="0"/>
              </a:rPr>
              <a:t>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HERBICIDE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PLUS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BUCCANEER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PLUS</a:t>
            </a:r>
            <a:r>
              <a:rPr lang="en-US" altLang="en-US" sz="1400" b="1" kern="0" spc="140" baseline="30000">
                <a:solidFill>
                  <a:sysClr val="windowText" lastClr="000000"/>
                </a:solidFill>
                <a:latin typeface="Arial Narrow" charset="0"/>
              </a:rPr>
              <a:t>®</a:t>
            </a:r>
          </a:p>
        </p:txBody>
      </p:sp>
      <p:sp>
        <p:nvSpPr>
          <p:cNvPr id="41" name="Rectangle 41">
            <a:extLst>
              <a:ext uri="{FF2B5EF4-FFF2-40B4-BE49-F238E27FC236}">
                <a16:creationId xmlns:a16="http://schemas.microsoft.com/office/drawing/2014/main" id="{17D3DB13-DFDF-46A5-BA53-9AECB517FDC0}"/>
              </a:ext>
            </a:extLst>
          </p:cNvPr>
          <p:cNvSpPr>
            <a:spLocks noChangeArrowheads="1"/>
          </p:cNvSpPr>
          <p:nvPr/>
        </p:nvSpPr>
        <p:spPr bwMode="auto">
          <a:xfrm>
            <a:off x="7098864" y="4734813"/>
            <a:ext cx="1289135"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XTENDIMAX</a:t>
            </a:r>
            <a:r>
              <a:rPr lang="en-US" altLang="en-US" sz="1400" b="1" kern="0" spc="140" baseline="30000">
                <a:solidFill>
                  <a:sysClr val="windowText" lastClr="000000"/>
                </a:solidFill>
                <a:latin typeface="Arial Narrow" charset="0"/>
              </a:rPr>
              <a:t>®</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WITH</a:t>
            </a:r>
            <a:br>
              <a:rPr lang="en-US" altLang="en-US" sz="1400" b="1" kern="0" spc="140">
                <a:solidFill>
                  <a:sysClr val="windowText" lastClr="000000"/>
                </a:solidFill>
                <a:latin typeface="Arial Narrow" charset="0"/>
              </a:rPr>
            </a:br>
            <a:r>
              <a:rPr lang="en-US" altLang="en-US" sz="1400" b="1" kern="0" spc="140">
                <a:solidFill>
                  <a:sysClr val="windowText" lastClr="000000"/>
                </a:solidFill>
                <a:latin typeface="Arial Narrow" charset="0"/>
              </a:rPr>
              <a:t>VAPORGRIP</a:t>
            </a:r>
            <a:r>
              <a:rPr lang="en-US" altLang="en-US" sz="1400" b="1" kern="0" spc="140" baseline="30000">
                <a:solidFill>
                  <a:sysClr val="windowText" lastClr="000000"/>
                </a:solidFill>
                <a:latin typeface="Arial Narrow" charset="0"/>
              </a:rPr>
              <a:t>®</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TECHNOLOGY*</a:t>
            </a:r>
          </a:p>
        </p:txBody>
      </p:sp>
      <p:sp>
        <p:nvSpPr>
          <p:cNvPr id="42" name="Rectangle 41">
            <a:extLst>
              <a:ext uri="{FF2B5EF4-FFF2-40B4-BE49-F238E27FC236}">
                <a16:creationId xmlns:a16="http://schemas.microsoft.com/office/drawing/2014/main" id="{733AFEB2-D9F0-482C-A78B-E9CA1AC3B2D0}"/>
              </a:ext>
            </a:extLst>
          </p:cNvPr>
          <p:cNvSpPr>
            <a:spLocks noChangeArrowheads="1"/>
          </p:cNvSpPr>
          <p:nvPr/>
        </p:nvSpPr>
        <p:spPr bwMode="auto">
          <a:xfrm>
            <a:off x="8740350" y="4950257"/>
            <a:ext cx="9807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ENGENIA</a:t>
            </a:r>
            <a:r>
              <a:rPr lang="en-US" altLang="en-US" sz="1400" b="1" kern="0" spc="140" baseline="30000">
                <a:solidFill>
                  <a:sysClr val="windowText" lastClr="000000"/>
                </a:solidFill>
                <a:latin typeface="Arial Narrow" charset="0"/>
              </a:rPr>
              <a:t>®</a:t>
            </a:r>
            <a:r>
              <a:rPr lang="en-US" altLang="en-US" sz="1400" b="1" kern="0" spc="140">
                <a:solidFill>
                  <a:sysClr val="windowText" lastClr="000000"/>
                </a:solidFill>
                <a:latin typeface="Arial Narrow" charset="0"/>
              </a:rPr>
              <a:t>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HERBICIDE</a:t>
            </a:r>
            <a:endParaRPr lang="en-US" altLang="en-US" sz="1400" b="1" kern="0" spc="140">
              <a:solidFill>
                <a:schemeClr val="accent6"/>
              </a:solidFill>
              <a:latin typeface="+mj-lt"/>
            </a:endParaRPr>
          </a:p>
        </p:txBody>
      </p:sp>
      <p:sp>
        <p:nvSpPr>
          <p:cNvPr id="43" name="Rectangle 41">
            <a:extLst>
              <a:ext uri="{FF2B5EF4-FFF2-40B4-BE49-F238E27FC236}">
                <a16:creationId xmlns:a16="http://schemas.microsoft.com/office/drawing/2014/main" id="{473E1DD1-8A52-4E0D-BE13-5F7FF1259C19}"/>
              </a:ext>
            </a:extLst>
          </p:cNvPr>
          <p:cNvSpPr>
            <a:spLocks noChangeArrowheads="1"/>
          </p:cNvSpPr>
          <p:nvPr/>
        </p:nvSpPr>
        <p:spPr bwMode="auto">
          <a:xfrm>
            <a:off x="10149750" y="4734813"/>
            <a:ext cx="121347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TAVIUM</a:t>
            </a:r>
            <a:r>
              <a:rPr lang="en-US" altLang="en-US" sz="1400" b="1" kern="0" spc="140" baseline="30000">
                <a:solidFill>
                  <a:sysClr val="windowText" lastClr="000000"/>
                </a:solidFill>
                <a:latin typeface="Arial Narrow" charset="0"/>
              </a:rPr>
              <a:t>®</a:t>
            </a:r>
            <a:r>
              <a:rPr lang="en-US" altLang="en-US" sz="1400" b="1" kern="0" spc="140">
                <a:solidFill>
                  <a:sysClr val="windowText" lastClr="000000"/>
                </a:solidFill>
                <a:latin typeface="Arial Narrow" charset="0"/>
              </a:rPr>
              <a:t>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WITH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VAPORGRIP</a:t>
            </a:r>
            <a:r>
              <a:rPr lang="en-US" altLang="en-US" sz="1400" b="1" kern="0" spc="140" baseline="30000">
                <a:solidFill>
                  <a:sysClr val="windowText" lastClr="000000"/>
                </a:solidFill>
                <a:latin typeface="Arial Narrow" charset="0"/>
              </a:rPr>
              <a:t>®</a:t>
            </a:r>
            <a:r>
              <a:rPr lang="en-US" altLang="en-US" sz="1400" b="1" kern="0" spc="140">
                <a:solidFill>
                  <a:sysClr val="windowText" lastClr="000000"/>
                </a:solidFill>
                <a:latin typeface="Arial Narrow" charset="0"/>
              </a:rPr>
              <a:t> </a:t>
            </a:r>
          </a:p>
          <a:p>
            <a:pPr algn="ctr" eaLnBrk="1" fontAlgn="auto" hangingPunct="1">
              <a:spcBef>
                <a:spcPts val="0"/>
              </a:spcBef>
              <a:spcAft>
                <a:spcPts val="0"/>
              </a:spcAft>
              <a:defRPr/>
            </a:pPr>
            <a:r>
              <a:rPr lang="en-US" altLang="en-US" sz="1400" b="1" kern="0" spc="140">
                <a:solidFill>
                  <a:sysClr val="windowText" lastClr="000000"/>
                </a:solidFill>
                <a:latin typeface="Arial Narrow" charset="0"/>
              </a:rPr>
              <a:t>TECHNOLOGY</a:t>
            </a:r>
            <a:endParaRPr lang="en-US" altLang="en-US" sz="1400" b="1" kern="0" spc="140">
              <a:solidFill>
                <a:schemeClr val="accent4"/>
              </a:solidFill>
              <a:latin typeface="+mj-lt"/>
            </a:endParaRPr>
          </a:p>
        </p:txBody>
      </p:sp>
      <p:sp>
        <p:nvSpPr>
          <p:cNvPr id="44" name="Rectangle 41">
            <a:extLst>
              <a:ext uri="{FF2B5EF4-FFF2-40B4-BE49-F238E27FC236}">
                <a16:creationId xmlns:a16="http://schemas.microsoft.com/office/drawing/2014/main" id="{30D30D0F-8AF5-4BE7-90E6-B756467C1095}"/>
              </a:ext>
            </a:extLst>
          </p:cNvPr>
          <p:cNvSpPr>
            <a:spLocks noChangeArrowheads="1"/>
          </p:cNvSpPr>
          <p:nvPr/>
        </p:nvSpPr>
        <p:spPr bwMode="auto">
          <a:xfrm>
            <a:off x="2381505" y="5759750"/>
            <a:ext cx="4507438"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TANK MIXED WITH ROUNDUP POWERMAX</a:t>
            </a:r>
            <a:r>
              <a:rPr lang="en-US" altLang="en-US" sz="1400" b="1" kern="0" spc="140" baseline="30000">
                <a:solidFill>
                  <a:sysClr val="windowText" lastClr="000000"/>
                </a:solidFill>
                <a:latin typeface="Arial Narrow" charset="0"/>
              </a:rPr>
              <a:t>®</a:t>
            </a:r>
          </a:p>
        </p:txBody>
      </p:sp>
      <p:sp>
        <p:nvSpPr>
          <p:cNvPr id="33" name="Rectangle: Rounded Corners 32">
            <a:extLst>
              <a:ext uri="{FF2B5EF4-FFF2-40B4-BE49-F238E27FC236}">
                <a16:creationId xmlns:a16="http://schemas.microsoft.com/office/drawing/2014/main" id="{2F26D195-CEDB-453E-BF2A-81BE6578D6A8}"/>
              </a:ext>
            </a:extLst>
          </p:cNvPr>
          <p:cNvSpPr/>
          <p:nvPr/>
        </p:nvSpPr>
        <p:spPr>
          <a:xfrm>
            <a:off x="2476543" y="4677878"/>
            <a:ext cx="4412400" cy="1545046"/>
          </a:xfrm>
          <a:prstGeom prst="roundRect">
            <a:avLst/>
          </a:prstGeom>
          <a:noFill/>
          <a:ln w="381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1">
            <a:extLst>
              <a:ext uri="{FF2B5EF4-FFF2-40B4-BE49-F238E27FC236}">
                <a16:creationId xmlns:a16="http://schemas.microsoft.com/office/drawing/2014/main" id="{976B652D-B73E-440E-9DD6-413555F8B9CF}"/>
              </a:ext>
            </a:extLst>
          </p:cNvPr>
          <p:cNvSpPr>
            <a:spLocks noChangeArrowheads="1"/>
          </p:cNvSpPr>
          <p:nvPr/>
        </p:nvSpPr>
        <p:spPr bwMode="auto">
          <a:xfrm>
            <a:off x="7082151" y="5652029"/>
            <a:ext cx="4507438" cy="4308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latin typeface="Arial Narrow"/>
              </a:rPr>
              <a:t>TANK MIXED WITH ROUNDUP POWERMAX</a:t>
            </a:r>
            <a:r>
              <a:rPr lang="en-US" altLang="en-US" sz="1400" b="1" kern="0" spc="140" baseline="30000">
                <a:latin typeface="Arial Narrow"/>
              </a:rPr>
              <a:t>® </a:t>
            </a:r>
            <a:r>
              <a:rPr lang="en-US" altLang="en-US" sz="1400" b="1" kern="0" spc="140">
                <a:latin typeface="Arial Narrow"/>
              </a:rPr>
              <a:t>AND </a:t>
            </a:r>
            <a:endParaRPr lang="en-US" altLang="en-US" sz="1400" b="1" kern="0" spc="140">
              <a:solidFill>
                <a:sysClr val="windowText" lastClr="000000"/>
              </a:solidFill>
              <a:latin typeface="Arial Narrow" charset="0"/>
            </a:endParaRPr>
          </a:p>
          <a:p>
            <a:pPr algn="ctr" eaLnBrk="1" fontAlgn="auto" hangingPunct="1">
              <a:spcBef>
                <a:spcPts val="0"/>
              </a:spcBef>
              <a:spcAft>
                <a:spcPts val="0"/>
              </a:spcAft>
              <a:defRPr/>
            </a:pPr>
            <a:r>
              <a:rPr lang="en-US" altLang="en-US" sz="1400" b="1" kern="0" spc="140">
                <a:latin typeface="Arial Narrow"/>
              </a:rPr>
              <a:t>LABELED </a:t>
            </a:r>
            <a:r>
              <a:rPr lang="en-US" altLang="en-US" sz="1400" b="1" kern="0" spc="140">
                <a:solidFill>
                  <a:srgbClr val="00B050"/>
                </a:solidFill>
                <a:latin typeface="Arial Narrow"/>
              </a:rPr>
              <a:t>VAPORGRIP XTRA AGENT</a:t>
            </a:r>
          </a:p>
        </p:txBody>
      </p:sp>
      <p:sp>
        <p:nvSpPr>
          <p:cNvPr id="46" name="Rectangle: Rounded Corners 45">
            <a:extLst>
              <a:ext uri="{FF2B5EF4-FFF2-40B4-BE49-F238E27FC236}">
                <a16:creationId xmlns:a16="http://schemas.microsoft.com/office/drawing/2014/main" id="{B018242B-7402-4C80-ACE5-3CCD78A0213F}"/>
              </a:ext>
            </a:extLst>
          </p:cNvPr>
          <p:cNvSpPr/>
          <p:nvPr/>
        </p:nvSpPr>
        <p:spPr>
          <a:xfrm>
            <a:off x="6986059" y="4675903"/>
            <a:ext cx="4603530" cy="1545046"/>
          </a:xfrm>
          <a:prstGeom prst="roundRect">
            <a:avLst/>
          </a:prstGeom>
          <a:noFill/>
          <a:ln w="381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1">
            <a:extLst>
              <a:ext uri="{FF2B5EF4-FFF2-40B4-BE49-F238E27FC236}">
                <a16:creationId xmlns:a16="http://schemas.microsoft.com/office/drawing/2014/main" id="{46A88D71-0DF2-4A4F-B2CE-117A93C21C90}"/>
              </a:ext>
            </a:extLst>
          </p:cNvPr>
          <p:cNvSpPr>
            <a:spLocks noChangeArrowheads="1"/>
          </p:cNvSpPr>
          <p:nvPr/>
        </p:nvSpPr>
        <p:spPr bwMode="auto">
          <a:xfrm rot="16200000">
            <a:off x="-1465483" y="2561447"/>
            <a:ext cx="3374074"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RELATIVE DICAMBA VOLATILITY*</a:t>
            </a:r>
            <a:endParaRPr lang="en-US" altLang="en-US" sz="1400" b="1" kern="0" spc="140" baseline="30000">
              <a:solidFill>
                <a:sysClr val="windowText" lastClr="000000"/>
              </a:solidFill>
              <a:latin typeface="Arial Narrow" charset="0"/>
            </a:endParaRPr>
          </a:p>
        </p:txBody>
      </p:sp>
      <p:sp>
        <p:nvSpPr>
          <p:cNvPr id="21" name="Content Placeholder 5">
            <a:extLst>
              <a:ext uri="{FF2B5EF4-FFF2-40B4-BE49-F238E27FC236}">
                <a16:creationId xmlns:a16="http://schemas.microsoft.com/office/drawing/2014/main" id="{90272721-DFFA-48E5-AD5A-EAF46885A71F}"/>
              </a:ext>
            </a:extLst>
          </p:cNvPr>
          <p:cNvSpPr txBox="1">
            <a:spLocks/>
          </p:cNvSpPr>
          <p:nvPr/>
        </p:nvSpPr>
        <p:spPr>
          <a:xfrm>
            <a:off x="8529904" y="662901"/>
            <a:ext cx="2747696" cy="854080"/>
          </a:xfrm>
          <a:prstGeom prst="rect">
            <a:avLst/>
          </a:prstGeom>
          <a:solidFill>
            <a:schemeClr val="bg1"/>
          </a:solid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ea typeface="+mn-ea"/>
                <a:cs typeface="+mn-cs"/>
              </a:rPr>
              <a:t>*External Bayer Humidome Study (2019-2020). </a:t>
            </a:r>
            <a:r>
              <a:rPr lang="en-US" sz="1100" dirty="0"/>
              <a:t>Relative volatility data normalized where Xtendimax plus Roundup </a:t>
            </a:r>
            <a:r>
              <a:rPr lang="en-US" sz="1100" dirty="0" err="1"/>
              <a:t>Powermax</a:t>
            </a:r>
            <a:r>
              <a:rPr lang="en-US" sz="1100" dirty="0"/>
              <a:t> plus VaporGrip Xtra Agent equals one (1).</a:t>
            </a: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48" name="Rectangle 41">
            <a:extLst>
              <a:ext uri="{FF2B5EF4-FFF2-40B4-BE49-F238E27FC236}">
                <a16:creationId xmlns:a16="http://schemas.microsoft.com/office/drawing/2014/main" id="{460FCE9C-B6CD-4F32-8058-46A4C7A95F90}"/>
              </a:ext>
            </a:extLst>
          </p:cNvPr>
          <p:cNvSpPr>
            <a:spLocks noChangeArrowheads="1"/>
          </p:cNvSpPr>
          <p:nvPr/>
        </p:nvSpPr>
        <p:spPr bwMode="auto">
          <a:xfrm>
            <a:off x="6986059" y="4332302"/>
            <a:ext cx="1401940"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1</a:t>
            </a:r>
            <a:endParaRPr lang="en-US" altLang="en-US" sz="1400" b="1" kern="0" spc="140" baseline="30000">
              <a:solidFill>
                <a:sysClr val="windowText" lastClr="000000"/>
              </a:solidFill>
              <a:latin typeface="Arial Narrow" charset="0"/>
            </a:endParaRPr>
          </a:p>
        </p:txBody>
      </p:sp>
      <p:sp>
        <p:nvSpPr>
          <p:cNvPr id="49" name="Rectangle 41">
            <a:extLst>
              <a:ext uri="{FF2B5EF4-FFF2-40B4-BE49-F238E27FC236}">
                <a16:creationId xmlns:a16="http://schemas.microsoft.com/office/drawing/2014/main" id="{7D58FEA2-0B40-4D06-878B-30D8B9FC71A3}"/>
              </a:ext>
            </a:extLst>
          </p:cNvPr>
          <p:cNvSpPr>
            <a:spLocks noChangeArrowheads="1"/>
          </p:cNvSpPr>
          <p:nvPr/>
        </p:nvSpPr>
        <p:spPr bwMode="auto">
          <a:xfrm>
            <a:off x="10035249" y="4356205"/>
            <a:ext cx="1401940"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0.3</a:t>
            </a:r>
            <a:endParaRPr lang="en-US" altLang="en-US" sz="1400" b="1" kern="0" spc="140" baseline="30000">
              <a:solidFill>
                <a:sysClr val="windowText" lastClr="000000"/>
              </a:solidFill>
              <a:latin typeface="Arial Narrow" charset="0"/>
            </a:endParaRPr>
          </a:p>
        </p:txBody>
      </p:sp>
      <p:sp>
        <p:nvSpPr>
          <p:cNvPr id="50" name="Rectangle 41">
            <a:extLst>
              <a:ext uri="{FF2B5EF4-FFF2-40B4-BE49-F238E27FC236}">
                <a16:creationId xmlns:a16="http://schemas.microsoft.com/office/drawing/2014/main" id="{D2D2D707-DD21-4524-B114-B9C3DCA9DCF8}"/>
              </a:ext>
            </a:extLst>
          </p:cNvPr>
          <p:cNvSpPr>
            <a:spLocks noChangeArrowheads="1"/>
          </p:cNvSpPr>
          <p:nvPr/>
        </p:nvSpPr>
        <p:spPr bwMode="auto">
          <a:xfrm>
            <a:off x="8529904" y="4346669"/>
            <a:ext cx="1401940"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ysClr val="windowText" lastClr="000000"/>
                </a:solidFill>
                <a:latin typeface="Arial Narrow" charset="0"/>
              </a:rPr>
              <a:t>3.3</a:t>
            </a:r>
            <a:endParaRPr lang="en-US" altLang="en-US" sz="1400" b="1" kern="0" spc="140" baseline="30000">
              <a:solidFill>
                <a:sysClr val="windowText" lastClr="000000"/>
              </a:solidFill>
              <a:latin typeface="Arial Narrow" charset="0"/>
            </a:endParaRPr>
          </a:p>
        </p:txBody>
      </p:sp>
      <p:sp>
        <p:nvSpPr>
          <p:cNvPr id="28" name="Title 1">
            <a:extLst>
              <a:ext uri="{FF2B5EF4-FFF2-40B4-BE49-F238E27FC236}">
                <a16:creationId xmlns:a16="http://schemas.microsoft.com/office/drawing/2014/main" id="{8B54D01A-A5CF-4423-BEF4-90A748903338}"/>
              </a:ext>
            </a:extLst>
          </p:cNvPr>
          <p:cNvSpPr txBox="1">
            <a:spLocks/>
          </p:cNvSpPr>
          <p:nvPr/>
        </p:nvSpPr>
        <p:spPr>
          <a:xfrm>
            <a:off x="540487" y="-607839"/>
            <a:ext cx="11493795"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Impact of volatility reduction agent and dicamba formulation</a:t>
            </a:r>
          </a:p>
        </p:txBody>
      </p:sp>
      <p:sp>
        <p:nvSpPr>
          <p:cNvPr id="2" name="TextBox 1">
            <a:extLst>
              <a:ext uri="{FF2B5EF4-FFF2-40B4-BE49-F238E27FC236}">
                <a16:creationId xmlns:a16="http://schemas.microsoft.com/office/drawing/2014/main" id="{237D22F6-9119-42D8-80FE-81484C295484}"/>
              </a:ext>
            </a:extLst>
          </p:cNvPr>
          <p:cNvSpPr txBox="1"/>
          <p:nvPr/>
        </p:nvSpPr>
        <p:spPr>
          <a:xfrm>
            <a:off x="8505038" y="2286430"/>
            <a:ext cx="3137482" cy="122341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a:ea typeface="+mn-lt"/>
                <a:cs typeface="+mn-lt"/>
              </a:rPr>
              <a:t>All applications of this product require the inclusion of a </a:t>
            </a:r>
            <a:r>
              <a:rPr lang="en-US" sz="1050" b="1">
                <a:ea typeface="+mn-lt"/>
                <a:cs typeface="+mn-lt"/>
              </a:rPr>
              <a:t>volatility reduction adjuvant (VRA)</a:t>
            </a:r>
            <a:r>
              <a:rPr lang="en-US" sz="1050">
                <a:ea typeface="+mn-lt"/>
                <a:cs typeface="+mn-lt"/>
              </a:rPr>
              <a:t>, such as a </a:t>
            </a:r>
            <a:r>
              <a:rPr lang="en-US" sz="1050" err="1">
                <a:ea typeface="+mn-lt"/>
                <a:cs typeface="+mn-lt"/>
              </a:rPr>
              <a:t>VaporGrip</a:t>
            </a:r>
            <a:r>
              <a:rPr lang="en-US" sz="1050">
                <a:ea typeface="+mn-lt"/>
                <a:cs typeface="+mn-lt"/>
              </a:rPr>
              <a:t>® </a:t>
            </a:r>
            <a:r>
              <a:rPr lang="en-US" sz="1050" err="1">
                <a:ea typeface="+mn-lt"/>
                <a:cs typeface="+mn-lt"/>
              </a:rPr>
              <a:t>Xtra</a:t>
            </a:r>
            <a:r>
              <a:rPr lang="en-US" sz="1050">
                <a:ea typeface="+mn-lt"/>
                <a:cs typeface="+mn-lt"/>
              </a:rPr>
              <a:t> Agent</a:t>
            </a:r>
            <a:endParaRPr lang="en-US" sz="1050"/>
          </a:p>
          <a:p>
            <a:r>
              <a:rPr lang="en-US" sz="1050">
                <a:ea typeface="+mn-lt"/>
                <a:cs typeface="+mn-lt"/>
              </a:rPr>
              <a:t>product or an approved VRA equivalent. The inclusion of a drift reduction adjuvant (DRA) is also required, unless otherwise indicated on </a:t>
            </a:r>
            <a:r>
              <a:rPr lang="en-US" sz="1050">
                <a:ea typeface="+mn-lt"/>
                <a:cs typeface="+mn-lt"/>
                <a:hlinkClick r:id="rId6"/>
              </a:rPr>
              <a:t>www.xtendimaxapplicationrequirements.com</a:t>
            </a:r>
            <a:r>
              <a:rPr lang="en-US" sz="1050">
                <a:ea typeface="+mn-lt"/>
                <a:cs typeface="+mn-lt"/>
              </a:rPr>
              <a:t>.</a:t>
            </a:r>
            <a:endParaRPr lang="en-US" sz="1050"/>
          </a:p>
        </p:txBody>
      </p:sp>
    </p:spTree>
    <p:extLst>
      <p:ext uri="{BB962C8B-B14F-4D97-AF65-F5344CB8AC3E}">
        <p14:creationId xmlns:p14="http://schemas.microsoft.com/office/powerpoint/2010/main" val="287860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94371871-2292-41E1-9B6E-E2710097A23C}"/>
              </a:ext>
            </a:extLst>
          </p:cNvPr>
          <p:cNvSpPr>
            <a:spLocks noGrp="1"/>
          </p:cNvSpPr>
          <p:nvPr>
            <p:ph idx="1"/>
          </p:nvPr>
        </p:nvSpPr>
        <p:spPr>
          <a:xfrm>
            <a:off x="4368244" y="1239520"/>
            <a:ext cx="7005708" cy="1471515"/>
          </a:xfrm>
        </p:spPr>
        <p:txBody>
          <a:bodyPr anchor="t">
            <a:normAutofit/>
          </a:bodyPr>
          <a:lstStyle/>
          <a:p>
            <a:pPr marL="0" lvl="0" indent="0">
              <a:lnSpc>
                <a:spcPct val="100000"/>
              </a:lnSpc>
              <a:spcAft>
                <a:spcPts val="1200"/>
              </a:spcAft>
              <a:buNone/>
            </a:pPr>
            <a:r>
              <a:rPr lang="en-US"/>
              <a:t>Approved tank mix partners and </a:t>
            </a:r>
            <a:r>
              <a:rPr lang="en-US">
                <a:solidFill>
                  <a:srgbClr val="00B050"/>
                </a:solidFill>
              </a:rPr>
              <a:t>Required VRAs </a:t>
            </a:r>
            <a:r>
              <a:rPr lang="en-US"/>
              <a:t>and </a:t>
            </a:r>
            <a:r>
              <a:rPr lang="en-US">
                <a:solidFill>
                  <a:srgbClr val="00B050"/>
                </a:solidFill>
              </a:rPr>
              <a:t>DRAs</a:t>
            </a:r>
            <a:r>
              <a:rPr lang="en-US"/>
              <a:t> are included on the application requirements websites</a:t>
            </a:r>
          </a:p>
          <a:p>
            <a:pPr marL="914400" lvl="3" indent="0">
              <a:lnSpc>
                <a:spcPct val="100000"/>
              </a:lnSpc>
              <a:spcBef>
                <a:spcPts val="600"/>
              </a:spcBef>
              <a:spcAft>
                <a:spcPts val="600"/>
              </a:spcAft>
              <a:buNone/>
            </a:pPr>
            <a:r>
              <a:rPr lang="en-US" sz="1600"/>
              <a:t>Applicator must check the list of approved products no more than 7 days before applying</a:t>
            </a:r>
            <a:endParaRPr lang="en-US" sz="1600">
              <a:cs typeface="Arial"/>
            </a:endParaRPr>
          </a:p>
        </p:txBody>
      </p:sp>
      <p:sp>
        <p:nvSpPr>
          <p:cNvPr id="54" name="Text Placeholder 6">
            <a:extLst>
              <a:ext uri="{FF2B5EF4-FFF2-40B4-BE49-F238E27FC236}">
                <a16:creationId xmlns:a16="http://schemas.microsoft.com/office/drawing/2014/main" id="{B4103172-A72D-7441-BE7E-B8E2D18FC241}"/>
              </a:ext>
            </a:extLst>
          </p:cNvPr>
          <p:cNvSpPr>
            <a:spLocks noGrp="1"/>
          </p:cNvSpPr>
          <p:nvPr>
            <p:ph type="body" sz="quarter" idx="14"/>
          </p:nvPr>
        </p:nvSpPr>
        <p:spPr>
          <a:xfrm>
            <a:off x="966019" y="866777"/>
            <a:ext cx="10515600" cy="341632"/>
          </a:xfrm>
        </p:spPr>
        <p:txBody>
          <a:bodyPr/>
          <a:lstStyle/>
          <a:p>
            <a:r>
              <a:rPr lang="en-US"/>
              <a:t>Product websites</a:t>
            </a:r>
          </a:p>
        </p:txBody>
      </p:sp>
      <p:sp>
        <p:nvSpPr>
          <p:cNvPr id="2" name="Title 1"/>
          <p:cNvSpPr>
            <a:spLocks noGrp="1"/>
          </p:cNvSpPr>
          <p:nvPr>
            <p:ph type="title"/>
          </p:nvPr>
        </p:nvSpPr>
        <p:spPr/>
        <p:txBody>
          <a:bodyPr/>
          <a:lstStyle/>
          <a:p>
            <a:r>
              <a:rPr lang="en-US"/>
              <a:t>TANK MIXING INSTRUCTIONS</a:t>
            </a:r>
          </a:p>
        </p:txBody>
      </p:sp>
      <p:cxnSp>
        <p:nvCxnSpPr>
          <p:cNvPr id="21" name="Straight Connector 20">
            <a:extLst>
              <a:ext uri="{FF2B5EF4-FFF2-40B4-BE49-F238E27FC236}">
                <a16:creationId xmlns:a16="http://schemas.microsoft.com/office/drawing/2014/main" id="{A381AE37-2E76-473F-8A5E-8291D7431182}"/>
              </a:ext>
            </a:extLst>
          </p:cNvPr>
          <p:cNvCxnSpPr>
            <a:cxnSpLocks/>
          </p:cNvCxnSpPr>
          <p:nvPr/>
        </p:nvCxnSpPr>
        <p:spPr>
          <a:xfrm>
            <a:off x="3759355" y="1574800"/>
            <a:ext cx="0" cy="435133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Isosceles Triangle 20">
            <a:extLst>
              <a:ext uri="{FF2B5EF4-FFF2-40B4-BE49-F238E27FC236}">
                <a16:creationId xmlns:a16="http://schemas.microsoft.com/office/drawing/2014/main" id="{4FA37A0A-DE7C-4280-B942-7FCFDE60EA2B}"/>
              </a:ext>
            </a:extLst>
          </p:cNvPr>
          <p:cNvSpPr/>
          <p:nvPr/>
        </p:nvSpPr>
        <p:spPr>
          <a:xfrm rot="16200000">
            <a:off x="3541464" y="3684864"/>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TextBox 38">
            <a:extLst>
              <a:ext uri="{FF2B5EF4-FFF2-40B4-BE49-F238E27FC236}">
                <a16:creationId xmlns:a16="http://schemas.microsoft.com/office/drawing/2014/main" id="{62ECEFE2-6308-4657-909E-DB38D942B2E6}"/>
              </a:ext>
            </a:extLst>
          </p:cNvPr>
          <p:cNvSpPr txBox="1"/>
          <p:nvPr/>
        </p:nvSpPr>
        <p:spPr>
          <a:xfrm>
            <a:off x="853334" y="4175636"/>
            <a:ext cx="2082374" cy="461665"/>
          </a:xfrm>
          <a:prstGeom prst="rect">
            <a:avLst/>
          </a:prstGeom>
          <a:noFill/>
          <a:ln w="38100">
            <a:solidFill>
              <a:schemeClr val="tx1"/>
            </a:solidFill>
            <a:miter lim="800000"/>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TANK MIX </a:t>
            </a:r>
            <a:b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b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PARTNERS</a:t>
            </a:r>
          </a:p>
        </p:txBody>
      </p:sp>
      <p:sp>
        <p:nvSpPr>
          <p:cNvPr id="44" name="Content Placeholder 5">
            <a:extLst>
              <a:ext uri="{FF2B5EF4-FFF2-40B4-BE49-F238E27FC236}">
                <a16:creationId xmlns:a16="http://schemas.microsoft.com/office/drawing/2014/main" id="{FD19F8BF-E1FC-422D-8599-3A5E9ABCEAC3}"/>
              </a:ext>
            </a:extLst>
          </p:cNvPr>
          <p:cNvSpPr txBox="1">
            <a:spLocks/>
          </p:cNvSpPr>
          <p:nvPr/>
        </p:nvSpPr>
        <p:spPr>
          <a:xfrm>
            <a:off x="5788628" y="3286100"/>
            <a:ext cx="4235958" cy="313932"/>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sng" strike="noStrike" kern="1200" cap="none" spc="0" normalizeH="0" baseline="0" noProof="0">
                <a:ln>
                  <a:noFill/>
                </a:ln>
                <a:solidFill>
                  <a:schemeClr val="accent6"/>
                </a:solidFill>
                <a:effectLst/>
                <a:uLnTx/>
                <a:uFillTx/>
                <a:latin typeface="+mn-lt"/>
                <a:ea typeface="+mn-ea"/>
                <a:cs typeface="+mn-cs"/>
              </a:rPr>
              <a:t>www.xtendimaxapplicationrequirements.com</a:t>
            </a:r>
          </a:p>
        </p:txBody>
      </p:sp>
      <p:cxnSp>
        <p:nvCxnSpPr>
          <p:cNvPr id="33" name="Straight Connector 32">
            <a:extLst>
              <a:ext uri="{FF2B5EF4-FFF2-40B4-BE49-F238E27FC236}">
                <a16:creationId xmlns:a16="http://schemas.microsoft.com/office/drawing/2014/main" id="{4A4DB113-03FD-42DA-9E63-63843055F690}"/>
              </a:ext>
            </a:extLst>
          </p:cNvPr>
          <p:cNvCxnSpPr>
            <a:cxnSpLocks/>
          </p:cNvCxnSpPr>
          <p:nvPr/>
        </p:nvCxnSpPr>
        <p:spPr>
          <a:xfrm>
            <a:off x="5198483" y="2149850"/>
            <a:ext cx="0" cy="424206"/>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9579DE0-2D15-4A09-9E96-98AA90AC63BA}"/>
              </a:ext>
            </a:extLst>
          </p:cNvPr>
          <p:cNvGrpSpPr/>
          <p:nvPr/>
        </p:nvGrpSpPr>
        <p:grpSpPr>
          <a:xfrm>
            <a:off x="4529008" y="2783609"/>
            <a:ext cx="6755199" cy="468070"/>
            <a:chOff x="4522401" y="2783609"/>
            <a:chExt cx="6755199" cy="468070"/>
          </a:xfrm>
        </p:grpSpPr>
        <p:sp>
          <p:nvSpPr>
            <p:cNvPr id="43" name="Isosceles Triangle 42">
              <a:extLst>
                <a:ext uri="{FF2B5EF4-FFF2-40B4-BE49-F238E27FC236}">
                  <a16:creationId xmlns:a16="http://schemas.microsoft.com/office/drawing/2014/main" id="{8323BD30-B02C-47EF-BF50-DF2FEC181BFB}"/>
                </a:ext>
              </a:extLst>
            </p:cNvPr>
            <p:cNvSpPr/>
            <p:nvPr/>
          </p:nvSpPr>
          <p:spPr>
            <a:xfrm rot="10800000">
              <a:off x="7766250" y="3120468"/>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2" name="Rectangle 41">
              <a:extLst>
                <a:ext uri="{FF2B5EF4-FFF2-40B4-BE49-F238E27FC236}">
                  <a16:creationId xmlns:a16="http://schemas.microsoft.com/office/drawing/2014/main" id="{C4A98966-F182-4EC7-9EFB-98836C4BAD7B}"/>
                </a:ext>
              </a:extLst>
            </p:cNvPr>
            <p:cNvSpPr/>
            <p:nvPr/>
          </p:nvSpPr>
          <p:spPr>
            <a:xfrm>
              <a:off x="4522401" y="2783609"/>
              <a:ext cx="6755199" cy="304537"/>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err="1">
                  <a:ln>
                    <a:noFill/>
                  </a:ln>
                  <a:solidFill>
                    <a:schemeClr val="tx1"/>
                  </a:solidFill>
                  <a:effectLst/>
                  <a:uLnTx/>
                  <a:uFillTx/>
                </a:rPr>
                <a:t>XtendiMax</a:t>
              </a:r>
              <a:r>
                <a:rPr kumimoji="0" lang="en-US" sz="1600" b="0" i="0" u="none" strike="noStrike" kern="0" cap="none" spc="0" normalizeH="0" baseline="30000" noProof="0">
                  <a:ln>
                    <a:noFill/>
                  </a:ln>
                  <a:solidFill>
                    <a:schemeClr val="tx1"/>
                  </a:solidFill>
                  <a:effectLst/>
                  <a:uLnTx/>
                  <a:uFillTx/>
                </a:rPr>
                <a:t>®</a:t>
              </a:r>
              <a:r>
                <a:rPr kumimoji="0" lang="en-US" sz="1600" b="0" i="0" u="none" strike="noStrike" kern="0" cap="none" spc="0" normalizeH="0" baseline="0" noProof="0">
                  <a:ln>
                    <a:noFill/>
                  </a:ln>
                  <a:solidFill>
                    <a:schemeClr val="tx1"/>
                  </a:solidFill>
                  <a:effectLst/>
                  <a:uLnTx/>
                  <a:uFillTx/>
                </a:rPr>
                <a:t> Herbicide with </a:t>
              </a:r>
              <a:r>
                <a:rPr kumimoji="0" lang="en-US" sz="1600" b="0" i="0" u="none" strike="noStrike" kern="0" cap="none" spc="0" normalizeH="0" baseline="0" noProof="0" err="1">
                  <a:ln>
                    <a:noFill/>
                  </a:ln>
                  <a:solidFill>
                    <a:schemeClr val="tx1"/>
                  </a:solidFill>
                  <a:effectLst/>
                  <a:uLnTx/>
                  <a:uFillTx/>
                </a:rPr>
                <a:t>VaporGrip</a:t>
              </a:r>
              <a:r>
                <a:rPr kumimoji="0" lang="en-US" sz="1600" b="0" i="0" u="none" strike="noStrike" kern="0" cap="none" spc="0" normalizeH="0" baseline="30000" noProof="0">
                  <a:ln>
                    <a:noFill/>
                  </a:ln>
                  <a:solidFill>
                    <a:schemeClr val="tx1"/>
                  </a:solidFill>
                  <a:effectLst/>
                  <a:uLnTx/>
                  <a:uFillTx/>
                </a:rPr>
                <a:t>® </a:t>
              </a:r>
              <a:r>
                <a:rPr kumimoji="0" lang="en-US" sz="1600" b="0" i="0" u="none" strike="noStrike" kern="0" cap="none" spc="0" normalizeH="0" baseline="0" noProof="0">
                  <a:ln>
                    <a:noFill/>
                  </a:ln>
                  <a:solidFill>
                    <a:schemeClr val="tx1"/>
                  </a:solidFill>
                  <a:effectLst/>
                  <a:uLnTx/>
                  <a:uFillTx/>
                </a:rPr>
                <a:t>Technology </a:t>
              </a:r>
              <a:r>
                <a:rPr kumimoji="0" lang="en-US" sz="1400" b="1" i="0" u="none" strike="noStrike" kern="0" cap="none" spc="0" normalizeH="0" baseline="0" noProof="0">
                  <a:ln>
                    <a:noFill/>
                  </a:ln>
                  <a:solidFill>
                    <a:schemeClr val="tx1"/>
                  </a:solidFill>
                  <a:effectLst/>
                  <a:uLnTx/>
                  <a:uFillTx/>
                </a:rPr>
                <a:t>(Bayer)</a:t>
              </a:r>
            </a:p>
          </p:txBody>
        </p:sp>
      </p:grpSp>
      <p:grpSp>
        <p:nvGrpSpPr>
          <p:cNvPr id="7" name="Group 6">
            <a:extLst>
              <a:ext uri="{FF2B5EF4-FFF2-40B4-BE49-F238E27FC236}">
                <a16:creationId xmlns:a16="http://schemas.microsoft.com/office/drawing/2014/main" id="{87088EEB-0812-4619-9465-B46360E1F0A6}"/>
              </a:ext>
            </a:extLst>
          </p:cNvPr>
          <p:cNvGrpSpPr/>
          <p:nvPr/>
        </p:nvGrpSpPr>
        <p:grpSpPr>
          <a:xfrm>
            <a:off x="4529008" y="3906307"/>
            <a:ext cx="6755199" cy="446736"/>
            <a:chOff x="4535615" y="4434558"/>
            <a:chExt cx="6755199" cy="446736"/>
          </a:xfrm>
        </p:grpSpPr>
        <p:sp>
          <p:nvSpPr>
            <p:cNvPr id="72" name="Isosceles Triangle 71">
              <a:extLst>
                <a:ext uri="{FF2B5EF4-FFF2-40B4-BE49-F238E27FC236}">
                  <a16:creationId xmlns:a16="http://schemas.microsoft.com/office/drawing/2014/main" id="{F5E48103-F77F-4AF3-B20C-DE2BC942D3BF}"/>
                </a:ext>
              </a:extLst>
            </p:cNvPr>
            <p:cNvSpPr/>
            <p:nvPr/>
          </p:nvSpPr>
          <p:spPr>
            <a:xfrm rot="10800000">
              <a:off x="7786570" y="475008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74" name="Rectangle 73">
              <a:extLst>
                <a:ext uri="{FF2B5EF4-FFF2-40B4-BE49-F238E27FC236}">
                  <a16:creationId xmlns:a16="http://schemas.microsoft.com/office/drawing/2014/main" id="{932EACAB-2D34-4400-81A6-37576772F465}"/>
                </a:ext>
              </a:extLst>
            </p:cNvPr>
            <p:cNvSpPr/>
            <p:nvPr/>
          </p:nvSpPr>
          <p:spPr>
            <a:xfrm>
              <a:off x="4535615" y="4434558"/>
              <a:ext cx="6755199" cy="304537"/>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err="1">
                  <a:ln>
                    <a:noFill/>
                  </a:ln>
                  <a:solidFill>
                    <a:schemeClr val="tx1"/>
                  </a:solidFill>
                  <a:effectLst/>
                  <a:uLnTx/>
                  <a:uFillTx/>
                </a:rPr>
                <a:t>Engenia</a:t>
              </a:r>
              <a:r>
                <a:rPr kumimoji="0" lang="en-US" sz="1600" b="0" i="0" u="none" strike="noStrike" kern="0" cap="none" spc="0" normalizeH="0" baseline="30000" noProof="0">
                  <a:ln>
                    <a:noFill/>
                  </a:ln>
                  <a:solidFill>
                    <a:schemeClr val="tx1"/>
                  </a:solidFill>
                  <a:effectLst/>
                  <a:uLnTx/>
                  <a:uFillTx/>
                </a:rPr>
                <a:t>®</a:t>
              </a:r>
              <a:r>
                <a:rPr kumimoji="0" lang="en-US" sz="1600" b="0" i="0" u="none" strike="noStrike" kern="0" cap="none" spc="0" normalizeH="0" baseline="0" noProof="0">
                  <a:ln>
                    <a:noFill/>
                  </a:ln>
                  <a:solidFill>
                    <a:schemeClr val="tx1"/>
                  </a:solidFill>
                  <a:effectLst/>
                  <a:uLnTx/>
                  <a:uFillTx/>
                </a:rPr>
                <a:t> Herbicide </a:t>
              </a:r>
              <a:r>
                <a:rPr kumimoji="0" lang="en-US" sz="1400" b="1" i="0" u="none" strike="noStrike" kern="0" cap="none" spc="0" normalizeH="0" baseline="0" noProof="0">
                  <a:ln>
                    <a:noFill/>
                  </a:ln>
                  <a:solidFill>
                    <a:schemeClr val="tx1"/>
                  </a:solidFill>
                  <a:effectLst/>
                  <a:uLnTx/>
                  <a:uFillTx/>
                </a:rPr>
                <a:t>(BASF)</a:t>
              </a:r>
            </a:p>
          </p:txBody>
        </p:sp>
      </p:grpSp>
      <p:sp>
        <p:nvSpPr>
          <p:cNvPr id="77" name="Content Placeholder 5">
            <a:extLst>
              <a:ext uri="{FF2B5EF4-FFF2-40B4-BE49-F238E27FC236}">
                <a16:creationId xmlns:a16="http://schemas.microsoft.com/office/drawing/2014/main" id="{F8D06CAF-C365-47A0-86AE-8CE30C25A455}"/>
              </a:ext>
            </a:extLst>
          </p:cNvPr>
          <p:cNvSpPr txBox="1">
            <a:spLocks/>
          </p:cNvSpPr>
          <p:nvPr/>
        </p:nvSpPr>
        <p:spPr>
          <a:xfrm>
            <a:off x="5750128" y="4375107"/>
            <a:ext cx="4312959" cy="584775"/>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tx1"/>
                </a:solidFill>
                <a:effectLst/>
                <a:uLnTx/>
                <a:uFillTx/>
                <a:latin typeface="+mn-lt"/>
                <a:ea typeface="+mn-ea"/>
                <a:cs typeface="+mn-cs"/>
              </a:rPr>
              <a:t>Stewardship:</a:t>
            </a:r>
            <a:r>
              <a:rPr kumimoji="0" lang="en-US" sz="1600" b="0" i="0" u="none" strike="noStrike" kern="1200" cap="none" spc="0" normalizeH="0" baseline="0" noProof="0">
                <a:ln>
                  <a:noFill/>
                </a:ln>
                <a:solidFill>
                  <a:schemeClr val="tx1"/>
                </a:solidFill>
                <a:effectLst/>
                <a:uLnTx/>
                <a:uFillTx/>
                <a:latin typeface="+mn-lt"/>
                <a:ea typeface="+mn-ea"/>
                <a:cs typeface="+mn-cs"/>
              </a:rPr>
              <a:t> </a:t>
            </a:r>
            <a:r>
              <a:rPr kumimoji="0" lang="en-US" sz="1600" b="0" i="0" u="sng" strike="noStrike" kern="1200" cap="none" spc="0" normalizeH="0" baseline="0" noProof="0">
                <a:ln>
                  <a:noFill/>
                </a:ln>
                <a:solidFill>
                  <a:schemeClr val="accent6">
                    <a:lumMod val="75000"/>
                  </a:schemeClr>
                </a:solidFill>
                <a:effectLst/>
                <a:uLnTx/>
                <a:uFillTx/>
                <a:latin typeface="+mn-lt"/>
                <a:ea typeface="+mn-ea"/>
                <a:cs typeface="+mn-cs"/>
              </a:rPr>
              <a:t>www.</a:t>
            </a:r>
            <a:r>
              <a:rPr kumimoji="0" lang="en-US" sz="1600" b="0" i="0" u="sng" strike="noStrike" kern="1200" cap="none" spc="0" normalizeH="0" baseline="0" noProof="0">
                <a:ln>
                  <a:noFill/>
                </a:ln>
                <a:solidFill>
                  <a:schemeClr val="accent6"/>
                </a:solidFill>
                <a:effectLst/>
                <a:uLnTx/>
                <a:uFillTx/>
                <a:latin typeface="+mn-lt"/>
                <a:ea typeface="+mn-ea"/>
                <a:cs typeface="+mn-cs"/>
              </a:rPr>
              <a:t>engeniastewardship.co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tx1"/>
                </a:solidFill>
                <a:effectLst/>
                <a:uLnTx/>
                <a:uFillTx/>
                <a:latin typeface="+mn-lt"/>
                <a:ea typeface="+mn-ea"/>
                <a:cs typeface="+mn-cs"/>
              </a:rPr>
              <a:t>Tank Mix: </a:t>
            </a:r>
            <a:r>
              <a:rPr kumimoji="0" lang="en-US" sz="1600" i="0" u="sng" strike="noStrike" kern="1200" cap="none" spc="0" normalizeH="0" baseline="0" noProof="0">
                <a:ln>
                  <a:noFill/>
                </a:ln>
                <a:solidFill>
                  <a:schemeClr val="accent6">
                    <a:lumMod val="75000"/>
                  </a:schemeClr>
                </a:solidFill>
                <a:effectLst/>
                <a:uLnTx/>
                <a:uFillTx/>
                <a:latin typeface="+mn-lt"/>
                <a:ea typeface="+mn-ea"/>
                <a:cs typeface="+mn-cs"/>
              </a:rPr>
              <a:t>www.</a:t>
            </a:r>
            <a:r>
              <a:rPr kumimoji="0" lang="en-US" sz="1600" b="0" i="0" u="sng" strike="noStrike" kern="1200" cap="none" spc="0" normalizeH="0" baseline="0" noProof="0">
                <a:ln>
                  <a:noFill/>
                </a:ln>
                <a:solidFill>
                  <a:schemeClr val="accent6"/>
                </a:solidFill>
                <a:effectLst/>
                <a:uLnTx/>
                <a:uFillTx/>
                <a:latin typeface="+mn-lt"/>
                <a:ea typeface="+mn-ea"/>
                <a:cs typeface="+mn-cs"/>
              </a:rPr>
              <a:t>engeniatankmix.com</a:t>
            </a:r>
          </a:p>
        </p:txBody>
      </p:sp>
      <p:sp>
        <p:nvSpPr>
          <p:cNvPr id="78" name="Content Placeholder 5">
            <a:extLst>
              <a:ext uri="{FF2B5EF4-FFF2-40B4-BE49-F238E27FC236}">
                <a16:creationId xmlns:a16="http://schemas.microsoft.com/office/drawing/2014/main" id="{6C20897B-6891-438C-A5DA-6D34DA598BC9}"/>
              </a:ext>
            </a:extLst>
          </p:cNvPr>
          <p:cNvSpPr txBox="1">
            <a:spLocks/>
          </p:cNvSpPr>
          <p:nvPr/>
        </p:nvSpPr>
        <p:spPr>
          <a:xfrm>
            <a:off x="592736" y="5111495"/>
            <a:ext cx="2772379" cy="867930"/>
          </a:xfrm>
          <a:prstGeom prst="rect">
            <a:avLst/>
          </a:prstGeom>
          <a:ln w="41275">
            <a:solidFill>
              <a:schemeClr val="accent1"/>
            </a:solid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Arial Narrow" charset="0"/>
                <a:ea typeface="+mn-ea"/>
                <a:cs typeface="+mn-cs"/>
              </a:rPr>
              <a:t>Websites show approved nozzles, pressure ranges, VRAs, DRAs, tank mixes, and Drift Reduction Technologies (DRTs).</a:t>
            </a:r>
          </a:p>
        </p:txBody>
      </p:sp>
      <p:sp>
        <p:nvSpPr>
          <p:cNvPr id="11" name="Footer Placeholder 10">
            <a:extLst>
              <a:ext uri="{FF2B5EF4-FFF2-40B4-BE49-F238E27FC236}">
                <a16:creationId xmlns:a16="http://schemas.microsoft.com/office/drawing/2014/main" id="{E8253CFD-2C9D-4671-AF4A-B197CD0E9D4B}"/>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2" name="Slide Number Placeholder 11">
            <a:extLst>
              <a:ext uri="{FF2B5EF4-FFF2-40B4-BE49-F238E27FC236}">
                <a16:creationId xmlns:a16="http://schemas.microsoft.com/office/drawing/2014/main" id="{8602EF9C-C450-4384-A8DD-F7FAD33C2D76}"/>
              </a:ext>
            </a:extLst>
          </p:cNvPr>
          <p:cNvSpPr>
            <a:spLocks noGrp="1"/>
          </p:cNvSpPr>
          <p:nvPr>
            <p:ph type="sldNum" sz="quarter" idx="16"/>
          </p:nvPr>
        </p:nvSpPr>
        <p:spPr/>
        <p:txBody>
          <a:bodyPr/>
          <a:lstStyle/>
          <a:p>
            <a:fld id="{5382645D-9DD6-408C-B0EA-C65795F9B1DE}" type="slidenum">
              <a:rPr lang="en-US" smtClean="0"/>
              <a:pPr/>
              <a:t>24</a:t>
            </a:fld>
            <a:endParaRPr lang="en-US"/>
          </a:p>
        </p:txBody>
      </p:sp>
      <p:grpSp>
        <p:nvGrpSpPr>
          <p:cNvPr id="40" name="Group 39">
            <a:extLst>
              <a:ext uri="{FF2B5EF4-FFF2-40B4-BE49-F238E27FC236}">
                <a16:creationId xmlns:a16="http://schemas.microsoft.com/office/drawing/2014/main" id="{5AB1247B-CB97-4313-AE9E-BD0866ABE3C0}"/>
              </a:ext>
            </a:extLst>
          </p:cNvPr>
          <p:cNvGrpSpPr/>
          <p:nvPr/>
        </p:nvGrpSpPr>
        <p:grpSpPr>
          <a:xfrm>
            <a:off x="1252317" y="2894980"/>
            <a:ext cx="1266907" cy="1000963"/>
            <a:chOff x="-1947862" y="-973138"/>
            <a:chExt cx="2465388" cy="1947864"/>
          </a:xfrm>
          <a:solidFill>
            <a:schemeClr val="accent6"/>
          </a:solidFill>
        </p:grpSpPr>
        <p:sp>
          <p:nvSpPr>
            <p:cNvPr id="41" name="Freeform 5">
              <a:extLst>
                <a:ext uri="{FF2B5EF4-FFF2-40B4-BE49-F238E27FC236}">
                  <a16:creationId xmlns:a16="http://schemas.microsoft.com/office/drawing/2014/main" id="{DA053891-E134-464C-9113-7EB6F3D5670E}"/>
                </a:ext>
              </a:extLst>
            </p:cNvPr>
            <p:cNvSpPr>
              <a:spLocks/>
            </p:cNvSpPr>
            <p:nvPr/>
          </p:nvSpPr>
          <p:spPr bwMode="auto">
            <a:xfrm>
              <a:off x="395288" y="-973138"/>
              <a:ext cx="122238" cy="730250"/>
            </a:xfrm>
            <a:custGeom>
              <a:avLst/>
              <a:gdLst>
                <a:gd name="T0" fmla="*/ 63 w 126"/>
                <a:gd name="T1" fmla="*/ 752 h 752"/>
                <a:gd name="T2" fmla="*/ 0 w 126"/>
                <a:gd name="T3" fmla="*/ 689 h 752"/>
                <a:gd name="T4" fmla="*/ 0 w 126"/>
                <a:gd name="T5" fmla="*/ 62 h 752"/>
                <a:gd name="T6" fmla="*/ 63 w 126"/>
                <a:gd name="T7" fmla="*/ 0 h 752"/>
                <a:gd name="T8" fmla="*/ 126 w 126"/>
                <a:gd name="T9" fmla="*/ 62 h 752"/>
                <a:gd name="T10" fmla="*/ 126 w 126"/>
                <a:gd name="T11" fmla="*/ 689 h 752"/>
                <a:gd name="T12" fmla="*/ 63 w 126"/>
                <a:gd name="T13" fmla="*/ 752 h 752"/>
              </a:gdLst>
              <a:ahLst/>
              <a:cxnLst>
                <a:cxn ang="0">
                  <a:pos x="T0" y="T1"/>
                </a:cxn>
                <a:cxn ang="0">
                  <a:pos x="T2" y="T3"/>
                </a:cxn>
                <a:cxn ang="0">
                  <a:pos x="T4" y="T5"/>
                </a:cxn>
                <a:cxn ang="0">
                  <a:pos x="T6" y="T7"/>
                </a:cxn>
                <a:cxn ang="0">
                  <a:pos x="T8" y="T9"/>
                </a:cxn>
                <a:cxn ang="0">
                  <a:pos x="T10" y="T11"/>
                </a:cxn>
                <a:cxn ang="0">
                  <a:pos x="T12" y="T13"/>
                </a:cxn>
              </a:cxnLst>
              <a:rect l="0" t="0" r="r" b="b"/>
              <a:pathLst>
                <a:path w="126" h="752">
                  <a:moveTo>
                    <a:pt x="63" y="752"/>
                  </a:moveTo>
                  <a:cubicBezTo>
                    <a:pt x="32" y="752"/>
                    <a:pt x="0" y="720"/>
                    <a:pt x="0" y="689"/>
                  </a:cubicBezTo>
                  <a:cubicBezTo>
                    <a:pt x="0" y="62"/>
                    <a:pt x="0" y="62"/>
                    <a:pt x="0" y="62"/>
                  </a:cubicBezTo>
                  <a:cubicBezTo>
                    <a:pt x="0" y="31"/>
                    <a:pt x="32" y="0"/>
                    <a:pt x="63" y="0"/>
                  </a:cubicBezTo>
                  <a:cubicBezTo>
                    <a:pt x="94" y="0"/>
                    <a:pt x="126" y="31"/>
                    <a:pt x="126" y="62"/>
                  </a:cubicBezTo>
                  <a:cubicBezTo>
                    <a:pt x="126" y="689"/>
                    <a:pt x="126" y="689"/>
                    <a:pt x="126" y="689"/>
                  </a:cubicBezTo>
                  <a:cubicBezTo>
                    <a:pt x="126" y="720"/>
                    <a:pt x="94" y="752"/>
                    <a:pt x="63" y="7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
              <a:extLst>
                <a:ext uri="{FF2B5EF4-FFF2-40B4-BE49-F238E27FC236}">
                  <a16:creationId xmlns:a16="http://schemas.microsoft.com/office/drawing/2014/main" id="{37C6E12F-7BF4-498F-8B55-C682924A4A33}"/>
                </a:ext>
              </a:extLst>
            </p:cNvPr>
            <p:cNvSpPr>
              <a:spLocks/>
            </p:cNvSpPr>
            <p:nvPr/>
          </p:nvSpPr>
          <p:spPr bwMode="auto">
            <a:xfrm>
              <a:off x="-1947862" y="-973138"/>
              <a:ext cx="122238" cy="730250"/>
            </a:xfrm>
            <a:custGeom>
              <a:avLst/>
              <a:gdLst>
                <a:gd name="T0" fmla="*/ 63 w 126"/>
                <a:gd name="T1" fmla="*/ 752 h 752"/>
                <a:gd name="T2" fmla="*/ 0 w 126"/>
                <a:gd name="T3" fmla="*/ 689 h 752"/>
                <a:gd name="T4" fmla="*/ 0 w 126"/>
                <a:gd name="T5" fmla="*/ 62 h 752"/>
                <a:gd name="T6" fmla="*/ 63 w 126"/>
                <a:gd name="T7" fmla="*/ 0 h 752"/>
                <a:gd name="T8" fmla="*/ 126 w 126"/>
                <a:gd name="T9" fmla="*/ 62 h 752"/>
                <a:gd name="T10" fmla="*/ 126 w 126"/>
                <a:gd name="T11" fmla="*/ 689 h 752"/>
                <a:gd name="T12" fmla="*/ 63 w 126"/>
                <a:gd name="T13" fmla="*/ 752 h 752"/>
              </a:gdLst>
              <a:ahLst/>
              <a:cxnLst>
                <a:cxn ang="0">
                  <a:pos x="T0" y="T1"/>
                </a:cxn>
                <a:cxn ang="0">
                  <a:pos x="T2" y="T3"/>
                </a:cxn>
                <a:cxn ang="0">
                  <a:pos x="T4" y="T5"/>
                </a:cxn>
                <a:cxn ang="0">
                  <a:pos x="T6" y="T7"/>
                </a:cxn>
                <a:cxn ang="0">
                  <a:pos x="T8" y="T9"/>
                </a:cxn>
                <a:cxn ang="0">
                  <a:pos x="T10" y="T11"/>
                </a:cxn>
                <a:cxn ang="0">
                  <a:pos x="T12" y="T13"/>
                </a:cxn>
              </a:cxnLst>
              <a:rect l="0" t="0" r="r" b="b"/>
              <a:pathLst>
                <a:path w="126" h="752">
                  <a:moveTo>
                    <a:pt x="63" y="752"/>
                  </a:moveTo>
                  <a:cubicBezTo>
                    <a:pt x="32" y="752"/>
                    <a:pt x="0" y="720"/>
                    <a:pt x="0" y="689"/>
                  </a:cubicBezTo>
                  <a:cubicBezTo>
                    <a:pt x="0" y="62"/>
                    <a:pt x="0" y="62"/>
                    <a:pt x="0" y="62"/>
                  </a:cubicBezTo>
                  <a:cubicBezTo>
                    <a:pt x="0" y="31"/>
                    <a:pt x="32" y="0"/>
                    <a:pt x="63" y="0"/>
                  </a:cubicBezTo>
                  <a:cubicBezTo>
                    <a:pt x="95" y="0"/>
                    <a:pt x="126" y="31"/>
                    <a:pt x="126" y="62"/>
                  </a:cubicBezTo>
                  <a:cubicBezTo>
                    <a:pt x="126" y="689"/>
                    <a:pt x="126" y="689"/>
                    <a:pt x="126" y="689"/>
                  </a:cubicBezTo>
                  <a:cubicBezTo>
                    <a:pt x="126" y="720"/>
                    <a:pt x="95" y="752"/>
                    <a:pt x="63" y="7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4500759B-9F1B-47D1-A11E-9BE3A1C3243A}"/>
                </a:ext>
              </a:extLst>
            </p:cNvPr>
            <p:cNvSpPr>
              <a:spLocks noEditPoints="1"/>
            </p:cNvSpPr>
            <p:nvPr/>
          </p:nvSpPr>
          <p:spPr bwMode="auto">
            <a:xfrm>
              <a:off x="-1735137" y="-942975"/>
              <a:ext cx="2039938" cy="1917701"/>
            </a:xfrm>
            <a:custGeom>
              <a:avLst/>
              <a:gdLst>
                <a:gd name="T0" fmla="*/ 1849 w 2099"/>
                <a:gd name="T1" fmla="*/ 0 h 1974"/>
                <a:gd name="T2" fmla="*/ 1786 w 2099"/>
                <a:gd name="T3" fmla="*/ 125 h 1974"/>
                <a:gd name="T4" fmla="*/ 1034 w 2099"/>
                <a:gd name="T5" fmla="*/ 627 h 1974"/>
                <a:gd name="T6" fmla="*/ 313 w 2099"/>
                <a:gd name="T7" fmla="*/ 125 h 1974"/>
                <a:gd name="T8" fmla="*/ 251 w 2099"/>
                <a:gd name="T9" fmla="*/ 0 h 1974"/>
                <a:gd name="T10" fmla="*/ 0 w 2099"/>
                <a:gd name="T11" fmla="*/ 63 h 1974"/>
                <a:gd name="T12" fmla="*/ 63 w 2099"/>
                <a:gd name="T13" fmla="*/ 689 h 1974"/>
                <a:gd name="T14" fmla="*/ 313 w 2099"/>
                <a:gd name="T15" fmla="*/ 627 h 1974"/>
                <a:gd name="T16" fmla="*/ 815 w 2099"/>
                <a:gd name="T17" fmla="*/ 1285 h 1974"/>
                <a:gd name="T18" fmla="*/ 815 w 2099"/>
                <a:gd name="T19" fmla="*/ 1316 h 1974"/>
                <a:gd name="T20" fmla="*/ 877 w 2099"/>
                <a:gd name="T21" fmla="*/ 1974 h 1974"/>
                <a:gd name="T22" fmla="*/ 971 w 2099"/>
                <a:gd name="T23" fmla="*/ 1316 h 1974"/>
                <a:gd name="T24" fmla="*/ 971 w 2099"/>
                <a:gd name="T25" fmla="*/ 1285 h 1974"/>
                <a:gd name="T26" fmla="*/ 1034 w 2099"/>
                <a:gd name="T27" fmla="*/ 909 h 1974"/>
                <a:gd name="T28" fmla="*/ 1128 w 2099"/>
                <a:gd name="T29" fmla="*/ 1285 h 1974"/>
                <a:gd name="T30" fmla="*/ 1128 w 2099"/>
                <a:gd name="T31" fmla="*/ 1316 h 1974"/>
                <a:gd name="T32" fmla="*/ 1222 w 2099"/>
                <a:gd name="T33" fmla="*/ 1974 h 1974"/>
                <a:gd name="T34" fmla="*/ 1285 w 2099"/>
                <a:gd name="T35" fmla="*/ 1316 h 1974"/>
                <a:gd name="T36" fmla="*/ 1285 w 2099"/>
                <a:gd name="T37" fmla="*/ 1285 h 1974"/>
                <a:gd name="T38" fmla="*/ 1786 w 2099"/>
                <a:gd name="T39" fmla="*/ 627 h 1974"/>
                <a:gd name="T40" fmla="*/ 2037 w 2099"/>
                <a:gd name="T41" fmla="*/ 689 h 1974"/>
                <a:gd name="T42" fmla="*/ 2099 w 2099"/>
                <a:gd name="T43" fmla="*/ 63 h 1974"/>
                <a:gd name="T44" fmla="*/ 188 w 2099"/>
                <a:gd name="T45" fmla="*/ 564 h 1974"/>
                <a:gd name="T46" fmla="*/ 125 w 2099"/>
                <a:gd name="T47" fmla="*/ 125 h 1974"/>
                <a:gd name="T48" fmla="*/ 188 w 2099"/>
                <a:gd name="T49" fmla="*/ 564 h 1974"/>
                <a:gd name="T50" fmla="*/ 877 w 2099"/>
                <a:gd name="T51" fmla="*/ 940 h 1974"/>
                <a:gd name="T52" fmla="*/ 877 w 2099"/>
                <a:gd name="T53" fmla="*/ 940 h 1974"/>
                <a:gd name="T54" fmla="*/ 313 w 2099"/>
                <a:gd name="T55" fmla="*/ 282 h 1974"/>
                <a:gd name="T56" fmla="*/ 971 w 2099"/>
                <a:gd name="T57" fmla="*/ 752 h 1974"/>
                <a:gd name="T58" fmla="*/ 1222 w 2099"/>
                <a:gd name="T59" fmla="*/ 940 h 1974"/>
                <a:gd name="T60" fmla="*/ 1128 w 2099"/>
                <a:gd name="T61" fmla="*/ 752 h 1974"/>
                <a:gd name="T62" fmla="*/ 1128 w 2099"/>
                <a:gd name="T63" fmla="*/ 752 h 1974"/>
                <a:gd name="T64" fmla="*/ 1786 w 2099"/>
                <a:gd name="T65" fmla="*/ 470 h 1974"/>
                <a:gd name="T66" fmla="*/ 1974 w 2099"/>
                <a:gd name="T67" fmla="*/ 564 h 1974"/>
                <a:gd name="T68" fmla="*/ 1911 w 2099"/>
                <a:gd name="T69" fmla="*/ 125 h 1974"/>
                <a:gd name="T70" fmla="*/ 1974 w 2099"/>
                <a:gd name="T71" fmla="*/ 564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9" h="1974">
                  <a:moveTo>
                    <a:pt x="2037" y="0"/>
                  </a:moveTo>
                  <a:cubicBezTo>
                    <a:pt x="1849" y="0"/>
                    <a:pt x="1849" y="0"/>
                    <a:pt x="1849" y="0"/>
                  </a:cubicBezTo>
                  <a:cubicBezTo>
                    <a:pt x="1786" y="0"/>
                    <a:pt x="1786" y="31"/>
                    <a:pt x="1786" y="63"/>
                  </a:cubicBezTo>
                  <a:cubicBezTo>
                    <a:pt x="1786" y="125"/>
                    <a:pt x="1786" y="125"/>
                    <a:pt x="1786" y="125"/>
                  </a:cubicBezTo>
                  <a:cubicBezTo>
                    <a:pt x="1473" y="219"/>
                    <a:pt x="1222" y="376"/>
                    <a:pt x="1065" y="627"/>
                  </a:cubicBezTo>
                  <a:cubicBezTo>
                    <a:pt x="1034" y="627"/>
                    <a:pt x="1034" y="627"/>
                    <a:pt x="1034" y="627"/>
                  </a:cubicBezTo>
                  <a:cubicBezTo>
                    <a:pt x="1034" y="627"/>
                    <a:pt x="1034" y="627"/>
                    <a:pt x="1034" y="627"/>
                  </a:cubicBezTo>
                  <a:cubicBezTo>
                    <a:pt x="877" y="376"/>
                    <a:pt x="627" y="219"/>
                    <a:pt x="313" y="125"/>
                  </a:cubicBezTo>
                  <a:cubicBezTo>
                    <a:pt x="313" y="63"/>
                    <a:pt x="313" y="63"/>
                    <a:pt x="313" y="63"/>
                  </a:cubicBezTo>
                  <a:cubicBezTo>
                    <a:pt x="313" y="31"/>
                    <a:pt x="313" y="0"/>
                    <a:pt x="251" y="0"/>
                  </a:cubicBezTo>
                  <a:cubicBezTo>
                    <a:pt x="63" y="0"/>
                    <a:pt x="63" y="0"/>
                    <a:pt x="63" y="0"/>
                  </a:cubicBezTo>
                  <a:cubicBezTo>
                    <a:pt x="31" y="0"/>
                    <a:pt x="0" y="31"/>
                    <a:pt x="0" y="63"/>
                  </a:cubicBezTo>
                  <a:cubicBezTo>
                    <a:pt x="0" y="627"/>
                    <a:pt x="0" y="627"/>
                    <a:pt x="0" y="627"/>
                  </a:cubicBezTo>
                  <a:cubicBezTo>
                    <a:pt x="0" y="658"/>
                    <a:pt x="31" y="689"/>
                    <a:pt x="63" y="689"/>
                  </a:cubicBezTo>
                  <a:cubicBezTo>
                    <a:pt x="251" y="689"/>
                    <a:pt x="251" y="689"/>
                    <a:pt x="251" y="689"/>
                  </a:cubicBezTo>
                  <a:cubicBezTo>
                    <a:pt x="313" y="689"/>
                    <a:pt x="313" y="658"/>
                    <a:pt x="313" y="627"/>
                  </a:cubicBezTo>
                  <a:cubicBezTo>
                    <a:pt x="313" y="627"/>
                    <a:pt x="313" y="627"/>
                    <a:pt x="313" y="627"/>
                  </a:cubicBezTo>
                  <a:cubicBezTo>
                    <a:pt x="595" y="721"/>
                    <a:pt x="815" y="971"/>
                    <a:pt x="815" y="1285"/>
                  </a:cubicBezTo>
                  <a:cubicBezTo>
                    <a:pt x="815" y="1285"/>
                    <a:pt x="815" y="1285"/>
                    <a:pt x="815" y="1285"/>
                  </a:cubicBezTo>
                  <a:cubicBezTo>
                    <a:pt x="815" y="1316"/>
                    <a:pt x="815" y="1316"/>
                    <a:pt x="815" y="1316"/>
                  </a:cubicBezTo>
                  <a:cubicBezTo>
                    <a:pt x="815" y="1911"/>
                    <a:pt x="815" y="1911"/>
                    <a:pt x="815" y="1911"/>
                  </a:cubicBezTo>
                  <a:cubicBezTo>
                    <a:pt x="815" y="1943"/>
                    <a:pt x="846" y="1974"/>
                    <a:pt x="877" y="1974"/>
                  </a:cubicBezTo>
                  <a:cubicBezTo>
                    <a:pt x="971" y="1974"/>
                    <a:pt x="971" y="1974"/>
                    <a:pt x="971" y="1974"/>
                  </a:cubicBezTo>
                  <a:cubicBezTo>
                    <a:pt x="971" y="1316"/>
                    <a:pt x="971" y="1316"/>
                    <a:pt x="971" y="1316"/>
                  </a:cubicBezTo>
                  <a:cubicBezTo>
                    <a:pt x="971" y="1316"/>
                    <a:pt x="971" y="1316"/>
                    <a:pt x="971" y="1316"/>
                  </a:cubicBezTo>
                  <a:cubicBezTo>
                    <a:pt x="971" y="1316"/>
                    <a:pt x="971" y="1316"/>
                    <a:pt x="971" y="1285"/>
                  </a:cubicBezTo>
                  <a:cubicBezTo>
                    <a:pt x="971" y="1159"/>
                    <a:pt x="1003" y="1034"/>
                    <a:pt x="1034" y="909"/>
                  </a:cubicBezTo>
                  <a:cubicBezTo>
                    <a:pt x="1034" y="909"/>
                    <a:pt x="1034" y="909"/>
                    <a:pt x="1034" y="909"/>
                  </a:cubicBezTo>
                  <a:cubicBezTo>
                    <a:pt x="1065" y="909"/>
                    <a:pt x="1065" y="909"/>
                    <a:pt x="1065" y="909"/>
                  </a:cubicBezTo>
                  <a:cubicBezTo>
                    <a:pt x="1097" y="1034"/>
                    <a:pt x="1128" y="1159"/>
                    <a:pt x="1128" y="1285"/>
                  </a:cubicBezTo>
                  <a:cubicBezTo>
                    <a:pt x="1128" y="1316"/>
                    <a:pt x="1128" y="1316"/>
                    <a:pt x="1128" y="1316"/>
                  </a:cubicBezTo>
                  <a:cubicBezTo>
                    <a:pt x="1128" y="1316"/>
                    <a:pt x="1128" y="1316"/>
                    <a:pt x="1128" y="1316"/>
                  </a:cubicBezTo>
                  <a:cubicBezTo>
                    <a:pt x="1128" y="1974"/>
                    <a:pt x="1128" y="1974"/>
                    <a:pt x="1128" y="1974"/>
                  </a:cubicBezTo>
                  <a:cubicBezTo>
                    <a:pt x="1222" y="1974"/>
                    <a:pt x="1222" y="1974"/>
                    <a:pt x="1222" y="1974"/>
                  </a:cubicBezTo>
                  <a:cubicBezTo>
                    <a:pt x="1253" y="1974"/>
                    <a:pt x="1285" y="1943"/>
                    <a:pt x="1285" y="1911"/>
                  </a:cubicBezTo>
                  <a:cubicBezTo>
                    <a:pt x="1285" y="1316"/>
                    <a:pt x="1285" y="1316"/>
                    <a:pt x="1285" y="1316"/>
                  </a:cubicBezTo>
                  <a:cubicBezTo>
                    <a:pt x="1285" y="1316"/>
                    <a:pt x="1285" y="1316"/>
                    <a:pt x="1285" y="1285"/>
                  </a:cubicBezTo>
                  <a:cubicBezTo>
                    <a:pt x="1285" y="1285"/>
                    <a:pt x="1285" y="1285"/>
                    <a:pt x="1285" y="1285"/>
                  </a:cubicBezTo>
                  <a:cubicBezTo>
                    <a:pt x="1285" y="971"/>
                    <a:pt x="1504" y="721"/>
                    <a:pt x="1786" y="627"/>
                  </a:cubicBezTo>
                  <a:cubicBezTo>
                    <a:pt x="1786" y="627"/>
                    <a:pt x="1786" y="627"/>
                    <a:pt x="1786" y="627"/>
                  </a:cubicBezTo>
                  <a:cubicBezTo>
                    <a:pt x="1786" y="658"/>
                    <a:pt x="1786" y="689"/>
                    <a:pt x="1849" y="689"/>
                  </a:cubicBezTo>
                  <a:cubicBezTo>
                    <a:pt x="2037" y="689"/>
                    <a:pt x="2037" y="689"/>
                    <a:pt x="2037" y="689"/>
                  </a:cubicBezTo>
                  <a:cubicBezTo>
                    <a:pt x="2068" y="689"/>
                    <a:pt x="2099" y="658"/>
                    <a:pt x="2099" y="627"/>
                  </a:cubicBezTo>
                  <a:cubicBezTo>
                    <a:pt x="2099" y="63"/>
                    <a:pt x="2099" y="63"/>
                    <a:pt x="2099" y="63"/>
                  </a:cubicBezTo>
                  <a:cubicBezTo>
                    <a:pt x="2099" y="31"/>
                    <a:pt x="2068" y="0"/>
                    <a:pt x="2037" y="0"/>
                  </a:cubicBezTo>
                  <a:close/>
                  <a:moveTo>
                    <a:pt x="188" y="564"/>
                  </a:moveTo>
                  <a:cubicBezTo>
                    <a:pt x="125" y="564"/>
                    <a:pt x="125" y="564"/>
                    <a:pt x="125" y="564"/>
                  </a:cubicBezTo>
                  <a:cubicBezTo>
                    <a:pt x="125" y="125"/>
                    <a:pt x="125" y="125"/>
                    <a:pt x="125" y="125"/>
                  </a:cubicBezTo>
                  <a:cubicBezTo>
                    <a:pt x="188" y="125"/>
                    <a:pt x="188" y="125"/>
                    <a:pt x="188" y="125"/>
                  </a:cubicBezTo>
                  <a:lnTo>
                    <a:pt x="188" y="564"/>
                  </a:lnTo>
                  <a:close/>
                  <a:moveTo>
                    <a:pt x="971" y="752"/>
                  </a:moveTo>
                  <a:cubicBezTo>
                    <a:pt x="940" y="815"/>
                    <a:pt x="909" y="877"/>
                    <a:pt x="877" y="940"/>
                  </a:cubicBezTo>
                  <a:cubicBezTo>
                    <a:pt x="877" y="940"/>
                    <a:pt x="877" y="940"/>
                    <a:pt x="877" y="940"/>
                  </a:cubicBezTo>
                  <a:cubicBezTo>
                    <a:pt x="877" y="940"/>
                    <a:pt x="877" y="940"/>
                    <a:pt x="877" y="940"/>
                  </a:cubicBezTo>
                  <a:cubicBezTo>
                    <a:pt x="752" y="721"/>
                    <a:pt x="564" y="533"/>
                    <a:pt x="313" y="470"/>
                  </a:cubicBezTo>
                  <a:cubicBezTo>
                    <a:pt x="313" y="282"/>
                    <a:pt x="313" y="282"/>
                    <a:pt x="313" y="282"/>
                  </a:cubicBezTo>
                  <a:cubicBezTo>
                    <a:pt x="595" y="345"/>
                    <a:pt x="815" y="501"/>
                    <a:pt x="971" y="752"/>
                  </a:cubicBezTo>
                  <a:cubicBezTo>
                    <a:pt x="971" y="752"/>
                    <a:pt x="971" y="752"/>
                    <a:pt x="971" y="752"/>
                  </a:cubicBezTo>
                  <a:close/>
                  <a:moveTo>
                    <a:pt x="1222" y="940"/>
                  </a:moveTo>
                  <a:cubicBezTo>
                    <a:pt x="1222" y="940"/>
                    <a:pt x="1222" y="940"/>
                    <a:pt x="1222" y="940"/>
                  </a:cubicBezTo>
                  <a:cubicBezTo>
                    <a:pt x="1222" y="940"/>
                    <a:pt x="1222" y="940"/>
                    <a:pt x="1222" y="940"/>
                  </a:cubicBezTo>
                  <a:cubicBezTo>
                    <a:pt x="1191" y="877"/>
                    <a:pt x="1159" y="815"/>
                    <a:pt x="1128" y="752"/>
                  </a:cubicBezTo>
                  <a:cubicBezTo>
                    <a:pt x="1128" y="752"/>
                    <a:pt x="1128" y="752"/>
                    <a:pt x="1128" y="752"/>
                  </a:cubicBezTo>
                  <a:cubicBezTo>
                    <a:pt x="1128" y="752"/>
                    <a:pt x="1128" y="752"/>
                    <a:pt x="1128" y="752"/>
                  </a:cubicBezTo>
                  <a:cubicBezTo>
                    <a:pt x="1285" y="501"/>
                    <a:pt x="1504" y="345"/>
                    <a:pt x="1786" y="282"/>
                  </a:cubicBezTo>
                  <a:cubicBezTo>
                    <a:pt x="1786" y="470"/>
                    <a:pt x="1786" y="470"/>
                    <a:pt x="1786" y="470"/>
                  </a:cubicBezTo>
                  <a:cubicBezTo>
                    <a:pt x="1535" y="533"/>
                    <a:pt x="1347" y="721"/>
                    <a:pt x="1222" y="940"/>
                  </a:cubicBezTo>
                  <a:close/>
                  <a:moveTo>
                    <a:pt x="1974" y="564"/>
                  </a:moveTo>
                  <a:cubicBezTo>
                    <a:pt x="1911" y="564"/>
                    <a:pt x="1911" y="564"/>
                    <a:pt x="1911" y="564"/>
                  </a:cubicBezTo>
                  <a:cubicBezTo>
                    <a:pt x="1911" y="125"/>
                    <a:pt x="1911" y="125"/>
                    <a:pt x="1911" y="125"/>
                  </a:cubicBezTo>
                  <a:cubicBezTo>
                    <a:pt x="1974" y="125"/>
                    <a:pt x="1974" y="125"/>
                    <a:pt x="1974" y="125"/>
                  </a:cubicBezTo>
                  <a:lnTo>
                    <a:pt x="1974"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4" name="Picture 3">
            <a:extLst>
              <a:ext uri="{FF2B5EF4-FFF2-40B4-BE49-F238E27FC236}">
                <a16:creationId xmlns:a16="http://schemas.microsoft.com/office/drawing/2014/main" id="{71D332B9-BC60-462C-9D4F-7EEF66C58399}"/>
              </a:ext>
            </a:extLst>
          </p:cNvPr>
          <p:cNvPicPr>
            <a:picLocks noChangeAspect="1"/>
          </p:cNvPicPr>
          <p:nvPr/>
        </p:nvPicPr>
        <p:blipFill>
          <a:blip r:embed="rId3"/>
          <a:stretch>
            <a:fillRect/>
          </a:stretch>
        </p:blipFill>
        <p:spPr>
          <a:xfrm>
            <a:off x="914400" y="6321818"/>
            <a:ext cx="1171575" cy="495300"/>
          </a:xfrm>
          <a:prstGeom prst="rect">
            <a:avLst/>
          </a:prstGeom>
        </p:spPr>
      </p:pic>
      <p:sp>
        <p:nvSpPr>
          <p:cNvPr id="6" name="Rectangle 5">
            <a:extLst>
              <a:ext uri="{FF2B5EF4-FFF2-40B4-BE49-F238E27FC236}">
                <a16:creationId xmlns:a16="http://schemas.microsoft.com/office/drawing/2014/main" id="{F7F6B62F-7EE0-4CAA-B4F8-2986719E513D}"/>
              </a:ext>
            </a:extLst>
          </p:cNvPr>
          <p:cNvSpPr/>
          <p:nvPr/>
        </p:nvSpPr>
        <p:spPr>
          <a:xfrm>
            <a:off x="6646871" y="5785049"/>
            <a:ext cx="2519472" cy="338554"/>
          </a:xfrm>
          <a:prstGeom prst="rect">
            <a:avLst/>
          </a:prstGeom>
        </p:spPr>
        <p:txBody>
          <a:bodyPr wrap="none">
            <a:spAutoFit/>
          </a:bodyPr>
          <a:lstStyle/>
          <a:p>
            <a:r>
              <a:rPr lang="en-US" sz="1600" u="sng">
                <a:solidFill>
                  <a:schemeClr val="accent1"/>
                </a:solidFill>
              </a:rPr>
              <a:t>www.TaviumTankMix.com</a:t>
            </a:r>
            <a:endParaRPr lang="en-US" sz="1600">
              <a:solidFill>
                <a:schemeClr val="accent1"/>
              </a:solidFill>
            </a:endParaRPr>
          </a:p>
        </p:txBody>
      </p:sp>
      <p:grpSp>
        <p:nvGrpSpPr>
          <p:cNvPr id="8" name="Group 7">
            <a:extLst>
              <a:ext uri="{FF2B5EF4-FFF2-40B4-BE49-F238E27FC236}">
                <a16:creationId xmlns:a16="http://schemas.microsoft.com/office/drawing/2014/main" id="{941B1F12-9082-4782-8588-F14221F486A4}"/>
              </a:ext>
            </a:extLst>
          </p:cNvPr>
          <p:cNvGrpSpPr/>
          <p:nvPr/>
        </p:nvGrpSpPr>
        <p:grpSpPr>
          <a:xfrm>
            <a:off x="4529008" y="5278514"/>
            <a:ext cx="6755199" cy="447401"/>
            <a:chOff x="4522400" y="5470213"/>
            <a:chExt cx="6755199" cy="447401"/>
          </a:xfrm>
        </p:grpSpPr>
        <p:sp>
          <p:nvSpPr>
            <p:cNvPr id="28" name="Rectangle 27">
              <a:extLst>
                <a:ext uri="{FF2B5EF4-FFF2-40B4-BE49-F238E27FC236}">
                  <a16:creationId xmlns:a16="http://schemas.microsoft.com/office/drawing/2014/main" id="{AB0EA6E4-AF8D-464F-9E17-7C8352F79259}"/>
                </a:ext>
              </a:extLst>
            </p:cNvPr>
            <p:cNvSpPr/>
            <p:nvPr/>
          </p:nvSpPr>
          <p:spPr>
            <a:xfrm>
              <a:off x="4522400" y="5470213"/>
              <a:ext cx="6755199" cy="304537"/>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lvl="1" indent="0" algn="ctr">
                <a:lnSpc>
                  <a:spcPct val="100000"/>
                </a:lnSpc>
                <a:spcBef>
                  <a:spcPts val="600"/>
                </a:spcBef>
                <a:spcAft>
                  <a:spcPts val="600"/>
                </a:spcAft>
                <a:buNone/>
              </a:pPr>
              <a:r>
                <a:rPr lang="en-US" sz="1600" err="1">
                  <a:solidFill>
                    <a:schemeClr val="tx1"/>
                  </a:solidFill>
                </a:rPr>
                <a:t>Tavium</a:t>
              </a:r>
              <a:r>
                <a:rPr lang="en-US" sz="1600" baseline="30000">
                  <a:solidFill>
                    <a:schemeClr val="tx1"/>
                  </a:solidFill>
                </a:rPr>
                <a:t>®</a:t>
              </a:r>
              <a:r>
                <a:rPr lang="en-US" sz="1600">
                  <a:solidFill>
                    <a:schemeClr val="tx1"/>
                  </a:solidFill>
                </a:rPr>
                <a:t> Plus </a:t>
              </a:r>
              <a:r>
                <a:rPr lang="en-US" sz="1600" err="1">
                  <a:solidFill>
                    <a:schemeClr val="tx1"/>
                  </a:solidFill>
                </a:rPr>
                <a:t>VaporGrip</a:t>
              </a:r>
              <a:r>
                <a:rPr lang="en-US" sz="1600" baseline="30000">
                  <a:solidFill>
                    <a:schemeClr val="tx1"/>
                  </a:solidFill>
                </a:rPr>
                <a:t>® </a:t>
              </a:r>
              <a:r>
                <a:rPr lang="en-US" sz="1600">
                  <a:solidFill>
                    <a:schemeClr val="tx1"/>
                  </a:solidFill>
                </a:rPr>
                <a:t>Technology herbicide </a:t>
              </a:r>
              <a:r>
                <a:rPr lang="en-US" sz="1600" b="1">
                  <a:solidFill>
                    <a:schemeClr val="tx1"/>
                  </a:solidFill>
                </a:rPr>
                <a:t>(Syngenta)</a:t>
              </a:r>
            </a:p>
          </p:txBody>
        </p:sp>
        <p:sp>
          <p:nvSpPr>
            <p:cNvPr id="30" name="Isosceles Triangle 29">
              <a:extLst>
                <a:ext uri="{FF2B5EF4-FFF2-40B4-BE49-F238E27FC236}">
                  <a16:creationId xmlns:a16="http://schemas.microsoft.com/office/drawing/2014/main" id="{61307E05-C787-423D-BF32-9F84996AD78D}"/>
                </a:ext>
              </a:extLst>
            </p:cNvPr>
            <p:cNvSpPr/>
            <p:nvPr/>
          </p:nvSpPr>
          <p:spPr>
            <a:xfrm rot="10800000">
              <a:off x="7806890" y="578640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pic>
        <p:nvPicPr>
          <p:cNvPr id="29" name="Picture 28">
            <a:extLst>
              <a:ext uri="{FF2B5EF4-FFF2-40B4-BE49-F238E27FC236}">
                <a16:creationId xmlns:a16="http://schemas.microsoft.com/office/drawing/2014/main" id="{CC07C83E-5463-45C2-8BE3-803DBED80A1E}"/>
              </a:ext>
            </a:extLst>
          </p:cNvPr>
          <p:cNvPicPr>
            <a:picLocks noChangeAspect="1"/>
          </p:cNvPicPr>
          <p:nvPr/>
        </p:nvPicPr>
        <p:blipFill>
          <a:blip r:embed="rId4"/>
          <a:stretch>
            <a:fillRect/>
          </a:stretch>
        </p:blipFill>
        <p:spPr>
          <a:xfrm>
            <a:off x="838200" y="6393164"/>
            <a:ext cx="1333500" cy="378995"/>
          </a:xfrm>
          <a:prstGeom prst="rect">
            <a:avLst/>
          </a:prstGeom>
        </p:spPr>
      </p:pic>
      <p:sp>
        <p:nvSpPr>
          <p:cNvPr id="3" name="TextBox 2">
            <a:extLst>
              <a:ext uri="{FF2B5EF4-FFF2-40B4-BE49-F238E27FC236}">
                <a16:creationId xmlns:a16="http://schemas.microsoft.com/office/drawing/2014/main" id="{292E9FE3-2DA0-4265-97C5-F8C5522B059C}"/>
              </a:ext>
            </a:extLst>
          </p:cNvPr>
          <p:cNvSpPr txBox="1"/>
          <p:nvPr/>
        </p:nvSpPr>
        <p:spPr>
          <a:xfrm>
            <a:off x="788400" y="1370400"/>
            <a:ext cx="2371200" cy="95410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ea typeface="+mn-lt"/>
                <a:cs typeface="+mn-lt"/>
              </a:rPr>
              <a:t>All applications of this product require the inclusion of a </a:t>
            </a:r>
            <a:r>
              <a:rPr lang="en-US" sz="800" b="1">
                <a:ea typeface="+mn-lt"/>
                <a:cs typeface="+mn-lt"/>
              </a:rPr>
              <a:t>volatility reduction adjuvant (VRA)</a:t>
            </a:r>
            <a:r>
              <a:rPr lang="en-US" sz="800">
                <a:ea typeface="+mn-lt"/>
                <a:cs typeface="+mn-lt"/>
              </a:rPr>
              <a:t>, such as a </a:t>
            </a:r>
            <a:r>
              <a:rPr lang="en-US" sz="800" err="1">
                <a:ea typeface="+mn-lt"/>
                <a:cs typeface="+mn-lt"/>
              </a:rPr>
              <a:t>VaporGrip</a:t>
            </a:r>
            <a:r>
              <a:rPr lang="en-US" sz="800">
                <a:ea typeface="+mn-lt"/>
                <a:cs typeface="+mn-lt"/>
              </a:rPr>
              <a:t>® Xtra Agent</a:t>
            </a:r>
            <a:endParaRPr lang="en-US" sz="800"/>
          </a:p>
          <a:p>
            <a:r>
              <a:rPr lang="en-US" sz="800">
                <a:ea typeface="+mn-lt"/>
                <a:cs typeface="+mn-lt"/>
              </a:rPr>
              <a:t>product or an approved VRA equivalent. The inclusion of a drift reduction adjuvant (DRA) is also required, unless otherwise indicated on </a:t>
            </a:r>
            <a:r>
              <a:rPr lang="en-US" sz="800">
                <a:ea typeface="+mn-lt"/>
                <a:cs typeface="+mn-lt"/>
                <a:hlinkClick r:id="rId5"/>
              </a:rPr>
              <a:t>www.xtendimaxapplicationrequirements.com</a:t>
            </a:r>
            <a:r>
              <a:rPr lang="en-US" sz="800">
                <a:ea typeface="+mn-lt"/>
                <a:cs typeface="+mn-lt"/>
              </a:rPr>
              <a:t>.</a:t>
            </a:r>
            <a:endParaRPr lang="en-US" sz="800"/>
          </a:p>
        </p:txBody>
      </p:sp>
    </p:spTree>
    <p:extLst>
      <p:ext uri="{BB962C8B-B14F-4D97-AF65-F5344CB8AC3E}">
        <p14:creationId xmlns:p14="http://schemas.microsoft.com/office/powerpoint/2010/main" val="1755963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10591A72-0FB5-44E7-988E-44FE92635DF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1" cy="6886223"/>
          </a:xfrm>
          <a:prstGeom prst="rect">
            <a:avLst/>
          </a:prstGeom>
        </p:spPr>
      </p:pic>
      <p:sp>
        <p:nvSpPr>
          <p:cNvPr id="16" name="Rectangle 15">
            <a:extLst>
              <a:ext uri="{FF2B5EF4-FFF2-40B4-BE49-F238E27FC236}">
                <a16:creationId xmlns:a16="http://schemas.microsoft.com/office/drawing/2014/main" id="{B3158654-FE10-4CBD-B0F1-047EF5450853}"/>
              </a:ext>
            </a:extLst>
          </p:cNvPr>
          <p:cNvSpPr/>
          <p:nvPr/>
        </p:nvSpPr>
        <p:spPr>
          <a:xfrm>
            <a:off x="-1" y="5502971"/>
            <a:ext cx="12191999" cy="1355029"/>
          </a:xfrm>
          <a:prstGeom prst="rect">
            <a:avLst/>
          </a:prstGeom>
          <a:gradFill>
            <a:gsLst>
              <a:gs pos="0">
                <a:schemeClr val="tx1">
                  <a:alpha val="0"/>
                </a:schemeClr>
              </a:gs>
              <a:gs pos="56000">
                <a:schemeClr val="tx1">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Rectangle 18">
            <a:extLst>
              <a:ext uri="{FF2B5EF4-FFF2-40B4-BE49-F238E27FC236}">
                <a16:creationId xmlns:a16="http://schemas.microsoft.com/office/drawing/2014/main" id="{444D6CD6-F837-4FA0-820B-E69091CFC811}"/>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Footer Placeholder 7">
            <a:extLst>
              <a:ext uri="{FF2B5EF4-FFF2-40B4-BE49-F238E27FC236}">
                <a16:creationId xmlns:a16="http://schemas.microsoft.com/office/drawing/2014/main" id="{5DAA5CCE-2229-4AF0-8F36-E100634C5CF9}"/>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9" name="Slide Number Placeholder 8">
            <a:extLst>
              <a:ext uri="{FF2B5EF4-FFF2-40B4-BE49-F238E27FC236}">
                <a16:creationId xmlns:a16="http://schemas.microsoft.com/office/drawing/2014/main" id="{1CBF5DA2-BBBB-475E-AFB6-0DAEEE6A0700}"/>
              </a:ext>
            </a:extLst>
          </p:cNvPr>
          <p:cNvSpPr>
            <a:spLocks noGrp="1"/>
          </p:cNvSpPr>
          <p:nvPr>
            <p:ph type="sldNum" sz="quarter" idx="16"/>
          </p:nvPr>
        </p:nvSpPr>
        <p:spPr/>
        <p:txBody>
          <a:bodyPr/>
          <a:lstStyle/>
          <a:p>
            <a:fld id="{5382645D-9DD6-408C-B0EA-C65795F9B1DE}" type="slidenum">
              <a:rPr lang="en-US" smtClean="0"/>
              <a:pPr/>
              <a:t>25</a:t>
            </a:fld>
            <a:endParaRPr lang="en-US"/>
          </a:p>
        </p:txBody>
      </p:sp>
      <p:sp>
        <p:nvSpPr>
          <p:cNvPr id="40" name="Title 1">
            <a:extLst>
              <a:ext uri="{FF2B5EF4-FFF2-40B4-BE49-F238E27FC236}">
                <a16:creationId xmlns:a16="http://schemas.microsoft.com/office/drawing/2014/main" id="{EAF84943-DA7C-4C5F-B67A-89A86189C73C}"/>
              </a:ext>
            </a:extLst>
          </p:cNvPr>
          <p:cNvSpPr txBox="1">
            <a:spLocks/>
          </p:cNvSpPr>
          <p:nvPr/>
        </p:nvSpPr>
        <p:spPr>
          <a:xfrm>
            <a:off x="510139" y="228600"/>
            <a:ext cx="10843661"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sz="3200"/>
              <a:t>Protecting Adjacent Sensitive Crops AND CERTAIN PLANTS</a:t>
            </a:r>
            <a:endParaRPr kumimoji="0" lang="en-US" sz="3200" b="0" i="0" u="none" strike="noStrike" kern="1200" cap="all" spc="0" normalizeH="0" baseline="0" noProof="0">
              <a:ln>
                <a:noFill/>
              </a:ln>
              <a:solidFill>
                <a:prstClr val="black"/>
              </a:solidFill>
              <a:effectLst/>
              <a:uLnTx/>
              <a:uFillTx/>
              <a:latin typeface="Arial Black" panose="020B0A04020102020204" pitchFamily="34" charset="0"/>
              <a:ea typeface="+mj-ea"/>
              <a:cs typeface="+mj-cs"/>
            </a:endParaRPr>
          </a:p>
        </p:txBody>
      </p:sp>
      <p:grpSp>
        <p:nvGrpSpPr>
          <p:cNvPr id="15" name="Group 14">
            <a:extLst>
              <a:ext uri="{FF2B5EF4-FFF2-40B4-BE49-F238E27FC236}">
                <a16:creationId xmlns:a16="http://schemas.microsoft.com/office/drawing/2014/main" id="{93AE22DB-9B4F-42DB-BBFD-9A257168DF69}"/>
              </a:ext>
            </a:extLst>
          </p:cNvPr>
          <p:cNvGrpSpPr/>
          <p:nvPr/>
        </p:nvGrpSpPr>
        <p:grpSpPr>
          <a:xfrm>
            <a:off x="950173" y="6425309"/>
            <a:ext cx="1075910" cy="230941"/>
            <a:chOff x="201074" y="6425309"/>
            <a:chExt cx="1075910" cy="230941"/>
          </a:xfrm>
        </p:grpSpPr>
        <p:sp>
          <p:nvSpPr>
            <p:cNvPr id="18" name="Rectangle 17">
              <a:extLst>
                <a:ext uri="{FF2B5EF4-FFF2-40B4-BE49-F238E27FC236}">
                  <a16:creationId xmlns:a16="http://schemas.microsoft.com/office/drawing/2014/main" id="{2887C58E-ACA3-4142-AD48-2E5B5B6C2C44}"/>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1028B8B9-C979-42FA-BAE0-E6DDD7E6E590}"/>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9DEE88B6-D0F9-4F6E-BA43-55A20E552CA2}"/>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26" name="Title 1">
              <a:extLst>
                <a:ext uri="{FF2B5EF4-FFF2-40B4-BE49-F238E27FC236}">
                  <a16:creationId xmlns:a16="http://schemas.microsoft.com/office/drawing/2014/main" id="{C1E4279B-88C0-4A90-8966-F95D7593B389}"/>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7" name="Group 26">
            <a:extLst>
              <a:ext uri="{FF2B5EF4-FFF2-40B4-BE49-F238E27FC236}">
                <a16:creationId xmlns:a16="http://schemas.microsoft.com/office/drawing/2014/main" id="{236A0E34-F95E-4887-A8D0-CDF9AB86079F}"/>
              </a:ext>
            </a:extLst>
          </p:cNvPr>
          <p:cNvGrpSpPr/>
          <p:nvPr/>
        </p:nvGrpSpPr>
        <p:grpSpPr>
          <a:xfrm>
            <a:off x="950173" y="6425309"/>
            <a:ext cx="1075910" cy="230941"/>
            <a:chOff x="201074" y="6425309"/>
            <a:chExt cx="1075910" cy="230941"/>
          </a:xfrm>
        </p:grpSpPr>
        <p:sp>
          <p:nvSpPr>
            <p:cNvPr id="28" name="Rectangle 27">
              <a:extLst>
                <a:ext uri="{FF2B5EF4-FFF2-40B4-BE49-F238E27FC236}">
                  <a16:creationId xmlns:a16="http://schemas.microsoft.com/office/drawing/2014/main" id="{E5410AB6-7835-4B91-96B5-6DEACBB8AF86}"/>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9" name="Straight Connector 28">
              <a:extLst>
                <a:ext uri="{FF2B5EF4-FFF2-40B4-BE49-F238E27FC236}">
                  <a16:creationId xmlns:a16="http://schemas.microsoft.com/office/drawing/2014/main" id="{81F92FB3-FD99-4872-BDF4-FF58A318C9AC}"/>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CCB88D67-DE1B-4C31-B6B4-2A608DA4D47F}"/>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1" name="Title 1">
              <a:extLst>
                <a:ext uri="{FF2B5EF4-FFF2-40B4-BE49-F238E27FC236}">
                  <a16:creationId xmlns:a16="http://schemas.microsoft.com/office/drawing/2014/main" id="{E253E804-9009-4EF5-BA60-2B2AE55273FD}"/>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pic>
        <p:nvPicPr>
          <p:cNvPr id="22" name="Picture 21">
            <a:extLst>
              <a:ext uri="{FF2B5EF4-FFF2-40B4-BE49-F238E27FC236}">
                <a16:creationId xmlns:a16="http://schemas.microsoft.com/office/drawing/2014/main" id="{29554472-3037-48AD-B9BA-0DE03B822421}"/>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256728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5">
            <a:extLst>
              <a:ext uri="{FF2B5EF4-FFF2-40B4-BE49-F238E27FC236}">
                <a16:creationId xmlns:a16="http://schemas.microsoft.com/office/drawing/2014/main" id="{87C6AD34-DAE9-4E87-846F-6AC812D39125}"/>
              </a:ext>
            </a:extLst>
          </p:cNvPr>
          <p:cNvSpPr>
            <a:spLocks noChangeArrowheads="1"/>
          </p:cNvSpPr>
          <p:nvPr/>
        </p:nvSpPr>
        <p:spPr bwMode="auto">
          <a:xfrm>
            <a:off x="6440879" y="2748242"/>
            <a:ext cx="4826889" cy="1241504"/>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6">
            <a:extLst>
              <a:ext uri="{FF2B5EF4-FFF2-40B4-BE49-F238E27FC236}">
                <a16:creationId xmlns:a16="http://schemas.microsoft.com/office/drawing/2014/main" id="{A83327FD-8FF9-4D4D-BABF-5C4B53E95F1E}"/>
              </a:ext>
            </a:extLst>
          </p:cNvPr>
          <p:cNvSpPr>
            <a:spLocks noEditPoints="1"/>
          </p:cNvSpPr>
          <p:nvPr/>
        </p:nvSpPr>
        <p:spPr bwMode="auto">
          <a:xfrm>
            <a:off x="9337720" y="2518334"/>
            <a:ext cx="748675" cy="542347"/>
          </a:xfrm>
          <a:custGeom>
            <a:avLst/>
            <a:gdLst>
              <a:gd name="T0" fmla="*/ 10 w 238"/>
              <a:gd name="T1" fmla="*/ 129 h 172"/>
              <a:gd name="T2" fmla="*/ 14 w 238"/>
              <a:gd name="T3" fmla="*/ 157 h 172"/>
              <a:gd name="T4" fmla="*/ 46 w 238"/>
              <a:gd name="T5" fmla="*/ 162 h 172"/>
              <a:gd name="T6" fmla="*/ 58 w 238"/>
              <a:gd name="T7" fmla="*/ 165 h 172"/>
              <a:gd name="T8" fmla="*/ 91 w 238"/>
              <a:gd name="T9" fmla="*/ 172 h 172"/>
              <a:gd name="T10" fmla="*/ 111 w 238"/>
              <a:gd name="T11" fmla="*/ 157 h 172"/>
              <a:gd name="T12" fmla="*/ 115 w 238"/>
              <a:gd name="T13" fmla="*/ 129 h 172"/>
              <a:gd name="T14" fmla="*/ 82 w 238"/>
              <a:gd name="T15" fmla="*/ 114 h 172"/>
              <a:gd name="T16" fmla="*/ 113 w 238"/>
              <a:gd name="T17" fmla="*/ 106 h 172"/>
              <a:gd name="T18" fmla="*/ 134 w 238"/>
              <a:gd name="T19" fmla="*/ 121 h 172"/>
              <a:gd name="T20" fmla="*/ 159 w 238"/>
              <a:gd name="T21" fmla="*/ 126 h 172"/>
              <a:gd name="T22" fmla="*/ 173 w 238"/>
              <a:gd name="T23" fmla="*/ 118 h 172"/>
              <a:gd name="T24" fmla="*/ 219 w 238"/>
              <a:gd name="T25" fmla="*/ 127 h 172"/>
              <a:gd name="T26" fmla="*/ 225 w 238"/>
              <a:gd name="T27" fmla="*/ 120 h 172"/>
              <a:gd name="T28" fmla="*/ 222 w 238"/>
              <a:gd name="T29" fmla="*/ 91 h 172"/>
              <a:gd name="T30" fmla="*/ 216 w 238"/>
              <a:gd name="T31" fmla="*/ 73 h 172"/>
              <a:gd name="T32" fmla="*/ 199 w 238"/>
              <a:gd name="T33" fmla="*/ 38 h 172"/>
              <a:gd name="T34" fmla="*/ 168 w 238"/>
              <a:gd name="T35" fmla="*/ 16 h 172"/>
              <a:gd name="T36" fmla="*/ 187 w 238"/>
              <a:gd name="T37" fmla="*/ 15 h 172"/>
              <a:gd name="T38" fmla="*/ 139 w 238"/>
              <a:gd name="T39" fmla="*/ 17 h 172"/>
              <a:gd name="T40" fmla="*/ 156 w 238"/>
              <a:gd name="T41" fmla="*/ 58 h 172"/>
              <a:gd name="T42" fmla="*/ 165 w 238"/>
              <a:gd name="T43" fmla="*/ 71 h 172"/>
              <a:gd name="T44" fmla="*/ 123 w 238"/>
              <a:gd name="T45" fmla="*/ 92 h 172"/>
              <a:gd name="T46" fmla="*/ 117 w 238"/>
              <a:gd name="T47" fmla="*/ 82 h 172"/>
              <a:gd name="T48" fmla="*/ 76 w 238"/>
              <a:gd name="T49" fmla="*/ 38 h 172"/>
              <a:gd name="T50" fmla="*/ 64 w 238"/>
              <a:gd name="T51" fmla="*/ 60 h 172"/>
              <a:gd name="T52" fmla="*/ 33 w 238"/>
              <a:gd name="T53" fmla="*/ 51 h 172"/>
              <a:gd name="T54" fmla="*/ 44 w 238"/>
              <a:gd name="T55" fmla="*/ 103 h 172"/>
              <a:gd name="T56" fmla="*/ 52 w 238"/>
              <a:gd name="T57" fmla="*/ 108 h 172"/>
              <a:gd name="T58" fmla="*/ 16 w 238"/>
              <a:gd name="T59" fmla="*/ 145 h 172"/>
              <a:gd name="T60" fmla="*/ 19 w 238"/>
              <a:gd name="T61" fmla="*/ 139 h 172"/>
              <a:gd name="T62" fmla="*/ 50 w 238"/>
              <a:gd name="T63" fmla="*/ 135 h 172"/>
              <a:gd name="T64" fmla="*/ 224 w 238"/>
              <a:gd name="T65" fmla="*/ 104 h 172"/>
              <a:gd name="T66" fmla="*/ 215 w 238"/>
              <a:gd name="T67" fmla="*/ 109 h 172"/>
              <a:gd name="T68" fmla="*/ 198 w 238"/>
              <a:gd name="T69" fmla="*/ 97 h 172"/>
              <a:gd name="T70" fmla="*/ 219 w 238"/>
              <a:gd name="T71" fmla="*/ 52 h 172"/>
              <a:gd name="T72" fmla="*/ 193 w 238"/>
              <a:gd name="T73" fmla="*/ 54 h 172"/>
              <a:gd name="T74" fmla="*/ 203 w 238"/>
              <a:gd name="T75" fmla="*/ 116 h 172"/>
              <a:gd name="T76" fmla="*/ 203 w 238"/>
              <a:gd name="T77" fmla="*/ 123 h 172"/>
              <a:gd name="T78" fmla="*/ 127 w 238"/>
              <a:gd name="T79" fmla="*/ 104 h 172"/>
              <a:gd name="T80" fmla="*/ 162 w 238"/>
              <a:gd name="T81" fmla="*/ 92 h 172"/>
              <a:gd name="T82" fmla="*/ 125 w 238"/>
              <a:gd name="T83" fmla="*/ 105 h 172"/>
              <a:gd name="T84" fmla="*/ 111 w 238"/>
              <a:gd name="T85" fmla="*/ 141 h 172"/>
              <a:gd name="T86" fmla="*/ 102 w 238"/>
              <a:gd name="T87" fmla="*/ 146 h 172"/>
              <a:gd name="T88" fmla="*/ 85 w 238"/>
              <a:gd name="T89" fmla="*/ 134 h 172"/>
              <a:gd name="T90" fmla="*/ 106 w 238"/>
              <a:gd name="T91" fmla="*/ 89 h 172"/>
              <a:gd name="T92" fmla="*/ 80 w 238"/>
              <a:gd name="T93" fmla="*/ 91 h 172"/>
              <a:gd name="T94" fmla="*/ 90 w 238"/>
              <a:gd name="T95" fmla="*/ 153 h 172"/>
              <a:gd name="T96" fmla="*/ 90 w 238"/>
              <a:gd name="T97" fmla="*/ 1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 h="172">
                <a:moveTo>
                  <a:pt x="34" y="123"/>
                </a:moveTo>
                <a:cubicBezTo>
                  <a:pt x="28" y="125"/>
                  <a:pt x="21" y="127"/>
                  <a:pt x="17" y="128"/>
                </a:cubicBezTo>
                <a:cubicBezTo>
                  <a:pt x="14" y="128"/>
                  <a:pt x="11" y="129"/>
                  <a:pt x="10" y="129"/>
                </a:cubicBezTo>
                <a:cubicBezTo>
                  <a:pt x="4" y="131"/>
                  <a:pt x="0" y="137"/>
                  <a:pt x="0" y="143"/>
                </a:cubicBezTo>
                <a:cubicBezTo>
                  <a:pt x="0" y="150"/>
                  <a:pt x="5" y="155"/>
                  <a:pt x="13" y="157"/>
                </a:cubicBezTo>
                <a:cubicBezTo>
                  <a:pt x="13" y="157"/>
                  <a:pt x="14" y="157"/>
                  <a:pt x="14" y="157"/>
                </a:cubicBezTo>
                <a:cubicBezTo>
                  <a:pt x="14" y="157"/>
                  <a:pt x="17" y="158"/>
                  <a:pt x="21" y="158"/>
                </a:cubicBezTo>
                <a:cubicBezTo>
                  <a:pt x="28" y="158"/>
                  <a:pt x="38" y="157"/>
                  <a:pt x="48" y="151"/>
                </a:cubicBezTo>
                <a:cubicBezTo>
                  <a:pt x="47" y="157"/>
                  <a:pt x="46" y="161"/>
                  <a:pt x="46" y="162"/>
                </a:cubicBezTo>
                <a:cubicBezTo>
                  <a:pt x="46" y="162"/>
                  <a:pt x="46" y="163"/>
                  <a:pt x="46" y="163"/>
                </a:cubicBezTo>
                <a:cubicBezTo>
                  <a:pt x="46" y="167"/>
                  <a:pt x="48" y="169"/>
                  <a:pt x="52" y="169"/>
                </a:cubicBezTo>
                <a:cubicBezTo>
                  <a:pt x="55" y="169"/>
                  <a:pt x="57" y="167"/>
                  <a:pt x="58" y="165"/>
                </a:cubicBezTo>
                <a:cubicBezTo>
                  <a:pt x="58" y="164"/>
                  <a:pt x="59" y="160"/>
                  <a:pt x="60" y="155"/>
                </a:cubicBezTo>
                <a:cubicBezTo>
                  <a:pt x="71" y="170"/>
                  <a:pt x="87" y="172"/>
                  <a:pt x="88" y="172"/>
                </a:cubicBezTo>
                <a:cubicBezTo>
                  <a:pt x="89" y="172"/>
                  <a:pt x="90" y="172"/>
                  <a:pt x="91" y="172"/>
                </a:cubicBezTo>
                <a:cubicBezTo>
                  <a:pt x="98" y="172"/>
                  <a:pt x="104" y="169"/>
                  <a:pt x="106" y="164"/>
                </a:cubicBezTo>
                <a:cubicBezTo>
                  <a:pt x="107" y="162"/>
                  <a:pt x="107" y="160"/>
                  <a:pt x="107" y="158"/>
                </a:cubicBezTo>
                <a:cubicBezTo>
                  <a:pt x="109" y="158"/>
                  <a:pt x="111" y="157"/>
                  <a:pt x="111" y="157"/>
                </a:cubicBezTo>
                <a:cubicBezTo>
                  <a:pt x="111" y="157"/>
                  <a:pt x="111" y="157"/>
                  <a:pt x="111" y="157"/>
                </a:cubicBezTo>
                <a:cubicBezTo>
                  <a:pt x="120" y="155"/>
                  <a:pt x="125" y="150"/>
                  <a:pt x="125" y="143"/>
                </a:cubicBezTo>
                <a:cubicBezTo>
                  <a:pt x="125" y="137"/>
                  <a:pt x="121" y="131"/>
                  <a:pt x="115" y="129"/>
                </a:cubicBezTo>
                <a:cubicBezTo>
                  <a:pt x="113" y="129"/>
                  <a:pt x="111" y="128"/>
                  <a:pt x="109" y="128"/>
                </a:cubicBezTo>
                <a:cubicBezTo>
                  <a:pt x="99" y="126"/>
                  <a:pt x="83" y="122"/>
                  <a:pt x="75" y="114"/>
                </a:cubicBezTo>
                <a:cubicBezTo>
                  <a:pt x="77" y="114"/>
                  <a:pt x="80" y="114"/>
                  <a:pt x="82" y="114"/>
                </a:cubicBezTo>
                <a:cubicBezTo>
                  <a:pt x="89" y="114"/>
                  <a:pt x="96" y="113"/>
                  <a:pt x="103" y="110"/>
                </a:cubicBezTo>
                <a:cubicBezTo>
                  <a:pt x="108" y="107"/>
                  <a:pt x="111" y="104"/>
                  <a:pt x="114" y="100"/>
                </a:cubicBezTo>
                <a:cubicBezTo>
                  <a:pt x="113" y="101"/>
                  <a:pt x="113" y="104"/>
                  <a:pt x="113" y="106"/>
                </a:cubicBezTo>
                <a:cubicBezTo>
                  <a:pt x="113" y="112"/>
                  <a:pt x="118" y="118"/>
                  <a:pt x="126" y="120"/>
                </a:cubicBezTo>
                <a:cubicBezTo>
                  <a:pt x="127" y="120"/>
                  <a:pt x="127" y="120"/>
                  <a:pt x="127" y="120"/>
                </a:cubicBezTo>
                <a:cubicBezTo>
                  <a:pt x="127" y="120"/>
                  <a:pt x="130" y="121"/>
                  <a:pt x="134" y="121"/>
                </a:cubicBezTo>
                <a:cubicBezTo>
                  <a:pt x="141" y="121"/>
                  <a:pt x="151" y="119"/>
                  <a:pt x="162" y="114"/>
                </a:cubicBezTo>
                <a:cubicBezTo>
                  <a:pt x="160" y="120"/>
                  <a:pt x="159" y="124"/>
                  <a:pt x="159" y="125"/>
                </a:cubicBezTo>
                <a:cubicBezTo>
                  <a:pt x="159" y="125"/>
                  <a:pt x="159" y="126"/>
                  <a:pt x="159" y="126"/>
                </a:cubicBezTo>
                <a:cubicBezTo>
                  <a:pt x="159" y="130"/>
                  <a:pt x="162" y="132"/>
                  <a:pt x="165" y="132"/>
                </a:cubicBezTo>
                <a:cubicBezTo>
                  <a:pt x="168" y="132"/>
                  <a:pt x="170" y="130"/>
                  <a:pt x="171" y="128"/>
                </a:cubicBezTo>
                <a:cubicBezTo>
                  <a:pt x="171" y="127"/>
                  <a:pt x="172" y="123"/>
                  <a:pt x="173" y="118"/>
                </a:cubicBezTo>
                <a:cubicBezTo>
                  <a:pt x="185" y="133"/>
                  <a:pt x="200" y="135"/>
                  <a:pt x="201" y="135"/>
                </a:cubicBezTo>
                <a:cubicBezTo>
                  <a:pt x="202" y="135"/>
                  <a:pt x="203" y="135"/>
                  <a:pt x="204" y="135"/>
                </a:cubicBezTo>
                <a:cubicBezTo>
                  <a:pt x="211" y="135"/>
                  <a:pt x="217" y="132"/>
                  <a:pt x="219" y="127"/>
                </a:cubicBezTo>
                <a:cubicBezTo>
                  <a:pt x="220" y="125"/>
                  <a:pt x="220" y="123"/>
                  <a:pt x="220" y="121"/>
                </a:cubicBezTo>
                <a:cubicBezTo>
                  <a:pt x="222" y="120"/>
                  <a:pt x="223" y="120"/>
                  <a:pt x="224" y="120"/>
                </a:cubicBezTo>
                <a:cubicBezTo>
                  <a:pt x="224" y="120"/>
                  <a:pt x="224" y="120"/>
                  <a:pt x="225" y="120"/>
                </a:cubicBezTo>
                <a:cubicBezTo>
                  <a:pt x="233" y="118"/>
                  <a:pt x="238" y="112"/>
                  <a:pt x="238" y="106"/>
                </a:cubicBezTo>
                <a:cubicBezTo>
                  <a:pt x="238" y="100"/>
                  <a:pt x="234" y="94"/>
                  <a:pt x="228" y="92"/>
                </a:cubicBezTo>
                <a:cubicBezTo>
                  <a:pt x="227" y="92"/>
                  <a:pt x="224" y="91"/>
                  <a:pt x="222" y="91"/>
                </a:cubicBezTo>
                <a:cubicBezTo>
                  <a:pt x="213" y="89"/>
                  <a:pt x="197" y="85"/>
                  <a:pt x="188" y="77"/>
                </a:cubicBezTo>
                <a:cubicBezTo>
                  <a:pt x="190" y="77"/>
                  <a:pt x="193" y="77"/>
                  <a:pt x="196" y="77"/>
                </a:cubicBezTo>
                <a:cubicBezTo>
                  <a:pt x="202" y="77"/>
                  <a:pt x="210" y="76"/>
                  <a:pt x="216" y="73"/>
                </a:cubicBezTo>
                <a:cubicBezTo>
                  <a:pt x="224" y="68"/>
                  <a:pt x="230" y="61"/>
                  <a:pt x="233" y="51"/>
                </a:cubicBezTo>
                <a:cubicBezTo>
                  <a:pt x="233" y="49"/>
                  <a:pt x="232" y="46"/>
                  <a:pt x="230" y="45"/>
                </a:cubicBezTo>
                <a:cubicBezTo>
                  <a:pt x="230" y="44"/>
                  <a:pt x="216" y="34"/>
                  <a:pt x="199" y="38"/>
                </a:cubicBezTo>
                <a:cubicBezTo>
                  <a:pt x="203" y="19"/>
                  <a:pt x="196" y="4"/>
                  <a:pt x="196" y="4"/>
                </a:cubicBezTo>
                <a:cubicBezTo>
                  <a:pt x="195" y="2"/>
                  <a:pt x="192" y="0"/>
                  <a:pt x="189" y="1"/>
                </a:cubicBezTo>
                <a:cubicBezTo>
                  <a:pt x="177" y="4"/>
                  <a:pt x="168" y="15"/>
                  <a:pt x="168" y="16"/>
                </a:cubicBezTo>
                <a:cubicBezTo>
                  <a:pt x="166" y="18"/>
                  <a:pt x="166" y="22"/>
                  <a:pt x="169" y="24"/>
                </a:cubicBezTo>
                <a:cubicBezTo>
                  <a:pt x="172" y="26"/>
                  <a:pt x="175" y="26"/>
                  <a:pt x="177" y="23"/>
                </a:cubicBezTo>
                <a:cubicBezTo>
                  <a:pt x="177" y="23"/>
                  <a:pt x="181" y="18"/>
                  <a:pt x="187" y="15"/>
                </a:cubicBezTo>
                <a:cubicBezTo>
                  <a:pt x="189" y="23"/>
                  <a:pt x="191" y="39"/>
                  <a:pt x="176" y="57"/>
                </a:cubicBezTo>
                <a:cubicBezTo>
                  <a:pt x="172" y="29"/>
                  <a:pt x="158" y="18"/>
                  <a:pt x="146" y="14"/>
                </a:cubicBezTo>
                <a:cubicBezTo>
                  <a:pt x="143" y="13"/>
                  <a:pt x="140" y="15"/>
                  <a:pt x="139" y="17"/>
                </a:cubicBezTo>
                <a:cubicBezTo>
                  <a:pt x="133" y="29"/>
                  <a:pt x="129" y="54"/>
                  <a:pt x="149" y="68"/>
                </a:cubicBezTo>
                <a:cubicBezTo>
                  <a:pt x="152" y="70"/>
                  <a:pt x="155" y="69"/>
                  <a:pt x="157" y="66"/>
                </a:cubicBezTo>
                <a:cubicBezTo>
                  <a:pt x="159" y="64"/>
                  <a:pt x="158" y="60"/>
                  <a:pt x="156" y="58"/>
                </a:cubicBezTo>
                <a:cubicBezTo>
                  <a:pt x="144" y="50"/>
                  <a:pt x="145" y="36"/>
                  <a:pt x="147" y="28"/>
                </a:cubicBezTo>
                <a:cubicBezTo>
                  <a:pt x="158" y="35"/>
                  <a:pt x="164" y="49"/>
                  <a:pt x="165" y="71"/>
                </a:cubicBezTo>
                <a:cubicBezTo>
                  <a:pt x="165" y="71"/>
                  <a:pt x="165" y="71"/>
                  <a:pt x="165" y="71"/>
                </a:cubicBezTo>
                <a:cubicBezTo>
                  <a:pt x="162" y="77"/>
                  <a:pt x="158" y="83"/>
                  <a:pt x="147" y="86"/>
                </a:cubicBezTo>
                <a:cubicBezTo>
                  <a:pt x="141" y="88"/>
                  <a:pt x="135" y="90"/>
                  <a:pt x="130" y="90"/>
                </a:cubicBezTo>
                <a:cubicBezTo>
                  <a:pt x="127" y="91"/>
                  <a:pt x="125" y="92"/>
                  <a:pt x="123" y="92"/>
                </a:cubicBezTo>
                <a:cubicBezTo>
                  <a:pt x="120" y="93"/>
                  <a:pt x="117" y="95"/>
                  <a:pt x="116" y="97"/>
                </a:cubicBezTo>
                <a:cubicBezTo>
                  <a:pt x="117" y="94"/>
                  <a:pt x="118" y="91"/>
                  <a:pt x="119" y="88"/>
                </a:cubicBezTo>
                <a:cubicBezTo>
                  <a:pt x="120" y="86"/>
                  <a:pt x="119" y="83"/>
                  <a:pt x="117" y="82"/>
                </a:cubicBezTo>
                <a:cubicBezTo>
                  <a:pt x="116" y="81"/>
                  <a:pt x="103" y="71"/>
                  <a:pt x="86" y="75"/>
                </a:cubicBezTo>
                <a:cubicBezTo>
                  <a:pt x="90" y="56"/>
                  <a:pt x="83" y="42"/>
                  <a:pt x="83" y="41"/>
                </a:cubicBezTo>
                <a:cubicBezTo>
                  <a:pt x="82" y="39"/>
                  <a:pt x="79" y="38"/>
                  <a:pt x="76" y="38"/>
                </a:cubicBezTo>
                <a:cubicBezTo>
                  <a:pt x="64" y="41"/>
                  <a:pt x="55" y="52"/>
                  <a:pt x="55" y="53"/>
                </a:cubicBezTo>
                <a:cubicBezTo>
                  <a:pt x="53" y="56"/>
                  <a:pt x="53" y="59"/>
                  <a:pt x="56" y="61"/>
                </a:cubicBezTo>
                <a:cubicBezTo>
                  <a:pt x="58" y="63"/>
                  <a:pt x="62" y="63"/>
                  <a:pt x="64" y="60"/>
                </a:cubicBezTo>
                <a:cubicBezTo>
                  <a:pt x="64" y="60"/>
                  <a:pt x="68" y="55"/>
                  <a:pt x="74" y="52"/>
                </a:cubicBezTo>
                <a:cubicBezTo>
                  <a:pt x="76" y="60"/>
                  <a:pt x="78" y="77"/>
                  <a:pt x="63" y="94"/>
                </a:cubicBezTo>
                <a:cubicBezTo>
                  <a:pt x="58" y="66"/>
                  <a:pt x="45" y="55"/>
                  <a:pt x="33" y="51"/>
                </a:cubicBezTo>
                <a:cubicBezTo>
                  <a:pt x="30" y="50"/>
                  <a:pt x="27" y="52"/>
                  <a:pt x="25" y="54"/>
                </a:cubicBezTo>
                <a:cubicBezTo>
                  <a:pt x="20" y="66"/>
                  <a:pt x="15" y="91"/>
                  <a:pt x="36" y="105"/>
                </a:cubicBezTo>
                <a:cubicBezTo>
                  <a:pt x="38" y="107"/>
                  <a:pt x="42" y="106"/>
                  <a:pt x="44" y="103"/>
                </a:cubicBezTo>
                <a:cubicBezTo>
                  <a:pt x="46" y="101"/>
                  <a:pt x="45" y="97"/>
                  <a:pt x="42" y="95"/>
                </a:cubicBezTo>
                <a:cubicBezTo>
                  <a:pt x="31" y="87"/>
                  <a:pt x="32" y="73"/>
                  <a:pt x="34" y="65"/>
                </a:cubicBezTo>
                <a:cubicBezTo>
                  <a:pt x="45" y="72"/>
                  <a:pt x="51" y="86"/>
                  <a:pt x="52" y="108"/>
                </a:cubicBezTo>
                <a:cubicBezTo>
                  <a:pt x="52" y="108"/>
                  <a:pt x="52" y="108"/>
                  <a:pt x="52" y="108"/>
                </a:cubicBezTo>
                <a:cubicBezTo>
                  <a:pt x="48" y="114"/>
                  <a:pt x="45" y="120"/>
                  <a:pt x="34" y="123"/>
                </a:cubicBezTo>
                <a:close/>
                <a:moveTo>
                  <a:pt x="16" y="145"/>
                </a:moveTo>
                <a:cubicBezTo>
                  <a:pt x="13" y="145"/>
                  <a:pt x="12" y="143"/>
                  <a:pt x="12" y="142"/>
                </a:cubicBezTo>
                <a:cubicBezTo>
                  <a:pt x="12" y="142"/>
                  <a:pt x="12" y="141"/>
                  <a:pt x="13" y="141"/>
                </a:cubicBezTo>
                <a:cubicBezTo>
                  <a:pt x="15" y="140"/>
                  <a:pt x="17" y="140"/>
                  <a:pt x="19" y="139"/>
                </a:cubicBezTo>
                <a:cubicBezTo>
                  <a:pt x="24" y="138"/>
                  <a:pt x="31" y="137"/>
                  <a:pt x="38" y="135"/>
                </a:cubicBezTo>
                <a:cubicBezTo>
                  <a:pt x="42" y="133"/>
                  <a:pt x="46" y="131"/>
                  <a:pt x="49" y="129"/>
                </a:cubicBezTo>
                <a:cubicBezTo>
                  <a:pt x="49" y="131"/>
                  <a:pt x="50" y="133"/>
                  <a:pt x="50" y="135"/>
                </a:cubicBezTo>
                <a:cubicBezTo>
                  <a:pt x="36" y="148"/>
                  <a:pt x="18" y="146"/>
                  <a:pt x="16" y="145"/>
                </a:cubicBezTo>
                <a:close/>
                <a:moveTo>
                  <a:pt x="219" y="102"/>
                </a:moveTo>
                <a:cubicBezTo>
                  <a:pt x="221" y="103"/>
                  <a:pt x="223" y="103"/>
                  <a:pt x="224" y="104"/>
                </a:cubicBezTo>
                <a:cubicBezTo>
                  <a:pt x="226" y="104"/>
                  <a:pt x="226" y="105"/>
                  <a:pt x="226" y="105"/>
                </a:cubicBezTo>
                <a:cubicBezTo>
                  <a:pt x="226" y="106"/>
                  <a:pt x="225" y="107"/>
                  <a:pt x="222" y="108"/>
                </a:cubicBezTo>
                <a:cubicBezTo>
                  <a:pt x="221" y="108"/>
                  <a:pt x="218" y="109"/>
                  <a:pt x="215" y="109"/>
                </a:cubicBezTo>
                <a:cubicBezTo>
                  <a:pt x="214" y="109"/>
                  <a:pt x="214" y="109"/>
                  <a:pt x="213" y="109"/>
                </a:cubicBezTo>
                <a:cubicBezTo>
                  <a:pt x="212" y="108"/>
                  <a:pt x="211" y="108"/>
                  <a:pt x="210" y="107"/>
                </a:cubicBezTo>
                <a:cubicBezTo>
                  <a:pt x="207" y="104"/>
                  <a:pt x="202" y="100"/>
                  <a:pt x="198" y="97"/>
                </a:cubicBezTo>
                <a:cubicBezTo>
                  <a:pt x="206" y="100"/>
                  <a:pt x="214" y="101"/>
                  <a:pt x="219" y="102"/>
                </a:cubicBezTo>
                <a:close/>
                <a:moveTo>
                  <a:pt x="193" y="54"/>
                </a:moveTo>
                <a:cubicBezTo>
                  <a:pt x="204" y="47"/>
                  <a:pt x="214" y="50"/>
                  <a:pt x="219" y="52"/>
                </a:cubicBezTo>
                <a:cubicBezTo>
                  <a:pt x="217" y="57"/>
                  <a:pt x="215" y="60"/>
                  <a:pt x="211" y="62"/>
                </a:cubicBezTo>
                <a:cubicBezTo>
                  <a:pt x="202" y="67"/>
                  <a:pt x="191" y="65"/>
                  <a:pt x="185" y="64"/>
                </a:cubicBezTo>
                <a:cubicBezTo>
                  <a:pt x="188" y="61"/>
                  <a:pt x="191" y="57"/>
                  <a:pt x="193" y="54"/>
                </a:cubicBezTo>
                <a:close/>
                <a:moveTo>
                  <a:pt x="174" y="83"/>
                </a:moveTo>
                <a:cubicBezTo>
                  <a:pt x="177" y="88"/>
                  <a:pt x="180" y="95"/>
                  <a:pt x="186" y="102"/>
                </a:cubicBezTo>
                <a:cubicBezTo>
                  <a:pt x="191" y="107"/>
                  <a:pt x="198" y="112"/>
                  <a:pt x="203" y="116"/>
                </a:cubicBezTo>
                <a:cubicBezTo>
                  <a:pt x="204" y="118"/>
                  <a:pt x="206" y="119"/>
                  <a:pt x="207" y="120"/>
                </a:cubicBezTo>
                <a:cubicBezTo>
                  <a:pt x="208" y="120"/>
                  <a:pt x="208" y="121"/>
                  <a:pt x="208" y="122"/>
                </a:cubicBezTo>
                <a:cubicBezTo>
                  <a:pt x="208" y="123"/>
                  <a:pt x="206" y="123"/>
                  <a:pt x="203" y="123"/>
                </a:cubicBezTo>
                <a:cubicBezTo>
                  <a:pt x="202" y="123"/>
                  <a:pt x="185" y="121"/>
                  <a:pt x="177" y="101"/>
                </a:cubicBezTo>
                <a:cubicBezTo>
                  <a:pt x="174" y="94"/>
                  <a:pt x="174" y="87"/>
                  <a:pt x="174" y="83"/>
                </a:cubicBezTo>
                <a:close/>
                <a:moveTo>
                  <a:pt x="127" y="104"/>
                </a:moveTo>
                <a:cubicBezTo>
                  <a:pt x="128" y="103"/>
                  <a:pt x="130" y="103"/>
                  <a:pt x="132" y="102"/>
                </a:cubicBezTo>
                <a:cubicBezTo>
                  <a:pt x="137" y="101"/>
                  <a:pt x="144" y="100"/>
                  <a:pt x="151" y="98"/>
                </a:cubicBezTo>
                <a:cubicBezTo>
                  <a:pt x="155" y="96"/>
                  <a:pt x="159" y="94"/>
                  <a:pt x="162" y="92"/>
                </a:cubicBezTo>
                <a:cubicBezTo>
                  <a:pt x="162" y="94"/>
                  <a:pt x="163" y="96"/>
                  <a:pt x="163" y="98"/>
                </a:cubicBezTo>
                <a:cubicBezTo>
                  <a:pt x="149" y="111"/>
                  <a:pt x="132" y="109"/>
                  <a:pt x="129" y="108"/>
                </a:cubicBezTo>
                <a:cubicBezTo>
                  <a:pt x="126" y="107"/>
                  <a:pt x="125" y="106"/>
                  <a:pt x="125" y="105"/>
                </a:cubicBezTo>
                <a:cubicBezTo>
                  <a:pt x="125" y="105"/>
                  <a:pt x="125" y="104"/>
                  <a:pt x="127" y="104"/>
                </a:cubicBezTo>
                <a:close/>
                <a:moveTo>
                  <a:pt x="106" y="140"/>
                </a:moveTo>
                <a:cubicBezTo>
                  <a:pt x="108" y="140"/>
                  <a:pt x="110" y="140"/>
                  <a:pt x="111" y="141"/>
                </a:cubicBezTo>
                <a:cubicBezTo>
                  <a:pt x="112" y="141"/>
                  <a:pt x="113" y="142"/>
                  <a:pt x="113" y="142"/>
                </a:cubicBezTo>
                <a:cubicBezTo>
                  <a:pt x="113" y="143"/>
                  <a:pt x="112" y="145"/>
                  <a:pt x="108" y="146"/>
                </a:cubicBezTo>
                <a:cubicBezTo>
                  <a:pt x="108" y="146"/>
                  <a:pt x="105" y="146"/>
                  <a:pt x="102" y="146"/>
                </a:cubicBezTo>
                <a:cubicBezTo>
                  <a:pt x="101" y="146"/>
                  <a:pt x="100" y="146"/>
                  <a:pt x="100" y="146"/>
                </a:cubicBezTo>
                <a:cubicBezTo>
                  <a:pt x="99" y="146"/>
                  <a:pt x="98" y="145"/>
                  <a:pt x="97" y="144"/>
                </a:cubicBezTo>
                <a:cubicBezTo>
                  <a:pt x="94" y="141"/>
                  <a:pt x="89" y="137"/>
                  <a:pt x="85" y="134"/>
                </a:cubicBezTo>
                <a:cubicBezTo>
                  <a:pt x="93" y="137"/>
                  <a:pt x="101" y="138"/>
                  <a:pt x="106" y="140"/>
                </a:cubicBezTo>
                <a:close/>
                <a:moveTo>
                  <a:pt x="80" y="91"/>
                </a:moveTo>
                <a:cubicBezTo>
                  <a:pt x="90" y="84"/>
                  <a:pt x="101" y="87"/>
                  <a:pt x="106" y="89"/>
                </a:cubicBezTo>
                <a:cubicBezTo>
                  <a:pt x="104" y="94"/>
                  <a:pt x="101" y="97"/>
                  <a:pt x="97" y="99"/>
                </a:cubicBezTo>
                <a:cubicBezTo>
                  <a:pt x="89" y="104"/>
                  <a:pt x="78" y="103"/>
                  <a:pt x="72" y="101"/>
                </a:cubicBezTo>
                <a:cubicBezTo>
                  <a:pt x="75" y="98"/>
                  <a:pt x="78" y="95"/>
                  <a:pt x="80" y="91"/>
                </a:cubicBezTo>
                <a:close/>
                <a:moveTo>
                  <a:pt x="61" y="120"/>
                </a:moveTo>
                <a:cubicBezTo>
                  <a:pt x="64" y="126"/>
                  <a:pt x="67" y="132"/>
                  <a:pt x="73" y="139"/>
                </a:cubicBezTo>
                <a:cubicBezTo>
                  <a:pt x="78" y="144"/>
                  <a:pt x="85" y="149"/>
                  <a:pt x="90" y="153"/>
                </a:cubicBezTo>
                <a:cubicBezTo>
                  <a:pt x="91" y="155"/>
                  <a:pt x="93" y="156"/>
                  <a:pt x="94" y="157"/>
                </a:cubicBezTo>
                <a:cubicBezTo>
                  <a:pt x="95" y="158"/>
                  <a:pt x="95" y="159"/>
                  <a:pt x="95" y="159"/>
                </a:cubicBezTo>
                <a:cubicBezTo>
                  <a:pt x="95" y="160"/>
                  <a:pt x="93" y="161"/>
                  <a:pt x="90" y="160"/>
                </a:cubicBezTo>
                <a:cubicBezTo>
                  <a:pt x="89" y="160"/>
                  <a:pt x="72" y="157"/>
                  <a:pt x="64" y="138"/>
                </a:cubicBezTo>
                <a:cubicBezTo>
                  <a:pt x="61" y="131"/>
                  <a:pt x="60" y="125"/>
                  <a:pt x="61" y="1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7">
            <a:extLst>
              <a:ext uri="{FF2B5EF4-FFF2-40B4-BE49-F238E27FC236}">
                <a16:creationId xmlns:a16="http://schemas.microsoft.com/office/drawing/2014/main" id="{D4D4EF03-6F97-4C63-9D24-5FED33A5D434}"/>
              </a:ext>
            </a:extLst>
          </p:cNvPr>
          <p:cNvSpPr>
            <a:spLocks noEditPoints="1"/>
          </p:cNvSpPr>
          <p:nvPr/>
        </p:nvSpPr>
        <p:spPr bwMode="auto">
          <a:xfrm>
            <a:off x="10048666" y="2518334"/>
            <a:ext cx="752212" cy="542347"/>
          </a:xfrm>
          <a:custGeom>
            <a:avLst/>
            <a:gdLst>
              <a:gd name="T0" fmla="*/ 10 w 239"/>
              <a:gd name="T1" fmla="*/ 129 h 172"/>
              <a:gd name="T2" fmla="*/ 14 w 239"/>
              <a:gd name="T3" fmla="*/ 157 h 172"/>
              <a:gd name="T4" fmla="*/ 46 w 239"/>
              <a:gd name="T5" fmla="*/ 162 h 172"/>
              <a:gd name="T6" fmla="*/ 58 w 239"/>
              <a:gd name="T7" fmla="*/ 165 h 172"/>
              <a:gd name="T8" fmla="*/ 91 w 239"/>
              <a:gd name="T9" fmla="*/ 172 h 172"/>
              <a:gd name="T10" fmla="*/ 111 w 239"/>
              <a:gd name="T11" fmla="*/ 157 h 172"/>
              <a:gd name="T12" fmla="*/ 115 w 239"/>
              <a:gd name="T13" fmla="*/ 129 h 172"/>
              <a:gd name="T14" fmla="*/ 83 w 239"/>
              <a:gd name="T15" fmla="*/ 114 h 172"/>
              <a:gd name="T16" fmla="*/ 113 w 239"/>
              <a:gd name="T17" fmla="*/ 106 h 172"/>
              <a:gd name="T18" fmla="*/ 134 w 239"/>
              <a:gd name="T19" fmla="*/ 121 h 172"/>
              <a:gd name="T20" fmla="*/ 159 w 239"/>
              <a:gd name="T21" fmla="*/ 126 h 172"/>
              <a:gd name="T22" fmla="*/ 173 w 239"/>
              <a:gd name="T23" fmla="*/ 118 h 172"/>
              <a:gd name="T24" fmla="*/ 219 w 239"/>
              <a:gd name="T25" fmla="*/ 127 h 172"/>
              <a:gd name="T26" fmla="*/ 225 w 239"/>
              <a:gd name="T27" fmla="*/ 120 h 172"/>
              <a:gd name="T28" fmla="*/ 222 w 239"/>
              <a:gd name="T29" fmla="*/ 91 h 172"/>
              <a:gd name="T30" fmla="*/ 217 w 239"/>
              <a:gd name="T31" fmla="*/ 73 h 172"/>
              <a:gd name="T32" fmla="*/ 199 w 239"/>
              <a:gd name="T33" fmla="*/ 38 h 172"/>
              <a:gd name="T34" fmla="*/ 168 w 239"/>
              <a:gd name="T35" fmla="*/ 16 h 172"/>
              <a:gd name="T36" fmla="*/ 187 w 239"/>
              <a:gd name="T37" fmla="*/ 15 h 172"/>
              <a:gd name="T38" fmla="*/ 139 w 239"/>
              <a:gd name="T39" fmla="*/ 17 h 172"/>
              <a:gd name="T40" fmla="*/ 156 w 239"/>
              <a:gd name="T41" fmla="*/ 58 h 172"/>
              <a:gd name="T42" fmla="*/ 165 w 239"/>
              <a:gd name="T43" fmla="*/ 71 h 172"/>
              <a:gd name="T44" fmla="*/ 123 w 239"/>
              <a:gd name="T45" fmla="*/ 92 h 172"/>
              <a:gd name="T46" fmla="*/ 117 w 239"/>
              <a:gd name="T47" fmla="*/ 82 h 172"/>
              <a:gd name="T48" fmla="*/ 77 w 239"/>
              <a:gd name="T49" fmla="*/ 38 h 172"/>
              <a:gd name="T50" fmla="*/ 64 w 239"/>
              <a:gd name="T51" fmla="*/ 60 h 172"/>
              <a:gd name="T52" fmla="*/ 33 w 239"/>
              <a:gd name="T53" fmla="*/ 51 h 172"/>
              <a:gd name="T54" fmla="*/ 44 w 239"/>
              <a:gd name="T55" fmla="*/ 103 h 172"/>
              <a:gd name="T56" fmla="*/ 52 w 239"/>
              <a:gd name="T57" fmla="*/ 108 h 172"/>
              <a:gd name="T58" fmla="*/ 16 w 239"/>
              <a:gd name="T59" fmla="*/ 145 h 172"/>
              <a:gd name="T60" fmla="*/ 20 w 239"/>
              <a:gd name="T61" fmla="*/ 139 h 172"/>
              <a:gd name="T62" fmla="*/ 50 w 239"/>
              <a:gd name="T63" fmla="*/ 135 h 172"/>
              <a:gd name="T64" fmla="*/ 225 w 239"/>
              <a:gd name="T65" fmla="*/ 104 h 172"/>
              <a:gd name="T66" fmla="*/ 215 w 239"/>
              <a:gd name="T67" fmla="*/ 109 h 172"/>
              <a:gd name="T68" fmla="*/ 199 w 239"/>
              <a:gd name="T69" fmla="*/ 97 h 172"/>
              <a:gd name="T70" fmla="*/ 220 w 239"/>
              <a:gd name="T71" fmla="*/ 52 h 172"/>
              <a:gd name="T72" fmla="*/ 193 w 239"/>
              <a:gd name="T73" fmla="*/ 54 h 172"/>
              <a:gd name="T74" fmla="*/ 203 w 239"/>
              <a:gd name="T75" fmla="*/ 116 h 172"/>
              <a:gd name="T76" fmla="*/ 203 w 239"/>
              <a:gd name="T77" fmla="*/ 123 h 172"/>
              <a:gd name="T78" fmla="*/ 127 w 239"/>
              <a:gd name="T79" fmla="*/ 104 h 172"/>
              <a:gd name="T80" fmla="*/ 162 w 239"/>
              <a:gd name="T81" fmla="*/ 92 h 172"/>
              <a:gd name="T82" fmla="*/ 125 w 239"/>
              <a:gd name="T83" fmla="*/ 105 h 172"/>
              <a:gd name="T84" fmla="*/ 111 w 239"/>
              <a:gd name="T85" fmla="*/ 141 h 172"/>
              <a:gd name="T86" fmla="*/ 102 w 239"/>
              <a:gd name="T87" fmla="*/ 146 h 172"/>
              <a:gd name="T88" fmla="*/ 86 w 239"/>
              <a:gd name="T89" fmla="*/ 134 h 172"/>
              <a:gd name="T90" fmla="*/ 107 w 239"/>
              <a:gd name="T91" fmla="*/ 89 h 172"/>
              <a:gd name="T92" fmla="*/ 80 w 239"/>
              <a:gd name="T93" fmla="*/ 91 h 172"/>
              <a:gd name="T94" fmla="*/ 90 w 239"/>
              <a:gd name="T95" fmla="*/ 153 h 172"/>
              <a:gd name="T96" fmla="*/ 90 w 239"/>
              <a:gd name="T97" fmla="*/ 1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 h="172">
                <a:moveTo>
                  <a:pt x="34" y="123"/>
                </a:moveTo>
                <a:cubicBezTo>
                  <a:pt x="28" y="125"/>
                  <a:pt x="22" y="127"/>
                  <a:pt x="17" y="128"/>
                </a:cubicBezTo>
                <a:cubicBezTo>
                  <a:pt x="14" y="128"/>
                  <a:pt x="12" y="129"/>
                  <a:pt x="10" y="129"/>
                </a:cubicBezTo>
                <a:cubicBezTo>
                  <a:pt x="4" y="131"/>
                  <a:pt x="0" y="137"/>
                  <a:pt x="0" y="143"/>
                </a:cubicBezTo>
                <a:cubicBezTo>
                  <a:pt x="0" y="150"/>
                  <a:pt x="5" y="155"/>
                  <a:pt x="14" y="157"/>
                </a:cubicBezTo>
                <a:cubicBezTo>
                  <a:pt x="14" y="157"/>
                  <a:pt x="14" y="157"/>
                  <a:pt x="14" y="157"/>
                </a:cubicBezTo>
                <a:cubicBezTo>
                  <a:pt x="14" y="157"/>
                  <a:pt x="17" y="158"/>
                  <a:pt x="21" y="158"/>
                </a:cubicBezTo>
                <a:cubicBezTo>
                  <a:pt x="28" y="158"/>
                  <a:pt x="38" y="157"/>
                  <a:pt x="49" y="151"/>
                </a:cubicBezTo>
                <a:cubicBezTo>
                  <a:pt x="47" y="157"/>
                  <a:pt x="46" y="161"/>
                  <a:pt x="46" y="162"/>
                </a:cubicBezTo>
                <a:cubicBezTo>
                  <a:pt x="46" y="162"/>
                  <a:pt x="46" y="163"/>
                  <a:pt x="46" y="163"/>
                </a:cubicBezTo>
                <a:cubicBezTo>
                  <a:pt x="46" y="167"/>
                  <a:pt x="49" y="169"/>
                  <a:pt x="52" y="169"/>
                </a:cubicBezTo>
                <a:cubicBezTo>
                  <a:pt x="55" y="169"/>
                  <a:pt x="57" y="167"/>
                  <a:pt x="58" y="165"/>
                </a:cubicBezTo>
                <a:cubicBezTo>
                  <a:pt x="58" y="164"/>
                  <a:pt x="59" y="160"/>
                  <a:pt x="60" y="155"/>
                </a:cubicBezTo>
                <a:cubicBezTo>
                  <a:pt x="72" y="170"/>
                  <a:pt x="87" y="172"/>
                  <a:pt x="88" y="172"/>
                </a:cubicBezTo>
                <a:cubicBezTo>
                  <a:pt x="89" y="172"/>
                  <a:pt x="90" y="172"/>
                  <a:pt x="91" y="172"/>
                </a:cubicBezTo>
                <a:cubicBezTo>
                  <a:pt x="98" y="172"/>
                  <a:pt x="104" y="169"/>
                  <a:pt x="106" y="164"/>
                </a:cubicBezTo>
                <a:cubicBezTo>
                  <a:pt x="107" y="162"/>
                  <a:pt x="107" y="160"/>
                  <a:pt x="107" y="158"/>
                </a:cubicBezTo>
                <a:cubicBezTo>
                  <a:pt x="109" y="158"/>
                  <a:pt x="111" y="157"/>
                  <a:pt x="111" y="157"/>
                </a:cubicBezTo>
                <a:cubicBezTo>
                  <a:pt x="111" y="157"/>
                  <a:pt x="112" y="157"/>
                  <a:pt x="112" y="157"/>
                </a:cubicBezTo>
                <a:cubicBezTo>
                  <a:pt x="120" y="155"/>
                  <a:pt x="125" y="150"/>
                  <a:pt x="125" y="143"/>
                </a:cubicBezTo>
                <a:cubicBezTo>
                  <a:pt x="125" y="137"/>
                  <a:pt x="121" y="131"/>
                  <a:pt x="115" y="129"/>
                </a:cubicBezTo>
                <a:cubicBezTo>
                  <a:pt x="114" y="129"/>
                  <a:pt x="112" y="128"/>
                  <a:pt x="109" y="128"/>
                </a:cubicBezTo>
                <a:cubicBezTo>
                  <a:pt x="100" y="126"/>
                  <a:pt x="84" y="122"/>
                  <a:pt x="75" y="114"/>
                </a:cubicBezTo>
                <a:cubicBezTo>
                  <a:pt x="77" y="114"/>
                  <a:pt x="80" y="114"/>
                  <a:pt x="83" y="114"/>
                </a:cubicBezTo>
                <a:cubicBezTo>
                  <a:pt x="89" y="114"/>
                  <a:pt x="97" y="113"/>
                  <a:pt x="103" y="110"/>
                </a:cubicBezTo>
                <a:cubicBezTo>
                  <a:pt x="108" y="107"/>
                  <a:pt x="112" y="104"/>
                  <a:pt x="114" y="100"/>
                </a:cubicBezTo>
                <a:cubicBezTo>
                  <a:pt x="114" y="101"/>
                  <a:pt x="113" y="104"/>
                  <a:pt x="113" y="106"/>
                </a:cubicBezTo>
                <a:cubicBezTo>
                  <a:pt x="113" y="112"/>
                  <a:pt x="118" y="118"/>
                  <a:pt x="127" y="120"/>
                </a:cubicBezTo>
                <a:cubicBezTo>
                  <a:pt x="127" y="120"/>
                  <a:pt x="127" y="120"/>
                  <a:pt x="127" y="120"/>
                </a:cubicBezTo>
                <a:cubicBezTo>
                  <a:pt x="128" y="120"/>
                  <a:pt x="130" y="121"/>
                  <a:pt x="134" y="121"/>
                </a:cubicBezTo>
                <a:cubicBezTo>
                  <a:pt x="141" y="121"/>
                  <a:pt x="151" y="119"/>
                  <a:pt x="162" y="114"/>
                </a:cubicBezTo>
                <a:cubicBezTo>
                  <a:pt x="161" y="120"/>
                  <a:pt x="160" y="124"/>
                  <a:pt x="159" y="125"/>
                </a:cubicBezTo>
                <a:cubicBezTo>
                  <a:pt x="159" y="125"/>
                  <a:pt x="159" y="126"/>
                  <a:pt x="159" y="126"/>
                </a:cubicBezTo>
                <a:cubicBezTo>
                  <a:pt x="159" y="130"/>
                  <a:pt x="162" y="132"/>
                  <a:pt x="165" y="132"/>
                </a:cubicBezTo>
                <a:cubicBezTo>
                  <a:pt x="168" y="132"/>
                  <a:pt x="170" y="130"/>
                  <a:pt x="171" y="128"/>
                </a:cubicBezTo>
                <a:cubicBezTo>
                  <a:pt x="171" y="127"/>
                  <a:pt x="172" y="123"/>
                  <a:pt x="173" y="118"/>
                </a:cubicBezTo>
                <a:cubicBezTo>
                  <a:pt x="185" y="133"/>
                  <a:pt x="201" y="135"/>
                  <a:pt x="201" y="135"/>
                </a:cubicBezTo>
                <a:cubicBezTo>
                  <a:pt x="203" y="135"/>
                  <a:pt x="204" y="135"/>
                  <a:pt x="205" y="135"/>
                </a:cubicBezTo>
                <a:cubicBezTo>
                  <a:pt x="212" y="135"/>
                  <a:pt x="217" y="132"/>
                  <a:pt x="219" y="127"/>
                </a:cubicBezTo>
                <a:cubicBezTo>
                  <a:pt x="220" y="125"/>
                  <a:pt x="221" y="123"/>
                  <a:pt x="220" y="121"/>
                </a:cubicBezTo>
                <a:cubicBezTo>
                  <a:pt x="222" y="120"/>
                  <a:pt x="224" y="120"/>
                  <a:pt x="224" y="120"/>
                </a:cubicBezTo>
                <a:cubicBezTo>
                  <a:pt x="225" y="120"/>
                  <a:pt x="225" y="120"/>
                  <a:pt x="225" y="120"/>
                </a:cubicBezTo>
                <a:cubicBezTo>
                  <a:pt x="233" y="118"/>
                  <a:pt x="238" y="112"/>
                  <a:pt x="238" y="106"/>
                </a:cubicBezTo>
                <a:cubicBezTo>
                  <a:pt x="239" y="100"/>
                  <a:pt x="234" y="94"/>
                  <a:pt x="228" y="92"/>
                </a:cubicBezTo>
                <a:cubicBezTo>
                  <a:pt x="227" y="92"/>
                  <a:pt x="225" y="91"/>
                  <a:pt x="222" y="91"/>
                </a:cubicBezTo>
                <a:cubicBezTo>
                  <a:pt x="213" y="89"/>
                  <a:pt x="197" y="85"/>
                  <a:pt x="188" y="77"/>
                </a:cubicBezTo>
                <a:cubicBezTo>
                  <a:pt x="190" y="77"/>
                  <a:pt x="193" y="77"/>
                  <a:pt x="196" y="77"/>
                </a:cubicBezTo>
                <a:cubicBezTo>
                  <a:pt x="202" y="77"/>
                  <a:pt x="210" y="76"/>
                  <a:pt x="217" y="73"/>
                </a:cubicBezTo>
                <a:cubicBezTo>
                  <a:pt x="225" y="68"/>
                  <a:pt x="230" y="61"/>
                  <a:pt x="233" y="51"/>
                </a:cubicBezTo>
                <a:cubicBezTo>
                  <a:pt x="233" y="49"/>
                  <a:pt x="233" y="46"/>
                  <a:pt x="231" y="45"/>
                </a:cubicBezTo>
                <a:cubicBezTo>
                  <a:pt x="230" y="44"/>
                  <a:pt x="216" y="34"/>
                  <a:pt x="199" y="38"/>
                </a:cubicBezTo>
                <a:cubicBezTo>
                  <a:pt x="204" y="19"/>
                  <a:pt x="196" y="4"/>
                  <a:pt x="196" y="4"/>
                </a:cubicBezTo>
                <a:cubicBezTo>
                  <a:pt x="195" y="2"/>
                  <a:pt x="192" y="0"/>
                  <a:pt x="190" y="1"/>
                </a:cubicBezTo>
                <a:cubicBezTo>
                  <a:pt x="177" y="4"/>
                  <a:pt x="168" y="15"/>
                  <a:pt x="168" y="16"/>
                </a:cubicBezTo>
                <a:cubicBezTo>
                  <a:pt x="166" y="18"/>
                  <a:pt x="167" y="22"/>
                  <a:pt x="169" y="24"/>
                </a:cubicBezTo>
                <a:cubicBezTo>
                  <a:pt x="172" y="26"/>
                  <a:pt x="176" y="26"/>
                  <a:pt x="178" y="23"/>
                </a:cubicBezTo>
                <a:cubicBezTo>
                  <a:pt x="178" y="23"/>
                  <a:pt x="182" y="18"/>
                  <a:pt x="187" y="15"/>
                </a:cubicBezTo>
                <a:cubicBezTo>
                  <a:pt x="190" y="23"/>
                  <a:pt x="191" y="39"/>
                  <a:pt x="176" y="57"/>
                </a:cubicBezTo>
                <a:cubicBezTo>
                  <a:pt x="172" y="29"/>
                  <a:pt x="158" y="18"/>
                  <a:pt x="146" y="14"/>
                </a:cubicBezTo>
                <a:cubicBezTo>
                  <a:pt x="143" y="13"/>
                  <a:pt x="140" y="15"/>
                  <a:pt x="139" y="17"/>
                </a:cubicBezTo>
                <a:cubicBezTo>
                  <a:pt x="134" y="29"/>
                  <a:pt x="129" y="54"/>
                  <a:pt x="149" y="68"/>
                </a:cubicBezTo>
                <a:cubicBezTo>
                  <a:pt x="152" y="70"/>
                  <a:pt x="156" y="69"/>
                  <a:pt x="157" y="66"/>
                </a:cubicBezTo>
                <a:cubicBezTo>
                  <a:pt x="159" y="64"/>
                  <a:pt x="159" y="60"/>
                  <a:pt x="156" y="58"/>
                </a:cubicBezTo>
                <a:cubicBezTo>
                  <a:pt x="144" y="50"/>
                  <a:pt x="146" y="36"/>
                  <a:pt x="148" y="28"/>
                </a:cubicBezTo>
                <a:cubicBezTo>
                  <a:pt x="159" y="35"/>
                  <a:pt x="165" y="49"/>
                  <a:pt x="166" y="71"/>
                </a:cubicBezTo>
                <a:cubicBezTo>
                  <a:pt x="165" y="71"/>
                  <a:pt x="165" y="71"/>
                  <a:pt x="165" y="71"/>
                </a:cubicBezTo>
                <a:cubicBezTo>
                  <a:pt x="162" y="77"/>
                  <a:pt x="158" y="83"/>
                  <a:pt x="147" y="86"/>
                </a:cubicBezTo>
                <a:cubicBezTo>
                  <a:pt x="141" y="88"/>
                  <a:pt x="135" y="90"/>
                  <a:pt x="130" y="90"/>
                </a:cubicBezTo>
                <a:cubicBezTo>
                  <a:pt x="127" y="91"/>
                  <a:pt x="125" y="92"/>
                  <a:pt x="123" y="92"/>
                </a:cubicBezTo>
                <a:cubicBezTo>
                  <a:pt x="120" y="93"/>
                  <a:pt x="118" y="95"/>
                  <a:pt x="116" y="97"/>
                </a:cubicBezTo>
                <a:cubicBezTo>
                  <a:pt x="117" y="94"/>
                  <a:pt x="119" y="91"/>
                  <a:pt x="120" y="88"/>
                </a:cubicBezTo>
                <a:cubicBezTo>
                  <a:pt x="120" y="86"/>
                  <a:pt x="119" y="83"/>
                  <a:pt x="117" y="82"/>
                </a:cubicBezTo>
                <a:cubicBezTo>
                  <a:pt x="117" y="81"/>
                  <a:pt x="103" y="71"/>
                  <a:pt x="86" y="75"/>
                </a:cubicBezTo>
                <a:cubicBezTo>
                  <a:pt x="91" y="56"/>
                  <a:pt x="83" y="42"/>
                  <a:pt x="83" y="41"/>
                </a:cubicBezTo>
                <a:cubicBezTo>
                  <a:pt x="82" y="39"/>
                  <a:pt x="79" y="38"/>
                  <a:pt x="77" y="38"/>
                </a:cubicBezTo>
                <a:cubicBezTo>
                  <a:pt x="64" y="41"/>
                  <a:pt x="55" y="52"/>
                  <a:pt x="55" y="53"/>
                </a:cubicBezTo>
                <a:cubicBezTo>
                  <a:pt x="53" y="56"/>
                  <a:pt x="53" y="59"/>
                  <a:pt x="56" y="61"/>
                </a:cubicBezTo>
                <a:cubicBezTo>
                  <a:pt x="59" y="63"/>
                  <a:pt x="62" y="63"/>
                  <a:pt x="64" y="60"/>
                </a:cubicBezTo>
                <a:cubicBezTo>
                  <a:pt x="65" y="60"/>
                  <a:pt x="69" y="55"/>
                  <a:pt x="74" y="52"/>
                </a:cubicBezTo>
                <a:cubicBezTo>
                  <a:pt x="77" y="60"/>
                  <a:pt x="78" y="77"/>
                  <a:pt x="63" y="94"/>
                </a:cubicBezTo>
                <a:cubicBezTo>
                  <a:pt x="59" y="66"/>
                  <a:pt x="45" y="55"/>
                  <a:pt x="33" y="51"/>
                </a:cubicBezTo>
                <a:cubicBezTo>
                  <a:pt x="30" y="50"/>
                  <a:pt x="27" y="52"/>
                  <a:pt x="26" y="54"/>
                </a:cubicBezTo>
                <a:cubicBezTo>
                  <a:pt x="20" y="66"/>
                  <a:pt x="16" y="91"/>
                  <a:pt x="36" y="105"/>
                </a:cubicBezTo>
                <a:cubicBezTo>
                  <a:pt x="39" y="107"/>
                  <a:pt x="42" y="106"/>
                  <a:pt x="44" y="103"/>
                </a:cubicBezTo>
                <a:cubicBezTo>
                  <a:pt x="46" y="101"/>
                  <a:pt x="45" y="97"/>
                  <a:pt x="43" y="95"/>
                </a:cubicBezTo>
                <a:cubicBezTo>
                  <a:pt x="31" y="87"/>
                  <a:pt x="32" y="73"/>
                  <a:pt x="35" y="65"/>
                </a:cubicBezTo>
                <a:cubicBezTo>
                  <a:pt x="46" y="72"/>
                  <a:pt x="52" y="86"/>
                  <a:pt x="52" y="108"/>
                </a:cubicBezTo>
                <a:cubicBezTo>
                  <a:pt x="52" y="108"/>
                  <a:pt x="52" y="108"/>
                  <a:pt x="52" y="108"/>
                </a:cubicBezTo>
                <a:cubicBezTo>
                  <a:pt x="49" y="114"/>
                  <a:pt x="45" y="120"/>
                  <a:pt x="34" y="123"/>
                </a:cubicBezTo>
                <a:close/>
                <a:moveTo>
                  <a:pt x="16" y="145"/>
                </a:moveTo>
                <a:cubicBezTo>
                  <a:pt x="13" y="145"/>
                  <a:pt x="12" y="143"/>
                  <a:pt x="12" y="142"/>
                </a:cubicBezTo>
                <a:cubicBezTo>
                  <a:pt x="12" y="142"/>
                  <a:pt x="13" y="141"/>
                  <a:pt x="14" y="141"/>
                </a:cubicBezTo>
                <a:cubicBezTo>
                  <a:pt x="15" y="140"/>
                  <a:pt x="17" y="140"/>
                  <a:pt x="20" y="139"/>
                </a:cubicBezTo>
                <a:cubicBezTo>
                  <a:pt x="24" y="138"/>
                  <a:pt x="31" y="137"/>
                  <a:pt x="38" y="135"/>
                </a:cubicBezTo>
                <a:cubicBezTo>
                  <a:pt x="43" y="133"/>
                  <a:pt x="46" y="131"/>
                  <a:pt x="49" y="129"/>
                </a:cubicBezTo>
                <a:cubicBezTo>
                  <a:pt x="50" y="131"/>
                  <a:pt x="50" y="133"/>
                  <a:pt x="50" y="135"/>
                </a:cubicBezTo>
                <a:cubicBezTo>
                  <a:pt x="36" y="148"/>
                  <a:pt x="19" y="146"/>
                  <a:pt x="16" y="145"/>
                </a:cubicBezTo>
                <a:close/>
                <a:moveTo>
                  <a:pt x="219" y="102"/>
                </a:moveTo>
                <a:cubicBezTo>
                  <a:pt x="222" y="103"/>
                  <a:pt x="224" y="103"/>
                  <a:pt x="225" y="104"/>
                </a:cubicBezTo>
                <a:cubicBezTo>
                  <a:pt x="226" y="104"/>
                  <a:pt x="226" y="105"/>
                  <a:pt x="226" y="105"/>
                </a:cubicBezTo>
                <a:cubicBezTo>
                  <a:pt x="226" y="106"/>
                  <a:pt x="225" y="107"/>
                  <a:pt x="222" y="108"/>
                </a:cubicBezTo>
                <a:cubicBezTo>
                  <a:pt x="221" y="108"/>
                  <a:pt x="219" y="109"/>
                  <a:pt x="215" y="109"/>
                </a:cubicBezTo>
                <a:cubicBezTo>
                  <a:pt x="214" y="109"/>
                  <a:pt x="214" y="109"/>
                  <a:pt x="213" y="109"/>
                </a:cubicBezTo>
                <a:cubicBezTo>
                  <a:pt x="213" y="108"/>
                  <a:pt x="212" y="108"/>
                  <a:pt x="211" y="107"/>
                </a:cubicBezTo>
                <a:cubicBezTo>
                  <a:pt x="207" y="104"/>
                  <a:pt x="202" y="100"/>
                  <a:pt x="199" y="97"/>
                </a:cubicBezTo>
                <a:cubicBezTo>
                  <a:pt x="206" y="100"/>
                  <a:pt x="214" y="101"/>
                  <a:pt x="219" y="102"/>
                </a:cubicBezTo>
                <a:close/>
                <a:moveTo>
                  <a:pt x="193" y="54"/>
                </a:moveTo>
                <a:cubicBezTo>
                  <a:pt x="204" y="47"/>
                  <a:pt x="214" y="50"/>
                  <a:pt x="220" y="52"/>
                </a:cubicBezTo>
                <a:cubicBezTo>
                  <a:pt x="218" y="57"/>
                  <a:pt x="215" y="60"/>
                  <a:pt x="211" y="62"/>
                </a:cubicBezTo>
                <a:cubicBezTo>
                  <a:pt x="202" y="67"/>
                  <a:pt x="191" y="65"/>
                  <a:pt x="186" y="64"/>
                </a:cubicBezTo>
                <a:cubicBezTo>
                  <a:pt x="189" y="61"/>
                  <a:pt x="191" y="57"/>
                  <a:pt x="193" y="54"/>
                </a:cubicBezTo>
                <a:close/>
                <a:moveTo>
                  <a:pt x="175" y="83"/>
                </a:moveTo>
                <a:cubicBezTo>
                  <a:pt x="177" y="88"/>
                  <a:pt x="181" y="95"/>
                  <a:pt x="187" y="102"/>
                </a:cubicBezTo>
                <a:cubicBezTo>
                  <a:pt x="192" y="107"/>
                  <a:pt x="198" y="112"/>
                  <a:pt x="203" y="116"/>
                </a:cubicBezTo>
                <a:cubicBezTo>
                  <a:pt x="205" y="118"/>
                  <a:pt x="206" y="119"/>
                  <a:pt x="207" y="120"/>
                </a:cubicBezTo>
                <a:cubicBezTo>
                  <a:pt x="208" y="120"/>
                  <a:pt x="209" y="121"/>
                  <a:pt x="208" y="122"/>
                </a:cubicBezTo>
                <a:cubicBezTo>
                  <a:pt x="208" y="123"/>
                  <a:pt x="206" y="123"/>
                  <a:pt x="203" y="123"/>
                </a:cubicBezTo>
                <a:cubicBezTo>
                  <a:pt x="202" y="123"/>
                  <a:pt x="185" y="120"/>
                  <a:pt x="177" y="101"/>
                </a:cubicBezTo>
                <a:cubicBezTo>
                  <a:pt x="174" y="94"/>
                  <a:pt x="174" y="87"/>
                  <a:pt x="175" y="83"/>
                </a:cubicBezTo>
                <a:close/>
                <a:moveTo>
                  <a:pt x="127" y="104"/>
                </a:moveTo>
                <a:cubicBezTo>
                  <a:pt x="128" y="103"/>
                  <a:pt x="130" y="103"/>
                  <a:pt x="133" y="102"/>
                </a:cubicBezTo>
                <a:cubicBezTo>
                  <a:pt x="138" y="101"/>
                  <a:pt x="144" y="100"/>
                  <a:pt x="151" y="98"/>
                </a:cubicBezTo>
                <a:cubicBezTo>
                  <a:pt x="156" y="96"/>
                  <a:pt x="159" y="94"/>
                  <a:pt x="162" y="92"/>
                </a:cubicBezTo>
                <a:cubicBezTo>
                  <a:pt x="163" y="94"/>
                  <a:pt x="163" y="96"/>
                  <a:pt x="163" y="98"/>
                </a:cubicBezTo>
                <a:cubicBezTo>
                  <a:pt x="149" y="111"/>
                  <a:pt x="132" y="109"/>
                  <a:pt x="130" y="108"/>
                </a:cubicBezTo>
                <a:cubicBezTo>
                  <a:pt x="126" y="107"/>
                  <a:pt x="125" y="106"/>
                  <a:pt x="125" y="105"/>
                </a:cubicBezTo>
                <a:cubicBezTo>
                  <a:pt x="125" y="105"/>
                  <a:pt x="126" y="104"/>
                  <a:pt x="127" y="104"/>
                </a:cubicBezTo>
                <a:close/>
                <a:moveTo>
                  <a:pt x="106" y="140"/>
                </a:moveTo>
                <a:cubicBezTo>
                  <a:pt x="108" y="140"/>
                  <a:pt x="111" y="140"/>
                  <a:pt x="111" y="141"/>
                </a:cubicBezTo>
                <a:cubicBezTo>
                  <a:pt x="113" y="141"/>
                  <a:pt x="113" y="142"/>
                  <a:pt x="113" y="142"/>
                </a:cubicBezTo>
                <a:cubicBezTo>
                  <a:pt x="113" y="143"/>
                  <a:pt x="112" y="145"/>
                  <a:pt x="109" y="146"/>
                </a:cubicBezTo>
                <a:cubicBezTo>
                  <a:pt x="108" y="146"/>
                  <a:pt x="106" y="146"/>
                  <a:pt x="102" y="146"/>
                </a:cubicBezTo>
                <a:cubicBezTo>
                  <a:pt x="101" y="146"/>
                  <a:pt x="101" y="146"/>
                  <a:pt x="100" y="146"/>
                </a:cubicBezTo>
                <a:cubicBezTo>
                  <a:pt x="99" y="146"/>
                  <a:pt x="99" y="145"/>
                  <a:pt x="98" y="144"/>
                </a:cubicBezTo>
                <a:cubicBezTo>
                  <a:pt x="94" y="141"/>
                  <a:pt x="89" y="137"/>
                  <a:pt x="86" y="134"/>
                </a:cubicBezTo>
                <a:cubicBezTo>
                  <a:pt x="93" y="137"/>
                  <a:pt x="101" y="138"/>
                  <a:pt x="106" y="140"/>
                </a:cubicBezTo>
                <a:close/>
                <a:moveTo>
                  <a:pt x="80" y="91"/>
                </a:moveTo>
                <a:cubicBezTo>
                  <a:pt x="91" y="84"/>
                  <a:pt x="101" y="87"/>
                  <a:pt x="107" y="89"/>
                </a:cubicBezTo>
                <a:cubicBezTo>
                  <a:pt x="105" y="94"/>
                  <a:pt x="102" y="97"/>
                  <a:pt x="98" y="99"/>
                </a:cubicBezTo>
                <a:cubicBezTo>
                  <a:pt x="89" y="104"/>
                  <a:pt x="78" y="103"/>
                  <a:pt x="72" y="101"/>
                </a:cubicBezTo>
                <a:cubicBezTo>
                  <a:pt x="75" y="98"/>
                  <a:pt x="78" y="95"/>
                  <a:pt x="80" y="91"/>
                </a:cubicBezTo>
                <a:close/>
                <a:moveTo>
                  <a:pt x="62" y="120"/>
                </a:moveTo>
                <a:cubicBezTo>
                  <a:pt x="64" y="126"/>
                  <a:pt x="67" y="132"/>
                  <a:pt x="74" y="139"/>
                </a:cubicBezTo>
                <a:cubicBezTo>
                  <a:pt x="78" y="144"/>
                  <a:pt x="85" y="149"/>
                  <a:pt x="90" y="153"/>
                </a:cubicBezTo>
                <a:cubicBezTo>
                  <a:pt x="92" y="155"/>
                  <a:pt x="93" y="156"/>
                  <a:pt x="94" y="157"/>
                </a:cubicBezTo>
                <a:cubicBezTo>
                  <a:pt x="95" y="158"/>
                  <a:pt x="95" y="159"/>
                  <a:pt x="95" y="159"/>
                </a:cubicBezTo>
                <a:cubicBezTo>
                  <a:pt x="95" y="160"/>
                  <a:pt x="93" y="161"/>
                  <a:pt x="90" y="160"/>
                </a:cubicBezTo>
                <a:cubicBezTo>
                  <a:pt x="90" y="160"/>
                  <a:pt x="72" y="158"/>
                  <a:pt x="64" y="138"/>
                </a:cubicBezTo>
                <a:cubicBezTo>
                  <a:pt x="61" y="131"/>
                  <a:pt x="61" y="125"/>
                  <a:pt x="62" y="1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8">
            <a:extLst>
              <a:ext uri="{FF2B5EF4-FFF2-40B4-BE49-F238E27FC236}">
                <a16:creationId xmlns:a16="http://schemas.microsoft.com/office/drawing/2014/main" id="{9525CD46-F264-4C8C-8D46-F6BF24D169D8}"/>
              </a:ext>
            </a:extLst>
          </p:cNvPr>
          <p:cNvSpPr>
            <a:spLocks noEditPoints="1"/>
          </p:cNvSpPr>
          <p:nvPr/>
        </p:nvSpPr>
        <p:spPr bwMode="auto">
          <a:xfrm>
            <a:off x="9337720" y="2947495"/>
            <a:ext cx="748675" cy="543527"/>
          </a:xfrm>
          <a:custGeom>
            <a:avLst/>
            <a:gdLst>
              <a:gd name="T0" fmla="*/ 171 w 238"/>
              <a:gd name="T1" fmla="*/ 127 h 172"/>
              <a:gd name="T2" fmla="*/ 204 w 238"/>
              <a:gd name="T3" fmla="*/ 135 h 172"/>
              <a:gd name="T4" fmla="*/ 224 w 238"/>
              <a:gd name="T5" fmla="*/ 120 h 172"/>
              <a:gd name="T6" fmla="*/ 228 w 238"/>
              <a:gd name="T7" fmla="*/ 92 h 172"/>
              <a:gd name="T8" fmla="*/ 196 w 238"/>
              <a:gd name="T9" fmla="*/ 77 h 172"/>
              <a:gd name="T10" fmla="*/ 230 w 238"/>
              <a:gd name="T11" fmla="*/ 44 h 172"/>
              <a:gd name="T12" fmla="*/ 189 w 238"/>
              <a:gd name="T13" fmla="*/ 1 h 172"/>
              <a:gd name="T14" fmla="*/ 177 w 238"/>
              <a:gd name="T15" fmla="*/ 23 h 172"/>
              <a:gd name="T16" fmla="*/ 146 w 238"/>
              <a:gd name="T17" fmla="*/ 14 h 172"/>
              <a:gd name="T18" fmla="*/ 157 w 238"/>
              <a:gd name="T19" fmla="*/ 66 h 172"/>
              <a:gd name="T20" fmla="*/ 165 w 238"/>
              <a:gd name="T21" fmla="*/ 70 h 172"/>
              <a:gd name="T22" fmla="*/ 130 w 238"/>
              <a:gd name="T23" fmla="*/ 90 h 172"/>
              <a:gd name="T24" fmla="*/ 119 w 238"/>
              <a:gd name="T25" fmla="*/ 88 h 172"/>
              <a:gd name="T26" fmla="*/ 83 w 238"/>
              <a:gd name="T27" fmla="*/ 41 h 172"/>
              <a:gd name="T28" fmla="*/ 56 w 238"/>
              <a:gd name="T29" fmla="*/ 61 h 172"/>
              <a:gd name="T30" fmla="*/ 63 w 238"/>
              <a:gd name="T31" fmla="*/ 94 h 172"/>
              <a:gd name="T32" fmla="*/ 36 w 238"/>
              <a:gd name="T33" fmla="*/ 105 h 172"/>
              <a:gd name="T34" fmla="*/ 34 w 238"/>
              <a:gd name="T35" fmla="*/ 65 h 172"/>
              <a:gd name="T36" fmla="*/ 34 w 238"/>
              <a:gd name="T37" fmla="*/ 123 h 172"/>
              <a:gd name="T38" fmla="*/ 0 w 238"/>
              <a:gd name="T39" fmla="*/ 143 h 172"/>
              <a:gd name="T40" fmla="*/ 21 w 238"/>
              <a:gd name="T41" fmla="*/ 158 h 172"/>
              <a:gd name="T42" fmla="*/ 46 w 238"/>
              <a:gd name="T43" fmla="*/ 164 h 172"/>
              <a:gd name="T44" fmla="*/ 60 w 238"/>
              <a:gd name="T45" fmla="*/ 155 h 172"/>
              <a:gd name="T46" fmla="*/ 106 w 238"/>
              <a:gd name="T47" fmla="*/ 164 h 172"/>
              <a:gd name="T48" fmla="*/ 111 w 238"/>
              <a:gd name="T49" fmla="*/ 157 h 172"/>
              <a:gd name="T50" fmla="*/ 109 w 238"/>
              <a:gd name="T51" fmla="*/ 128 h 172"/>
              <a:gd name="T52" fmla="*/ 103 w 238"/>
              <a:gd name="T53" fmla="*/ 110 h 172"/>
              <a:gd name="T54" fmla="*/ 126 w 238"/>
              <a:gd name="T55" fmla="*/ 119 h 172"/>
              <a:gd name="T56" fmla="*/ 162 w 238"/>
              <a:gd name="T57" fmla="*/ 113 h 172"/>
              <a:gd name="T58" fmla="*/ 219 w 238"/>
              <a:gd name="T59" fmla="*/ 102 h 172"/>
              <a:gd name="T60" fmla="*/ 222 w 238"/>
              <a:gd name="T61" fmla="*/ 108 h 172"/>
              <a:gd name="T62" fmla="*/ 210 w 238"/>
              <a:gd name="T63" fmla="*/ 106 h 172"/>
              <a:gd name="T64" fmla="*/ 193 w 238"/>
              <a:gd name="T65" fmla="*/ 54 h 172"/>
              <a:gd name="T66" fmla="*/ 185 w 238"/>
              <a:gd name="T67" fmla="*/ 64 h 172"/>
              <a:gd name="T68" fmla="*/ 186 w 238"/>
              <a:gd name="T69" fmla="*/ 101 h 172"/>
              <a:gd name="T70" fmla="*/ 207 w 238"/>
              <a:gd name="T71" fmla="*/ 119 h 172"/>
              <a:gd name="T72" fmla="*/ 177 w 238"/>
              <a:gd name="T73" fmla="*/ 100 h 172"/>
              <a:gd name="T74" fmla="*/ 12 w 238"/>
              <a:gd name="T75" fmla="*/ 143 h 172"/>
              <a:gd name="T76" fmla="*/ 38 w 238"/>
              <a:gd name="T77" fmla="*/ 135 h 172"/>
              <a:gd name="T78" fmla="*/ 16 w 238"/>
              <a:gd name="T79" fmla="*/ 146 h 172"/>
              <a:gd name="T80" fmla="*/ 113 w 238"/>
              <a:gd name="T81" fmla="*/ 143 h 172"/>
              <a:gd name="T82" fmla="*/ 100 w 238"/>
              <a:gd name="T83" fmla="*/ 146 h 172"/>
              <a:gd name="T84" fmla="*/ 106 w 238"/>
              <a:gd name="T85" fmla="*/ 140 h 172"/>
              <a:gd name="T86" fmla="*/ 95 w 238"/>
              <a:gd name="T87" fmla="*/ 159 h 172"/>
              <a:gd name="T88" fmla="*/ 61 w 238"/>
              <a:gd name="T89" fmla="*/ 120 h 172"/>
              <a:gd name="T90" fmla="*/ 97 w 238"/>
              <a:gd name="T91" fmla="*/ 99 h 172"/>
              <a:gd name="T92" fmla="*/ 106 w 238"/>
              <a:gd name="T93" fmla="*/ 89 h 172"/>
              <a:gd name="T94" fmla="*/ 125 w 238"/>
              <a:gd name="T95" fmla="*/ 105 h 172"/>
              <a:gd name="T96" fmla="*/ 151 w 238"/>
              <a:gd name="T97" fmla="*/ 97 h 172"/>
              <a:gd name="T98" fmla="*/ 129 w 238"/>
              <a:gd name="T99"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8" h="172">
                <a:moveTo>
                  <a:pt x="159" y="126"/>
                </a:moveTo>
                <a:cubicBezTo>
                  <a:pt x="159" y="129"/>
                  <a:pt x="162" y="132"/>
                  <a:pt x="165" y="132"/>
                </a:cubicBezTo>
                <a:cubicBezTo>
                  <a:pt x="168" y="132"/>
                  <a:pt x="170" y="130"/>
                  <a:pt x="171" y="127"/>
                </a:cubicBezTo>
                <a:cubicBezTo>
                  <a:pt x="171" y="126"/>
                  <a:pt x="172" y="123"/>
                  <a:pt x="173" y="117"/>
                </a:cubicBezTo>
                <a:cubicBezTo>
                  <a:pt x="185" y="132"/>
                  <a:pt x="200" y="134"/>
                  <a:pt x="201" y="134"/>
                </a:cubicBezTo>
                <a:cubicBezTo>
                  <a:pt x="202" y="135"/>
                  <a:pt x="203" y="135"/>
                  <a:pt x="204" y="135"/>
                </a:cubicBezTo>
                <a:cubicBezTo>
                  <a:pt x="211" y="135"/>
                  <a:pt x="217" y="132"/>
                  <a:pt x="219" y="126"/>
                </a:cubicBezTo>
                <a:cubicBezTo>
                  <a:pt x="220" y="124"/>
                  <a:pt x="220" y="122"/>
                  <a:pt x="220" y="120"/>
                </a:cubicBezTo>
                <a:cubicBezTo>
                  <a:pt x="222" y="120"/>
                  <a:pt x="224" y="120"/>
                  <a:pt x="224" y="120"/>
                </a:cubicBezTo>
                <a:cubicBezTo>
                  <a:pt x="224" y="120"/>
                  <a:pt x="224" y="119"/>
                  <a:pt x="225" y="119"/>
                </a:cubicBezTo>
                <a:cubicBezTo>
                  <a:pt x="233" y="117"/>
                  <a:pt x="238" y="112"/>
                  <a:pt x="238" y="105"/>
                </a:cubicBezTo>
                <a:cubicBezTo>
                  <a:pt x="238" y="99"/>
                  <a:pt x="234" y="94"/>
                  <a:pt x="228" y="92"/>
                </a:cubicBezTo>
                <a:cubicBezTo>
                  <a:pt x="227" y="91"/>
                  <a:pt x="224" y="91"/>
                  <a:pt x="222" y="90"/>
                </a:cubicBezTo>
                <a:cubicBezTo>
                  <a:pt x="213" y="88"/>
                  <a:pt x="197" y="85"/>
                  <a:pt x="188" y="76"/>
                </a:cubicBezTo>
                <a:cubicBezTo>
                  <a:pt x="190" y="77"/>
                  <a:pt x="193" y="77"/>
                  <a:pt x="196" y="77"/>
                </a:cubicBezTo>
                <a:cubicBezTo>
                  <a:pt x="202" y="77"/>
                  <a:pt x="210" y="76"/>
                  <a:pt x="216" y="72"/>
                </a:cubicBezTo>
                <a:cubicBezTo>
                  <a:pt x="224" y="68"/>
                  <a:pt x="230" y="60"/>
                  <a:pt x="233" y="50"/>
                </a:cubicBezTo>
                <a:cubicBezTo>
                  <a:pt x="233" y="48"/>
                  <a:pt x="232" y="45"/>
                  <a:pt x="230" y="44"/>
                </a:cubicBezTo>
                <a:cubicBezTo>
                  <a:pt x="230" y="43"/>
                  <a:pt x="216" y="34"/>
                  <a:pt x="199" y="38"/>
                </a:cubicBezTo>
                <a:cubicBezTo>
                  <a:pt x="203" y="19"/>
                  <a:pt x="196" y="4"/>
                  <a:pt x="196" y="4"/>
                </a:cubicBezTo>
                <a:cubicBezTo>
                  <a:pt x="195" y="1"/>
                  <a:pt x="192" y="0"/>
                  <a:pt x="189" y="1"/>
                </a:cubicBezTo>
                <a:cubicBezTo>
                  <a:pt x="177" y="3"/>
                  <a:pt x="168" y="15"/>
                  <a:pt x="168" y="15"/>
                </a:cubicBezTo>
                <a:cubicBezTo>
                  <a:pt x="166" y="18"/>
                  <a:pt x="166" y="22"/>
                  <a:pt x="169" y="24"/>
                </a:cubicBezTo>
                <a:cubicBezTo>
                  <a:pt x="172" y="26"/>
                  <a:pt x="175" y="25"/>
                  <a:pt x="177" y="23"/>
                </a:cubicBezTo>
                <a:cubicBezTo>
                  <a:pt x="177" y="22"/>
                  <a:pt x="181" y="17"/>
                  <a:pt x="187" y="14"/>
                </a:cubicBezTo>
                <a:cubicBezTo>
                  <a:pt x="189" y="22"/>
                  <a:pt x="191" y="39"/>
                  <a:pt x="176" y="56"/>
                </a:cubicBezTo>
                <a:cubicBezTo>
                  <a:pt x="172" y="28"/>
                  <a:pt x="158" y="18"/>
                  <a:pt x="146" y="14"/>
                </a:cubicBezTo>
                <a:cubicBezTo>
                  <a:pt x="143" y="13"/>
                  <a:pt x="140" y="14"/>
                  <a:pt x="139" y="17"/>
                </a:cubicBezTo>
                <a:cubicBezTo>
                  <a:pt x="133" y="28"/>
                  <a:pt x="129" y="53"/>
                  <a:pt x="149" y="67"/>
                </a:cubicBezTo>
                <a:cubicBezTo>
                  <a:pt x="152" y="69"/>
                  <a:pt x="155" y="68"/>
                  <a:pt x="157" y="66"/>
                </a:cubicBezTo>
                <a:cubicBezTo>
                  <a:pt x="159" y="63"/>
                  <a:pt x="158" y="59"/>
                  <a:pt x="156" y="57"/>
                </a:cubicBezTo>
                <a:cubicBezTo>
                  <a:pt x="144" y="49"/>
                  <a:pt x="145" y="35"/>
                  <a:pt x="147" y="28"/>
                </a:cubicBezTo>
                <a:cubicBezTo>
                  <a:pt x="158" y="34"/>
                  <a:pt x="164" y="49"/>
                  <a:pt x="165" y="70"/>
                </a:cubicBezTo>
                <a:cubicBezTo>
                  <a:pt x="165" y="71"/>
                  <a:pt x="165" y="71"/>
                  <a:pt x="165" y="71"/>
                </a:cubicBezTo>
                <a:cubicBezTo>
                  <a:pt x="162" y="77"/>
                  <a:pt x="158" y="82"/>
                  <a:pt x="147" y="86"/>
                </a:cubicBezTo>
                <a:cubicBezTo>
                  <a:pt x="141" y="88"/>
                  <a:pt x="135" y="89"/>
                  <a:pt x="130" y="90"/>
                </a:cubicBezTo>
                <a:cubicBezTo>
                  <a:pt x="127" y="91"/>
                  <a:pt x="125" y="91"/>
                  <a:pt x="123" y="92"/>
                </a:cubicBezTo>
                <a:cubicBezTo>
                  <a:pt x="120" y="92"/>
                  <a:pt x="118" y="94"/>
                  <a:pt x="117" y="96"/>
                </a:cubicBezTo>
                <a:cubicBezTo>
                  <a:pt x="118" y="93"/>
                  <a:pt x="119" y="91"/>
                  <a:pt x="119" y="88"/>
                </a:cubicBezTo>
                <a:cubicBezTo>
                  <a:pt x="120" y="86"/>
                  <a:pt x="119" y="83"/>
                  <a:pt x="117" y="82"/>
                </a:cubicBezTo>
                <a:cubicBezTo>
                  <a:pt x="116" y="81"/>
                  <a:pt x="103" y="72"/>
                  <a:pt x="86" y="76"/>
                </a:cubicBezTo>
                <a:cubicBezTo>
                  <a:pt x="90" y="56"/>
                  <a:pt x="83" y="42"/>
                  <a:pt x="83" y="41"/>
                </a:cubicBezTo>
                <a:cubicBezTo>
                  <a:pt x="82" y="39"/>
                  <a:pt x="79" y="38"/>
                  <a:pt x="76" y="38"/>
                </a:cubicBezTo>
                <a:cubicBezTo>
                  <a:pt x="64" y="41"/>
                  <a:pt x="55" y="53"/>
                  <a:pt x="55" y="53"/>
                </a:cubicBezTo>
                <a:cubicBezTo>
                  <a:pt x="53" y="56"/>
                  <a:pt x="53" y="59"/>
                  <a:pt x="56" y="61"/>
                </a:cubicBezTo>
                <a:cubicBezTo>
                  <a:pt x="58" y="63"/>
                  <a:pt x="62" y="63"/>
                  <a:pt x="64" y="60"/>
                </a:cubicBezTo>
                <a:cubicBezTo>
                  <a:pt x="64" y="60"/>
                  <a:pt x="68" y="55"/>
                  <a:pt x="74" y="52"/>
                </a:cubicBezTo>
                <a:cubicBezTo>
                  <a:pt x="76" y="60"/>
                  <a:pt x="78" y="77"/>
                  <a:pt x="63" y="94"/>
                </a:cubicBezTo>
                <a:cubicBezTo>
                  <a:pt x="58" y="66"/>
                  <a:pt x="45" y="55"/>
                  <a:pt x="33" y="51"/>
                </a:cubicBezTo>
                <a:cubicBezTo>
                  <a:pt x="30" y="50"/>
                  <a:pt x="27" y="52"/>
                  <a:pt x="25" y="55"/>
                </a:cubicBezTo>
                <a:cubicBezTo>
                  <a:pt x="20" y="66"/>
                  <a:pt x="15" y="91"/>
                  <a:pt x="36" y="105"/>
                </a:cubicBezTo>
                <a:cubicBezTo>
                  <a:pt x="38" y="107"/>
                  <a:pt x="42" y="106"/>
                  <a:pt x="44" y="104"/>
                </a:cubicBezTo>
                <a:cubicBezTo>
                  <a:pt x="46" y="101"/>
                  <a:pt x="45" y="97"/>
                  <a:pt x="42" y="95"/>
                </a:cubicBezTo>
                <a:cubicBezTo>
                  <a:pt x="31" y="87"/>
                  <a:pt x="32" y="73"/>
                  <a:pt x="34" y="65"/>
                </a:cubicBezTo>
                <a:cubicBezTo>
                  <a:pt x="45" y="72"/>
                  <a:pt x="51" y="86"/>
                  <a:pt x="52" y="108"/>
                </a:cubicBezTo>
                <a:cubicBezTo>
                  <a:pt x="52" y="108"/>
                  <a:pt x="52" y="108"/>
                  <a:pt x="52" y="108"/>
                </a:cubicBezTo>
                <a:cubicBezTo>
                  <a:pt x="48" y="114"/>
                  <a:pt x="45" y="120"/>
                  <a:pt x="34" y="123"/>
                </a:cubicBezTo>
                <a:cubicBezTo>
                  <a:pt x="28" y="125"/>
                  <a:pt x="21" y="127"/>
                  <a:pt x="17" y="128"/>
                </a:cubicBezTo>
                <a:cubicBezTo>
                  <a:pt x="14" y="128"/>
                  <a:pt x="11" y="129"/>
                  <a:pt x="10" y="129"/>
                </a:cubicBezTo>
                <a:cubicBezTo>
                  <a:pt x="4" y="131"/>
                  <a:pt x="0" y="137"/>
                  <a:pt x="0" y="143"/>
                </a:cubicBezTo>
                <a:cubicBezTo>
                  <a:pt x="0" y="150"/>
                  <a:pt x="5" y="155"/>
                  <a:pt x="13" y="157"/>
                </a:cubicBezTo>
                <a:cubicBezTo>
                  <a:pt x="13" y="157"/>
                  <a:pt x="14" y="157"/>
                  <a:pt x="14" y="157"/>
                </a:cubicBezTo>
                <a:cubicBezTo>
                  <a:pt x="14" y="157"/>
                  <a:pt x="17" y="158"/>
                  <a:pt x="21" y="158"/>
                </a:cubicBezTo>
                <a:cubicBezTo>
                  <a:pt x="28" y="158"/>
                  <a:pt x="38" y="157"/>
                  <a:pt x="48" y="151"/>
                </a:cubicBezTo>
                <a:cubicBezTo>
                  <a:pt x="47" y="157"/>
                  <a:pt x="46" y="161"/>
                  <a:pt x="46" y="162"/>
                </a:cubicBezTo>
                <a:cubicBezTo>
                  <a:pt x="46" y="162"/>
                  <a:pt x="46" y="163"/>
                  <a:pt x="46" y="164"/>
                </a:cubicBezTo>
                <a:cubicBezTo>
                  <a:pt x="46" y="167"/>
                  <a:pt x="48" y="170"/>
                  <a:pt x="52" y="170"/>
                </a:cubicBezTo>
                <a:cubicBezTo>
                  <a:pt x="55" y="170"/>
                  <a:pt x="57" y="168"/>
                  <a:pt x="58" y="165"/>
                </a:cubicBezTo>
                <a:cubicBezTo>
                  <a:pt x="58" y="164"/>
                  <a:pt x="59" y="160"/>
                  <a:pt x="60" y="155"/>
                </a:cubicBezTo>
                <a:cubicBezTo>
                  <a:pt x="71" y="170"/>
                  <a:pt x="87" y="172"/>
                  <a:pt x="88" y="172"/>
                </a:cubicBezTo>
                <a:cubicBezTo>
                  <a:pt x="89" y="172"/>
                  <a:pt x="90" y="172"/>
                  <a:pt x="91" y="172"/>
                </a:cubicBezTo>
                <a:cubicBezTo>
                  <a:pt x="98" y="172"/>
                  <a:pt x="104" y="169"/>
                  <a:pt x="106" y="164"/>
                </a:cubicBezTo>
                <a:cubicBezTo>
                  <a:pt x="107" y="162"/>
                  <a:pt x="107" y="160"/>
                  <a:pt x="107" y="158"/>
                </a:cubicBezTo>
                <a:cubicBezTo>
                  <a:pt x="109" y="158"/>
                  <a:pt x="111" y="157"/>
                  <a:pt x="111" y="157"/>
                </a:cubicBezTo>
                <a:cubicBezTo>
                  <a:pt x="111" y="157"/>
                  <a:pt x="111" y="157"/>
                  <a:pt x="111" y="157"/>
                </a:cubicBezTo>
                <a:cubicBezTo>
                  <a:pt x="120" y="155"/>
                  <a:pt x="125" y="150"/>
                  <a:pt x="125" y="143"/>
                </a:cubicBezTo>
                <a:cubicBezTo>
                  <a:pt x="125" y="137"/>
                  <a:pt x="121" y="131"/>
                  <a:pt x="115" y="129"/>
                </a:cubicBezTo>
                <a:cubicBezTo>
                  <a:pt x="113" y="129"/>
                  <a:pt x="111" y="128"/>
                  <a:pt x="109" y="128"/>
                </a:cubicBezTo>
                <a:cubicBezTo>
                  <a:pt x="99" y="126"/>
                  <a:pt x="83" y="122"/>
                  <a:pt x="75" y="114"/>
                </a:cubicBezTo>
                <a:cubicBezTo>
                  <a:pt x="77" y="114"/>
                  <a:pt x="80" y="115"/>
                  <a:pt x="82" y="115"/>
                </a:cubicBezTo>
                <a:cubicBezTo>
                  <a:pt x="89" y="115"/>
                  <a:pt x="96" y="113"/>
                  <a:pt x="103" y="110"/>
                </a:cubicBezTo>
                <a:cubicBezTo>
                  <a:pt x="107" y="107"/>
                  <a:pt x="111" y="104"/>
                  <a:pt x="114" y="101"/>
                </a:cubicBezTo>
                <a:cubicBezTo>
                  <a:pt x="113" y="102"/>
                  <a:pt x="113" y="104"/>
                  <a:pt x="113" y="105"/>
                </a:cubicBezTo>
                <a:cubicBezTo>
                  <a:pt x="113" y="112"/>
                  <a:pt x="118" y="117"/>
                  <a:pt x="126" y="119"/>
                </a:cubicBezTo>
                <a:cubicBezTo>
                  <a:pt x="127" y="120"/>
                  <a:pt x="127" y="120"/>
                  <a:pt x="127" y="120"/>
                </a:cubicBezTo>
                <a:cubicBezTo>
                  <a:pt x="127" y="120"/>
                  <a:pt x="130" y="120"/>
                  <a:pt x="134" y="120"/>
                </a:cubicBezTo>
                <a:cubicBezTo>
                  <a:pt x="141" y="120"/>
                  <a:pt x="151" y="119"/>
                  <a:pt x="162" y="113"/>
                </a:cubicBezTo>
                <a:cubicBezTo>
                  <a:pt x="160" y="119"/>
                  <a:pt x="159" y="124"/>
                  <a:pt x="159" y="124"/>
                </a:cubicBezTo>
                <a:cubicBezTo>
                  <a:pt x="159" y="125"/>
                  <a:pt x="159" y="125"/>
                  <a:pt x="159" y="126"/>
                </a:cubicBezTo>
                <a:close/>
                <a:moveTo>
                  <a:pt x="219" y="102"/>
                </a:moveTo>
                <a:cubicBezTo>
                  <a:pt x="221" y="102"/>
                  <a:pt x="223" y="103"/>
                  <a:pt x="224" y="103"/>
                </a:cubicBezTo>
                <a:cubicBezTo>
                  <a:pt x="226" y="103"/>
                  <a:pt x="226" y="104"/>
                  <a:pt x="226" y="105"/>
                </a:cubicBezTo>
                <a:cubicBezTo>
                  <a:pt x="226" y="106"/>
                  <a:pt x="225" y="107"/>
                  <a:pt x="222" y="108"/>
                </a:cubicBezTo>
                <a:cubicBezTo>
                  <a:pt x="221" y="108"/>
                  <a:pt x="218" y="108"/>
                  <a:pt x="215" y="108"/>
                </a:cubicBezTo>
                <a:cubicBezTo>
                  <a:pt x="214" y="108"/>
                  <a:pt x="214" y="108"/>
                  <a:pt x="213" y="109"/>
                </a:cubicBezTo>
                <a:cubicBezTo>
                  <a:pt x="212" y="108"/>
                  <a:pt x="211" y="107"/>
                  <a:pt x="210" y="106"/>
                </a:cubicBezTo>
                <a:cubicBezTo>
                  <a:pt x="207" y="103"/>
                  <a:pt x="202" y="100"/>
                  <a:pt x="198" y="96"/>
                </a:cubicBezTo>
                <a:cubicBezTo>
                  <a:pt x="206" y="99"/>
                  <a:pt x="214" y="101"/>
                  <a:pt x="219" y="102"/>
                </a:cubicBezTo>
                <a:close/>
                <a:moveTo>
                  <a:pt x="193" y="54"/>
                </a:moveTo>
                <a:cubicBezTo>
                  <a:pt x="204" y="46"/>
                  <a:pt x="214" y="49"/>
                  <a:pt x="219" y="52"/>
                </a:cubicBezTo>
                <a:cubicBezTo>
                  <a:pt x="217" y="56"/>
                  <a:pt x="215" y="59"/>
                  <a:pt x="211" y="61"/>
                </a:cubicBezTo>
                <a:cubicBezTo>
                  <a:pt x="202" y="66"/>
                  <a:pt x="191" y="65"/>
                  <a:pt x="185" y="64"/>
                </a:cubicBezTo>
                <a:cubicBezTo>
                  <a:pt x="188" y="60"/>
                  <a:pt x="191" y="57"/>
                  <a:pt x="193" y="54"/>
                </a:cubicBezTo>
                <a:close/>
                <a:moveTo>
                  <a:pt x="174" y="82"/>
                </a:moveTo>
                <a:cubicBezTo>
                  <a:pt x="177" y="88"/>
                  <a:pt x="180" y="94"/>
                  <a:pt x="186" y="101"/>
                </a:cubicBezTo>
                <a:cubicBezTo>
                  <a:pt x="191" y="106"/>
                  <a:pt x="198" y="112"/>
                  <a:pt x="203" y="116"/>
                </a:cubicBezTo>
                <a:cubicBezTo>
                  <a:pt x="204" y="117"/>
                  <a:pt x="206" y="118"/>
                  <a:pt x="207" y="119"/>
                </a:cubicBezTo>
                <a:cubicBezTo>
                  <a:pt x="207" y="119"/>
                  <a:pt x="207" y="119"/>
                  <a:pt x="207" y="119"/>
                </a:cubicBezTo>
                <a:cubicBezTo>
                  <a:pt x="208" y="120"/>
                  <a:pt x="208" y="121"/>
                  <a:pt x="208" y="121"/>
                </a:cubicBezTo>
                <a:cubicBezTo>
                  <a:pt x="208" y="122"/>
                  <a:pt x="206" y="123"/>
                  <a:pt x="203" y="123"/>
                </a:cubicBezTo>
                <a:cubicBezTo>
                  <a:pt x="202" y="123"/>
                  <a:pt x="185" y="120"/>
                  <a:pt x="177" y="100"/>
                </a:cubicBezTo>
                <a:cubicBezTo>
                  <a:pt x="174" y="93"/>
                  <a:pt x="174" y="87"/>
                  <a:pt x="174" y="82"/>
                </a:cubicBezTo>
                <a:close/>
                <a:moveTo>
                  <a:pt x="16" y="146"/>
                </a:moveTo>
                <a:cubicBezTo>
                  <a:pt x="13" y="145"/>
                  <a:pt x="12" y="143"/>
                  <a:pt x="12" y="143"/>
                </a:cubicBezTo>
                <a:cubicBezTo>
                  <a:pt x="12" y="142"/>
                  <a:pt x="12" y="141"/>
                  <a:pt x="13" y="141"/>
                </a:cubicBezTo>
                <a:cubicBezTo>
                  <a:pt x="15" y="140"/>
                  <a:pt x="17" y="140"/>
                  <a:pt x="19" y="139"/>
                </a:cubicBezTo>
                <a:cubicBezTo>
                  <a:pt x="24" y="138"/>
                  <a:pt x="31" y="137"/>
                  <a:pt x="38" y="135"/>
                </a:cubicBezTo>
                <a:cubicBezTo>
                  <a:pt x="42" y="133"/>
                  <a:pt x="46" y="132"/>
                  <a:pt x="49" y="129"/>
                </a:cubicBezTo>
                <a:cubicBezTo>
                  <a:pt x="49" y="131"/>
                  <a:pt x="50" y="133"/>
                  <a:pt x="50" y="135"/>
                </a:cubicBezTo>
                <a:cubicBezTo>
                  <a:pt x="36" y="148"/>
                  <a:pt x="18" y="146"/>
                  <a:pt x="16" y="146"/>
                </a:cubicBezTo>
                <a:close/>
                <a:moveTo>
                  <a:pt x="106" y="140"/>
                </a:moveTo>
                <a:cubicBezTo>
                  <a:pt x="108" y="140"/>
                  <a:pt x="110" y="141"/>
                  <a:pt x="111" y="141"/>
                </a:cubicBezTo>
                <a:cubicBezTo>
                  <a:pt x="112" y="141"/>
                  <a:pt x="113" y="142"/>
                  <a:pt x="113" y="143"/>
                </a:cubicBezTo>
                <a:cubicBezTo>
                  <a:pt x="113" y="143"/>
                  <a:pt x="112" y="145"/>
                  <a:pt x="108" y="146"/>
                </a:cubicBezTo>
                <a:cubicBezTo>
                  <a:pt x="108" y="146"/>
                  <a:pt x="105" y="146"/>
                  <a:pt x="102" y="146"/>
                </a:cubicBezTo>
                <a:cubicBezTo>
                  <a:pt x="101" y="146"/>
                  <a:pt x="100" y="146"/>
                  <a:pt x="100" y="146"/>
                </a:cubicBezTo>
                <a:cubicBezTo>
                  <a:pt x="99" y="146"/>
                  <a:pt x="98" y="145"/>
                  <a:pt x="97" y="144"/>
                </a:cubicBezTo>
                <a:cubicBezTo>
                  <a:pt x="94" y="141"/>
                  <a:pt x="89" y="138"/>
                  <a:pt x="85" y="134"/>
                </a:cubicBezTo>
                <a:cubicBezTo>
                  <a:pt x="93" y="137"/>
                  <a:pt x="101" y="138"/>
                  <a:pt x="106" y="140"/>
                </a:cubicBezTo>
                <a:close/>
                <a:moveTo>
                  <a:pt x="90" y="154"/>
                </a:moveTo>
                <a:cubicBezTo>
                  <a:pt x="91" y="155"/>
                  <a:pt x="93" y="156"/>
                  <a:pt x="94" y="157"/>
                </a:cubicBezTo>
                <a:cubicBezTo>
                  <a:pt x="95" y="158"/>
                  <a:pt x="95" y="159"/>
                  <a:pt x="95" y="159"/>
                </a:cubicBezTo>
                <a:cubicBezTo>
                  <a:pt x="95" y="160"/>
                  <a:pt x="93" y="161"/>
                  <a:pt x="90" y="160"/>
                </a:cubicBezTo>
                <a:cubicBezTo>
                  <a:pt x="89" y="160"/>
                  <a:pt x="72" y="158"/>
                  <a:pt x="64" y="138"/>
                </a:cubicBezTo>
                <a:cubicBezTo>
                  <a:pt x="61" y="131"/>
                  <a:pt x="60" y="125"/>
                  <a:pt x="61" y="120"/>
                </a:cubicBezTo>
                <a:cubicBezTo>
                  <a:pt x="64" y="126"/>
                  <a:pt x="67" y="132"/>
                  <a:pt x="73" y="139"/>
                </a:cubicBezTo>
                <a:cubicBezTo>
                  <a:pt x="78" y="144"/>
                  <a:pt x="85" y="149"/>
                  <a:pt x="90" y="154"/>
                </a:cubicBezTo>
                <a:close/>
                <a:moveTo>
                  <a:pt x="97" y="99"/>
                </a:moveTo>
                <a:cubicBezTo>
                  <a:pt x="89" y="104"/>
                  <a:pt x="78" y="103"/>
                  <a:pt x="72" y="102"/>
                </a:cubicBezTo>
                <a:cubicBezTo>
                  <a:pt x="75" y="98"/>
                  <a:pt x="78" y="95"/>
                  <a:pt x="80" y="91"/>
                </a:cubicBezTo>
                <a:cubicBezTo>
                  <a:pt x="90" y="84"/>
                  <a:pt x="101" y="87"/>
                  <a:pt x="106" y="89"/>
                </a:cubicBezTo>
                <a:cubicBezTo>
                  <a:pt x="104" y="94"/>
                  <a:pt x="101" y="97"/>
                  <a:pt x="97" y="99"/>
                </a:cubicBezTo>
                <a:close/>
                <a:moveTo>
                  <a:pt x="129" y="108"/>
                </a:moveTo>
                <a:cubicBezTo>
                  <a:pt x="126" y="107"/>
                  <a:pt x="125" y="106"/>
                  <a:pt x="125" y="105"/>
                </a:cubicBezTo>
                <a:cubicBezTo>
                  <a:pt x="125" y="104"/>
                  <a:pt x="125" y="103"/>
                  <a:pt x="127" y="103"/>
                </a:cubicBezTo>
                <a:cubicBezTo>
                  <a:pt x="128" y="103"/>
                  <a:pt x="130" y="102"/>
                  <a:pt x="132" y="102"/>
                </a:cubicBezTo>
                <a:cubicBezTo>
                  <a:pt x="137" y="101"/>
                  <a:pt x="144" y="99"/>
                  <a:pt x="151" y="97"/>
                </a:cubicBezTo>
                <a:cubicBezTo>
                  <a:pt x="155" y="96"/>
                  <a:pt x="159" y="94"/>
                  <a:pt x="162" y="92"/>
                </a:cubicBezTo>
                <a:cubicBezTo>
                  <a:pt x="162" y="94"/>
                  <a:pt x="163" y="95"/>
                  <a:pt x="163" y="97"/>
                </a:cubicBezTo>
                <a:cubicBezTo>
                  <a:pt x="149" y="110"/>
                  <a:pt x="132" y="108"/>
                  <a:pt x="129"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9">
            <a:extLst>
              <a:ext uri="{FF2B5EF4-FFF2-40B4-BE49-F238E27FC236}">
                <a16:creationId xmlns:a16="http://schemas.microsoft.com/office/drawing/2014/main" id="{6ED58BB6-8791-43A5-AE59-D54B850DE9C4}"/>
              </a:ext>
            </a:extLst>
          </p:cNvPr>
          <p:cNvSpPr>
            <a:spLocks noEditPoints="1"/>
          </p:cNvSpPr>
          <p:nvPr/>
        </p:nvSpPr>
        <p:spPr bwMode="auto">
          <a:xfrm>
            <a:off x="9337720" y="3376657"/>
            <a:ext cx="748675" cy="547063"/>
          </a:xfrm>
          <a:custGeom>
            <a:avLst/>
            <a:gdLst>
              <a:gd name="T0" fmla="*/ 222 w 238"/>
              <a:gd name="T1" fmla="*/ 90 h 173"/>
              <a:gd name="T2" fmla="*/ 216 w 238"/>
              <a:gd name="T3" fmla="*/ 72 h 173"/>
              <a:gd name="T4" fmla="*/ 199 w 238"/>
              <a:gd name="T5" fmla="*/ 38 h 173"/>
              <a:gd name="T6" fmla="*/ 168 w 238"/>
              <a:gd name="T7" fmla="*/ 15 h 173"/>
              <a:gd name="T8" fmla="*/ 187 w 238"/>
              <a:gd name="T9" fmla="*/ 14 h 173"/>
              <a:gd name="T10" fmla="*/ 139 w 238"/>
              <a:gd name="T11" fmla="*/ 17 h 173"/>
              <a:gd name="T12" fmla="*/ 156 w 238"/>
              <a:gd name="T13" fmla="*/ 58 h 173"/>
              <a:gd name="T14" fmla="*/ 165 w 238"/>
              <a:gd name="T15" fmla="*/ 71 h 173"/>
              <a:gd name="T16" fmla="*/ 123 w 238"/>
              <a:gd name="T17" fmla="*/ 92 h 173"/>
              <a:gd name="T18" fmla="*/ 117 w 238"/>
              <a:gd name="T19" fmla="*/ 82 h 173"/>
              <a:gd name="T20" fmla="*/ 76 w 238"/>
              <a:gd name="T21" fmla="*/ 38 h 173"/>
              <a:gd name="T22" fmla="*/ 64 w 238"/>
              <a:gd name="T23" fmla="*/ 60 h 173"/>
              <a:gd name="T24" fmla="*/ 33 w 238"/>
              <a:gd name="T25" fmla="*/ 52 h 173"/>
              <a:gd name="T26" fmla="*/ 44 w 238"/>
              <a:gd name="T27" fmla="*/ 104 h 173"/>
              <a:gd name="T28" fmla="*/ 52 w 238"/>
              <a:gd name="T29" fmla="*/ 108 h 173"/>
              <a:gd name="T30" fmla="*/ 17 w 238"/>
              <a:gd name="T31" fmla="*/ 128 h 173"/>
              <a:gd name="T32" fmla="*/ 13 w 238"/>
              <a:gd name="T33" fmla="*/ 157 h 173"/>
              <a:gd name="T34" fmla="*/ 48 w 238"/>
              <a:gd name="T35" fmla="*/ 151 h 173"/>
              <a:gd name="T36" fmla="*/ 51 w 238"/>
              <a:gd name="T37" fmla="*/ 170 h 173"/>
              <a:gd name="T38" fmla="*/ 60 w 238"/>
              <a:gd name="T39" fmla="*/ 155 h 173"/>
              <a:gd name="T40" fmla="*/ 106 w 238"/>
              <a:gd name="T41" fmla="*/ 164 h 173"/>
              <a:gd name="T42" fmla="*/ 111 w 238"/>
              <a:gd name="T43" fmla="*/ 157 h 173"/>
              <a:gd name="T44" fmla="*/ 109 w 238"/>
              <a:gd name="T45" fmla="*/ 128 h 173"/>
              <a:gd name="T46" fmla="*/ 103 w 238"/>
              <a:gd name="T47" fmla="*/ 110 h 173"/>
              <a:gd name="T48" fmla="*/ 126 w 238"/>
              <a:gd name="T49" fmla="*/ 120 h 173"/>
              <a:gd name="T50" fmla="*/ 162 w 238"/>
              <a:gd name="T51" fmla="*/ 113 h 173"/>
              <a:gd name="T52" fmla="*/ 164 w 238"/>
              <a:gd name="T53" fmla="*/ 132 h 173"/>
              <a:gd name="T54" fmla="*/ 173 w 238"/>
              <a:gd name="T55" fmla="*/ 118 h 173"/>
              <a:gd name="T56" fmla="*/ 219 w 238"/>
              <a:gd name="T57" fmla="*/ 126 h 173"/>
              <a:gd name="T58" fmla="*/ 225 w 238"/>
              <a:gd name="T59" fmla="*/ 120 h 173"/>
              <a:gd name="T60" fmla="*/ 12 w 238"/>
              <a:gd name="T61" fmla="*/ 143 h 173"/>
              <a:gd name="T62" fmla="*/ 38 w 238"/>
              <a:gd name="T63" fmla="*/ 135 h 173"/>
              <a:gd name="T64" fmla="*/ 16 w 238"/>
              <a:gd name="T65" fmla="*/ 146 h 173"/>
              <a:gd name="T66" fmla="*/ 113 w 238"/>
              <a:gd name="T67" fmla="*/ 143 h 173"/>
              <a:gd name="T68" fmla="*/ 100 w 238"/>
              <a:gd name="T69" fmla="*/ 146 h 173"/>
              <a:gd name="T70" fmla="*/ 106 w 238"/>
              <a:gd name="T71" fmla="*/ 140 h 173"/>
              <a:gd name="T72" fmla="*/ 95 w 238"/>
              <a:gd name="T73" fmla="*/ 159 h 173"/>
              <a:gd name="T74" fmla="*/ 61 w 238"/>
              <a:gd name="T75" fmla="*/ 120 h 173"/>
              <a:gd name="T76" fmla="*/ 97 w 238"/>
              <a:gd name="T77" fmla="*/ 99 h 173"/>
              <a:gd name="T78" fmla="*/ 106 w 238"/>
              <a:gd name="T79" fmla="*/ 89 h 173"/>
              <a:gd name="T80" fmla="*/ 125 w 238"/>
              <a:gd name="T81" fmla="*/ 105 h 173"/>
              <a:gd name="T82" fmla="*/ 151 w 238"/>
              <a:gd name="T83" fmla="*/ 97 h 173"/>
              <a:gd name="T84" fmla="*/ 129 w 238"/>
              <a:gd name="T85" fmla="*/ 108 h 173"/>
              <a:gd name="T86" fmla="*/ 211 w 238"/>
              <a:gd name="T87" fmla="*/ 62 h 173"/>
              <a:gd name="T88" fmla="*/ 208 w 238"/>
              <a:gd name="T89" fmla="*/ 122 h 173"/>
              <a:gd name="T90" fmla="*/ 174 w 238"/>
              <a:gd name="T91" fmla="*/ 82 h 173"/>
              <a:gd name="T92" fmla="*/ 207 w 238"/>
              <a:gd name="T93" fmla="*/ 119 h 173"/>
              <a:gd name="T94" fmla="*/ 215 w 238"/>
              <a:gd name="T95" fmla="*/ 108 h 173"/>
              <a:gd name="T96" fmla="*/ 198 w 238"/>
              <a:gd name="T97" fmla="*/ 96 h 173"/>
              <a:gd name="T98" fmla="*/ 226 w 238"/>
              <a:gd name="T99"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8" h="173">
                <a:moveTo>
                  <a:pt x="238" y="105"/>
                </a:moveTo>
                <a:cubicBezTo>
                  <a:pt x="238" y="99"/>
                  <a:pt x="234" y="94"/>
                  <a:pt x="228" y="92"/>
                </a:cubicBezTo>
                <a:cubicBezTo>
                  <a:pt x="227" y="91"/>
                  <a:pt x="224" y="91"/>
                  <a:pt x="222" y="90"/>
                </a:cubicBezTo>
                <a:cubicBezTo>
                  <a:pt x="213" y="88"/>
                  <a:pt x="197" y="85"/>
                  <a:pt x="188" y="76"/>
                </a:cubicBezTo>
                <a:cubicBezTo>
                  <a:pt x="190" y="77"/>
                  <a:pt x="193" y="77"/>
                  <a:pt x="196" y="77"/>
                </a:cubicBezTo>
                <a:cubicBezTo>
                  <a:pt x="202" y="77"/>
                  <a:pt x="210" y="76"/>
                  <a:pt x="216" y="72"/>
                </a:cubicBezTo>
                <a:cubicBezTo>
                  <a:pt x="224" y="68"/>
                  <a:pt x="230" y="60"/>
                  <a:pt x="233" y="51"/>
                </a:cubicBezTo>
                <a:cubicBezTo>
                  <a:pt x="233" y="48"/>
                  <a:pt x="232" y="46"/>
                  <a:pt x="230" y="44"/>
                </a:cubicBezTo>
                <a:cubicBezTo>
                  <a:pt x="230" y="44"/>
                  <a:pt x="216" y="34"/>
                  <a:pt x="199" y="38"/>
                </a:cubicBezTo>
                <a:cubicBezTo>
                  <a:pt x="203" y="19"/>
                  <a:pt x="196" y="4"/>
                  <a:pt x="196" y="4"/>
                </a:cubicBezTo>
                <a:cubicBezTo>
                  <a:pt x="195" y="1"/>
                  <a:pt x="192" y="0"/>
                  <a:pt x="189" y="1"/>
                </a:cubicBezTo>
                <a:cubicBezTo>
                  <a:pt x="177" y="3"/>
                  <a:pt x="168" y="15"/>
                  <a:pt x="168" y="15"/>
                </a:cubicBezTo>
                <a:cubicBezTo>
                  <a:pt x="166" y="18"/>
                  <a:pt x="166" y="22"/>
                  <a:pt x="169" y="24"/>
                </a:cubicBezTo>
                <a:cubicBezTo>
                  <a:pt x="172" y="26"/>
                  <a:pt x="175" y="25"/>
                  <a:pt x="177" y="23"/>
                </a:cubicBezTo>
                <a:cubicBezTo>
                  <a:pt x="177" y="23"/>
                  <a:pt x="181" y="17"/>
                  <a:pt x="187" y="14"/>
                </a:cubicBezTo>
                <a:cubicBezTo>
                  <a:pt x="189" y="22"/>
                  <a:pt x="191" y="39"/>
                  <a:pt x="176" y="56"/>
                </a:cubicBezTo>
                <a:cubicBezTo>
                  <a:pt x="172" y="29"/>
                  <a:pt x="158" y="18"/>
                  <a:pt x="146" y="14"/>
                </a:cubicBezTo>
                <a:cubicBezTo>
                  <a:pt x="143" y="13"/>
                  <a:pt x="140" y="14"/>
                  <a:pt x="139" y="17"/>
                </a:cubicBezTo>
                <a:cubicBezTo>
                  <a:pt x="133" y="28"/>
                  <a:pt x="129" y="54"/>
                  <a:pt x="149" y="67"/>
                </a:cubicBezTo>
                <a:cubicBezTo>
                  <a:pt x="152" y="69"/>
                  <a:pt x="155" y="69"/>
                  <a:pt x="157" y="66"/>
                </a:cubicBezTo>
                <a:cubicBezTo>
                  <a:pt x="159" y="63"/>
                  <a:pt x="158" y="59"/>
                  <a:pt x="156" y="58"/>
                </a:cubicBezTo>
                <a:cubicBezTo>
                  <a:pt x="144" y="49"/>
                  <a:pt x="145" y="35"/>
                  <a:pt x="147" y="28"/>
                </a:cubicBezTo>
                <a:cubicBezTo>
                  <a:pt x="158" y="34"/>
                  <a:pt x="164" y="49"/>
                  <a:pt x="165" y="71"/>
                </a:cubicBezTo>
                <a:cubicBezTo>
                  <a:pt x="165" y="71"/>
                  <a:pt x="165" y="71"/>
                  <a:pt x="165" y="71"/>
                </a:cubicBezTo>
                <a:cubicBezTo>
                  <a:pt x="162" y="77"/>
                  <a:pt x="158" y="82"/>
                  <a:pt x="147" y="86"/>
                </a:cubicBezTo>
                <a:cubicBezTo>
                  <a:pt x="141" y="88"/>
                  <a:pt x="135" y="89"/>
                  <a:pt x="130" y="90"/>
                </a:cubicBezTo>
                <a:cubicBezTo>
                  <a:pt x="127" y="91"/>
                  <a:pt x="125" y="91"/>
                  <a:pt x="123" y="92"/>
                </a:cubicBezTo>
                <a:cubicBezTo>
                  <a:pt x="120" y="93"/>
                  <a:pt x="118" y="94"/>
                  <a:pt x="117" y="96"/>
                </a:cubicBezTo>
                <a:cubicBezTo>
                  <a:pt x="118" y="93"/>
                  <a:pt x="119" y="91"/>
                  <a:pt x="119" y="88"/>
                </a:cubicBezTo>
                <a:cubicBezTo>
                  <a:pt x="120" y="86"/>
                  <a:pt x="119" y="83"/>
                  <a:pt x="117" y="82"/>
                </a:cubicBezTo>
                <a:cubicBezTo>
                  <a:pt x="116" y="81"/>
                  <a:pt x="103" y="72"/>
                  <a:pt x="86" y="76"/>
                </a:cubicBezTo>
                <a:cubicBezTo>
                  <a:pt x="90" y="57"/>
                  <a:pt x="83" y="42"/>
                  <a:pt x="83" y="42"/>
                </a:cubicBezTo>
                <a:cubicBezTo>
                  <a:pt x="82" y="39"/>
                  <a:pt x="79" y="38"/>
                  <a:pt x="76" y="38"/>
                </a:cubicBezTo>
                <a:cubicBezTo>
                  <a:pt x="64" y="41"/>
                  <a:pt x="55" y="53"/>
                  <a:pt x="55" y="53"/>
                </a:cubicBezTo>
                <a:cubicBezTo>
                  <a:pt x="53" y="56"/>
                  <a:pt x="53" y="60"/>
                  <a:pt x="56" y="62"/>
                </a:cubicBezTo>
                <a:cubicBezTo>
                  <a:pt x="58" y="64"/>
                  <a:pt x="62" y="63"/>
                  <a:pt x="64" y="60"/>
                </a:cubicBezTo>
                <a:cubicBezTo>
                  <a:pt x="64" y="60"/>
                  <a:pt x="68" y="55"/>
                  <a:pt x="74" y="52"/>
                </a:cubicBezTo>
                <a:cubicBezTo>
                  <a:pt x="76" y="60"/>
                  <a:pt x="78" y="77"/>
                  <a:pt x="63" y="94"/>
                </a:cubicBezTo>
                <a:cubicBezTo>
                  <a:pt x="58" y="66"/>
                  <a:pt x="45" y="55"/>
                  <a:pt x="33" y="52"/>
                </a:cubicBezTo>
                <a:cubicBezTo>
                  <a:pt x="30" y="51"/>
                  <a:pt x="27" y="52"/>
                  <a:pt x="25" y="55"/>
                </a:cubicBezTo>
                <a:cubicBezTo>
                  <a:pt x="20" y="66"/>
                  <a:pt x="15" y="91"/>
                  <a:pt x="36" y="105"/>
                </a:cubicBezTo>
                <a:cubicBezTo>
                  <a:pt x="38" y="107"/>
                  <a:pt x="42" y="106"/>
                  <a:pt x="44" y="104"/>
                </a:cubicBezTo>
                <a:cubicBezTo>
                  <a:pt x="46" y="101"/>
                  <a:pt x="45" y="97"/>
                  <a:pt x="42" y="95"/>
                </a:cubicBezTo>
                <a:cubicBezTo>
                  <a:pt x="31" y="87"/>
                  <a:pt x="32" y="73"/>
                  <a:pt x="34" y="65"/>
                </a:cubicBezTo>
                <a:cubicBezTo>
                  <a:pt x="45" y="72"/>
                  <a:pt x="51" y="86"/>
                  <a:pt x="52" y="108"/>
                </a:cubicBezTo>
                <a:cubicBezTo>
                  <a:pt x="52" y="108"/>
                  <a:pt x="52" y="108"/>
                  <a:pt x="52" y="109"/>
                </a:cubicBezTo>
                <a:cubicBezTo>
                  <a:pt x="48" y="114"/>
                  <a:pt x="45" y="120"/>
                  <a:pt x="34" y="124"/>
                </a:cubicBezTo>
                <a:cubicBezTo>
                  <a:pt x="28" y="126"/>
                  <a:pt x="21" y="127"/>
                  <a:pt x="17" y="128"/>
                </a:cubicBezTo>
                <a:cubicBezTo>
                  <a:pt x="14" y="128"/>
                  <a:pt x="11" y="129"/>
                  <a:pt x="10" y="130"/>
                </a:cubicBezTo>
                <a:cubicBezTo>
                  <a:pt x="4" y="132"/>
                  <a:pt x="0" y="137"/>
                  <a:pt x="0" y="143"/>
                </a:cubicBezTo>
                <a:cubicBezTo>
                  <a:pt x="0" y="150"/>
                  <a:pt x="5" y="155"/>
                  <a:pt x="13" y="157"/>
                </a:cubicBezTo>
                <a:cubicBezTo>
                  <a:pt x="13" y="157"/>
                  <a:pt x="14" y="157"/>
                  <a:pt x="14" y="157"/>
                </a:cubicBezTo>
                <a:cubicBezTo>
                  <a:pt x="14" y="157"/>
                  <a:pt x="17" y="158"/>
                  <a:pt x="21" y="158"/>
                </a:cubicBezTo>
                <a:cubicBezTo>
                  <a:pt x="28" y="158"/>
                  <a:pt x="38" y="157"/>
                  <a:pt x="48" y="151"/>
                </a:cubicBezTo>
                <a:cubicBezTo>
                  <a:pt x="47" y="157"/>
                  <a:pt x="46" y="161"/>
                  <a:pt x="46" y="162"/>
                </a:cubicBezTo>
                <a:cubicBezTo>
                  <a:pt x="46" y="163"/>
                  <a:pt x="46" y="163"/>
                  <a:pt x="46" y="164"/>
                </a:cubicBezTo>
                <a:cubicBezTo>
                  <a:pt x="46" y="167"/>
                  <a:pt x="48" y="169"/>
                  <a:pt x="51" y="170"/>
                </a:cubicBezTo>
                <a:cubicBezTo>
                  <a:pt x="51" y="170"/>
                  <a:pt x="52" y="170"/>
                  <a:pt x="52" y="170"/>
                </a:cubicBezTo>
                <a:cubicBezTo>
                  <a:pt x="54" y="170"/>
                  <a:pt x="57" y="168"/>
                  <a:pt x="58" y="165"/>
                </a:cubicBezTo>
                <a:cubicBezTo>
                  <a:pt x="58" y="165"/>
                  <a:pt x="59" y="161"/>
                  <a:pt x="60" y="155"/>
                </a:cubicBezTo>
                <a:cubicBezTo>
                  <a:pt x="71" y="170"/>
                  <a:pt x="87" y="172"/>
                  <a:pt x="88" y="172"/>
                </a:cubicBezTo>
                <a:cubicBezTo>
                  <a:pt x="89" y="172"/>
                  <a:pt x="90" y="173"/>
                  <a:pt x="91" y="173"/>
                </a:cubicBezTo>
                <a:cubicBezTo>
                  <a:pt x="98" y="173"/>
                  <a:pt x="104" y="169"/>
                  <a:pt x="106" y="164"/>
                </a:cubicBezTo>
                <a:cubicBezTo>
                  <a:pt x="107" y="162"/>
                  <a:pt x="107" y="160"/>
                  <a:pt x="107" y="158"/>
                </a:cubicBezTo>
                <a:cubicBezTo>
                  <a:pt x="109" y="158"/>
                  <a:pt x="110" y="158"/>
                  <a:pt x="111" y="157"/>
                </a:cubicBezTo>
                <a:cubicBezTo>
                  <a:pt x="111" y="157"/>
                  <a:pt x="111" y="157"/>
                  <a:pt x="111" y="157"/>
                </a:cubicBezTo>
                <a:cubicBezTo>
                  <a:pt x="120" y="155"/>
                  <a:pt x="125" y="150"/>
                  <a:pt x="125" y="143"/>
                </a:cubicBezTo>
                <a:cubicBezTo>
                  <a:pt x="125" y="137"/>
                  <a:pt x="121" y="132"/>
                  <a:pt x="115" y="130"/>
                </a:cubicBezTo>
                <a:cubicBezTo>
                  <a:pt x="113" y="129"/>
                  <a:pt x="111" y="129"/>
                  <a:pt x="109" y="128"/>
                </a:cubicBezTo>
                <a:cubicBezTo>
                  <a:pt x="99" y="126"/>
                  <a:pt x="83" y="123"/>
                  <a:pt x="75" y="114"/>
                </a:cubicBezTo>
                <a:cubicBezTo>
                  <a:pt x="77" y="114"/>
                  <a:pt x="80" y="115"/>
                  <a:pt x="82" y="115"/>
                </a:cubicBezTo>
                <a:cubicBezTo>
                  <a:pt x="89" y="115"/>
                  <a:pt x="96" y="114"/>
                  <a:pt x="103" y="110"/>
                </a:cubicBezTo>
                <a:cubicBezTo>
                  <a:pt x="107" y="108"/>
                  <a:pt x="111" y="105"/>
                  <a:pt x="114" y="101"/>
                </a:cubicBezTo>
                <a:cubicBezTo>
                  <a:pt x="113" y="102"/>
                  <a:pt x="113" y="104"/>
                  <a:pt x="113" y="105"/>
                </a:cubicBezTo>
                <a:cubicBezTo>
                  <a:pt x="113" y="112"/>
                  <a:pt x="118" y="117"/>
                  <a:pt x="126" y="120"/>
                </a:cubicBezTo>
                <a:cubicBezTo>
                  <a:pt x="127" y="120"/>
                  <a:pt x="127" y="120"/>
                  <a:pt x="127" y="120"/>
                </a:cubicBezTo>
                <a:cubicBezTo>
                  <a:pt x="127" y="120"/>
                  <a:pt x="130" y="120"/>
                  <a:pt x="134" y="120"/>
                </a:cubicBezTo>
                <a:cubicBezTo>
                  <a:pt x="141" y="120"/>
                  <a:pt x="151" y="119"/>
                  <a:pt x="162" y="113"/>
                </a:cubicBezTo>
                <a:cubicBezTo>
                  <a:pt x="160" y="120"/>
                  <a:pt x="159" y="124"/>
                  <a:pt x="159" y="124"/>
                </a:cubicBezTo>
                <a:cubicBezTo>
                  <a:pt x="159" y="125"/>
                  <a:pt x="159" y="125"/>
                  <a:pt x="159" y="126"/>
                </a:cubicBezTo>
                <a:cubicBezTo>
                  <a:pt x="159" y="129"/>
                  <a:pt x="161" y="131"/>
                  <a:pt x="164" y="132"/>
                </a:cubicBezTo>
                <a:cubicBezTo>
                  <a:pt x="164" y="132"/>
                  <a:pt x="165" y="132"/>
                  <a:pt x="165" y="132"/>
                </a:cubicBezTo>
                <a:cubicBezTo>
                  <a:pt x="168" y="132"/>
                  <a:pt x="170" y="130"/>
                  <a:pt x="171" y="127"/>
                </a:cubicBezTo>
                <a:cubicBezTo>
                  <a:pt x="171" y="127"/>
                  <a:pt x="172" y="123"/>
                  <a:pt x="173" y="118"/>
                </a:cubicBezTo>
                <a:cubicBezTo>
                  <a:pt x="185" y="132"/>
                  <a:pt x="200" y="134"/>
                  <a:pt x="201" y="135"/>
                </a:cubicBezTo>
                <a:cubicBezTo>
                  <a:pt x="202" y="135"/>
                  <a:pt x="203" y="135"/>
                  <a:pt x="204" y="135"/>
                </a:cubicBezTo>
                <a:cubicBezTo>
                  <a:pt x="211" y="135"/>
                  <a:pt x="217" y="132"/>
                  <a:pt x="219" y="126"/>
                </a:cubicBezTo>
                <a:cubicBezTo>
                  <a:pt x="220" y="124"/>
                  <a:pt x="220" y="122"/>
                  <a:pt x="220" y="120"/>
                </a:cubicBezTo>
                <a:cubicBezTo>
                  <a:pt x="222" y="120"/>
                  <a:pt x="223" y="120"/>
                  <a:pt x="224" y="120"/>
                </a:cubicBezTo>
                <a:cubicBezTo>
                  <a:pt x="224" y="120"/>
                  <a:pt x="224" y="120"/>
                  <a:pt x="225" y="120"/>
                </a:cubicBezTo>
                <a:cubicBezTo>
                  <a:pt x="233" y="117"/>
                  <a:pt x="238" y="112"/>
                  <a:pt x="238" y="105"/>
                </a:cubicBezTo>
                <a:close/>
                <a:moveTo>
                  <a:pt x="16" y="146"/>
                </a:moveTo>
                <a:cubicBezTo>
                  <a:pt x="13" y="145"/>
                  <a:pt x="12" y="143"/>
                  <a:pt x="12" y="143"/>
                </a:cubicBezTo>
                <a:cubicBezTo>
                  <a:pt x="12" y="142"/>
                  <a:pt x="12" y="141"/>
                  <a:pt x="13" y="141"/>
                </a:cubicBezTo>
                <a:cubicBezTo>
                  <a:pt x="15" y="141"/>
                  <a:pt x="17" y="140"/>
                  <a:pt x="19" y="140"/>
                </a:cubicBezTo>
                <a:cubicBezTo>
                  <a:pt x="24" y="139"/>
                  <a:pt x="31" y="137"/>
                  <a:pt x="38" y="135"/>
                </a:cubicBezTo>
                <a:cubicBezTo>
                  <a:pt x="42" y="133"/>
                  <a:pt x="46" y="132"/>
                  <a:pt x="49" y="130"/>
                </a:cubicBezTo>
                <a:cubicBezTo>
                  <a:pt x="49" y="131"/>
                  <a:pt x="50" y="133"/>
                  <a:pt x="50" y="135"/>
                </a:cubicBezTo>
                <a:cubicBezTo>
                  <a:pt x="36" y="148"/>
                  <a:pt x="18" y="146"/>
                  <a:pt x="16" y="146"/>
                </a:cubicBezTo>
                <a:close/>
                <a:moveTo>
                  <a:pt x="106" y="140"/>
                </a:moveTo>
                <a:cubicBezTo>
                  <a:pt x="108" y="140"/>
                  <a:pt x="110" y="141"/>
                  <a:pt x="111" y="141"/>
                </a:cubicBezTo>
                <a:cubicBezTo>
                  <a:pt x="112" y="141"/>
                  <a:pt x="113" y="142"/>
                  <a:pt x="113" y="143"/>
                </a:cubicBezTo>
                <a:cubicBezTo>
                  <a:pt x="113" y="143"/>
                  <a:pt x="112" y="145"/>
                  <a:pt x="108" y="146"/>
                </a:cubicBezTo>
                <a:cubicBezTo>
                  <a:pt x="108" y="146"/>
                  <a:pt x="105" y="146"/>
                  <a:pt x="102" y="146"/>
                </a:cubicBezTo>
                <a:cubicBezTo>
                  <a:pt x="101" y="146"/>
                  <a:pt x="101" y="146"/>
                  <a:pt x="100" y="146"/>
                </a:cubicBezTo>
                <a:cubicBezTo>
                  <a:pt x="99" y="146"/>
                  <a:pt x="98" y="145"/>
                  <a:pt x="97" y="144"/>
                </a:cubicBezTo>
                <a:cubicBezTo>
                  <a:pt x="94" y="141"/>
                  <a:pt x="89" y="138"/>
                  <a:pt x="85" y="134"/>
                </a:cubicBezTo>
                <a:cubicBezTo>
                  <a:pt x="93" y="137"/>
                  <a:pt x="101" y="139"/>
                  <a:pt x="106" y="140"/>
                </a:cubicBezTo>
                <a:close/>
                <a:moveTo>
                  <a:pt x="90" y="154"/>
                </a:moveTo>
                <a:cubicBezTo>
                  <a:pt x="91" y="155"/>
                  <a:pt x="93" y="156"/>
                  <a:pt x="94" y="157"/>
                </a:cubicBezTo>
                <a:cubicBezTo>
                  <a:pt x="95" y="158"/>
                  <a:pt x="95" y="159"/>
                  <a:pt x="95" y="159"/>
                </a:cubicBezTo>
                <a:cubicBezTo>
                  <a:pt x="95" y="160"/>
                  <a:pt x="93" y="161"/>
                  <a:pt x="90" y="160"/>
                </a:cubicBezTo>
                <a:cubicBezTo>
                  <a:pt x="89" y="160"/>
                  <a:pt x="72" y="158"/>
                  <a:pt x="64" y="138"/>
                </a:cubicBezTo>
                <a:cubicBezTo>
                  <a:pt x="61" y="131"/>
                  <a:pt x="60" y="125"/>
                  <a:pt x="61" y="120"/>
                </a:cubicBezTo>
                <a:cubicBezTo>
                  <a:pt x="64" y="126"/>
                  <a:pt x="67" y="132"/>
                  <a:pt x="73" y="139"/>
                </a:cubicBezTo>
                <a:cubicBezTo>
                  <a:pt x="78" y="144"/>
                  <a:pt x="85" y="149"/>
                  <a:pt x="90" y="154"/>
                </a:cubicBezTo>
                <a:close/>
                <a:moveTo>
                  <a:pt x="97" y="99"/>
                </a:moveTo>
                <a:cubicBezTo>
                  <a:pt x="89" y="104"/>
                  <a:pt x="78" y="103"/>
                  <a:pt x="72" y="102"/>
                </a:cubicBezTo>
                <a:cubicBezTo>
                  <a:pt x="75" y="98"/>
                  <a:pt x="78" y="95"/>
                  <a:pt x="80" y="91"/>
                </a:cubicBezTo>
                <a:cubicBezTo>
                  <a:pt x="90" y="84"/>
                  <a:pt x="101" y="87"/>
                  <a:pt x="106" y="89"/>
                </a:cubicBezTo>
                <a:cubicBezTo>
                  <a:pt x="104" y="94"/>
                  <a:pt x="101" y="97"/>
                  <a:pt x="97" y="99"/>
                </a:cubicBezTo>
                <a:close/>
                <a:moveTo>
                  <a:pt x="129" y="108"/>
                </a:moveTo>
                <a:cubicBezTo>
                  <a:pt x="126" y="107"/>
                  <a:pt x="125" y="106"/>
                  <a:pt x="125" y="105"/>
                </a:cubicBezTo>
                <a:cubicBezTo>
                  <a:pt x="125" y="104"/>
                  <a:pt x="125" y="104"/>
                  <a:pt x="127" y="103"/>
                </a:cubicBezTo>
                <a:cubicBezTo>
                  <a:pt x="128" y="103"/>
                  <a:pt x="130" y="102"/>
                  <a:pt x="132" y="102"/>
                </a:cubicBezTo>
                <a:cubicBezTo>
                  <a:pt x="137" y="101"/>
                  <a:pt x="144" y="99"/>
                  <a:pt x="151" y="97"/>
                </a:cubicBezTo>
                <a:cubicBezTo>
                  <a:pt x="155" y="96"/>
                  <a:pt x="159" y="94"/>
                  <a:pt x="162" y="92"/>
                </a:cubicBezTo>
                <a:cubicBezTo>
                  <a:pt x="162" y="94"/>
                  <a:pt x="163" y="95"/>
                  <a:pt x="163" y="97"/>
                </a:cubicBezTo>
                <a:cubicBezTo>
                  <a:pt x="149" y="110"/>
                  <a:pt x="132" y="108"/>
                  <a:pt x="129" y="108"/>
                </a:cubicBezTo>
                <a:close/>
                <a:moveTo>
                  <a:pt x="193" y="54"/>
                </a:moveTo>
                <a:cubicBezTo>
                  <a:pt x="204" y="46"/>
                  <a:pt x="214" y="49"/>
                  <a:pt x="219" y="52"/>
                </a:cubicBezTo>
                <a:cubicBezTo>
                  <a:pt x="217" y="56"/>
                  <a:pt x="215" y="59"/>
                  <a:pt x="211" y="62"/>
                </a:cubicBezTo>
                <a:cubicBezTo>
                  <a:pt x="202" y="66"/>
                  <a:pt x="191" y="65"/>
                  <a:pt x="185" y="64"/>
                </a:cubicBezTo>
                <a:cubicBezTo>
                  <a:pt x="188" y="60"/>
                  <a:pt x="191" y="57"/>
                  <a:pt x="193" y="54"/>
                </a:cubicBezTo>
                <a:close/>
                <a:moveTo>
                  <a:pt x="208" y="122"/>
                </a:moveTo>
                <a:cubicBezTo>
                  <a:pt x="208" y="122"/>
                  <a:pt x="206" y="123"/>
                  <a:pt x="203" y="123"/>
                </a:cubicBezTo>
                <a:cubicBezTo>
                  <a:pt x="202" y="123"/>
                  <a:pt x="185" y="120"/>
                  <a:pt x="177" y="100"/>
                </a:cubicBezTo>
                <a:cubicBezTo>
                  <a:pt x="174" y="93"/>
                  <a:pt x="174" y="87"/>
                  <a:pt x="174" y="82"/>
                </a:cubicBezTo>
                <a:cubicBezTo>
                  <a:pt x="177" y="88"/>
                  <a:pt x="180" y="95"/>
                  <a:pt x="186" y="101"/>
                </a:cubicBezTo>
                <a:cubicBezTo>
                  <a:pt x="191" y="106"/>
                  <a:pt x="198" y="112"/>
                  <a:pt x="203" y="116"/>
                </a:cubicBezTo>
                <a:cubicBezTo>
                  <a:pt x="204" y="117"/>
                  <a:pt x="206" y="118"/>
                  <a:pt x="207" y="119"/>
                </a:cubicBezTo>
                <a:cubicBezTo>
                  <a:pt x="208" y="120"/>
                  <a:pt x="208" y="121"/>
                  <a:pt x="208" y="122"/>
                </a:cubicBezTo>
                <a:close/>
                <a:moveTo>
                  <a:pt x="222" y="108"/>
                </a:moveTo>
                <a:cubicBezTo>
                  <a:pt x="221" y="108"/>
                  <a:pt x="218" y="109"/>
                  <a:pt x="215" y="108"/>
                </a:cubicBezTo>
                <a:cubicBezTo>
                  <a:pt x="214" y="108"/>
                  <a:pt x="214" y="109"/>
                  <a:pt x="213" y="109"/>
                </a:cubicBezTo>
                <a:cubicBezTo>
                  <a:pt x="212" y="108"/>
                  <a:pt x="211" y="107"/>
                  <a:pt x="210" y="107"/>
                </a:cubicBezTo>
                <a:cubicBezTo>
                  <a:pt x="207" y="103"/>
                  <a:pt x="202" y="100"/>
                  <a:pt x="198" y="96"/>
                </a:cubicBezTo>
                <a:cubicBezTo>
                  <a:pt x="206" y="99"/>
                  <a:pt x="214" y="101"/>
                  <a:pt x="219" y="102"/>
                </a:cubicBezTo>
                <a:cubicBezTo>
                  <a:pt x="221" y="102"/>
                  <a:pt x="223" y="103"/>
                  <a:pt x="224" y="103"/>
                </a:cubicBezTo>
                <a:cubicBezTo>
                  <a:pt x="226" y="104"/>
                  <a:pt x="226" y="104"/>
                  <a:pt x="226" y="105"/>
                </a:cubicBezTo>
                <a:cubicBezTo>
                  <a:pt x="226" y="106"/>
                  <a:pt x="225" y="107"/>
                  <a:pt x="222"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10">
            <a:extLst>
              <a:ext uri="{FF2B5EF4-FFF2-40B4-BE49-F238E27FC236}">
                <a16:creationId xmlns:a16="http://schemas.microsoft.com/office/drawing/2014/main" id="{7594C35E-D848-4DC2-B644-A199CD6CE312}"/>
              </a:ext>
            </a:extLst>
          </p:cNvPr>
          <p:cNvSpPr>
            <a:spLocks noEditPoints="1"/>
          </p:cNvSpPr>
          <p:nvPr/>
        </p:nvSpPr>
        <p:spPr bwMode="auto">
          <a:xfrm>
            <a:off x="8978120" y="2947495"/>
            <a:ext cx="397329" cy="426804"/>
          </a:xfrm>
          <a:custGeom>
            <a:avLst/>
            <a:gdLst>
              <a:gd name="T0" fmla="*/ 15 w 126"/>
              <a:gd name="T1" fmla="*/ 120 h 135"/>
              <a:gd name="T2" fmla="*/ 49 w 126"/>
              <a:gd name="T3" fmla="*/ 113 h 135"/>
              <a:gd name="T4" fmla="*/ 47 w 126"/>
              <a:gd name="T5" fmla="*/ 126 h 135"/>
              <a:gd name="T6" fmla="*/ 58 w 126"/>
              <a:gd name="T7" fmla="*/ 127 h 135"/>
              <a:gd name="T8" fmla="*/ 89 w 126"/>
              <a:gd name="T9" fmla="*/ 134 h 135"/>
              <a:gd name="T10" fmla="*/ 107 w 126"/>
              <a:gd name="T11" fmla="*/ 126 h 135"/>
              <a:gd name="T12" fmla="*/ 112 w 126"/>
              <a:gd name="T13" fmla="*/ 120 h 135"/>
              <a:gd name="T14" fmla="*/ 126 w 126"/>
              <a:gd name="T15" fmla="*/ 105 h 135"/>
              <a:gd name="T16" fmla="*/ 109 w 126"/>
              <a:gd name="T17" fmla="*/ 90 h 135"/>
              <a:gd name="T18" fmla="*/ 83 w 126"/>
              <a:gd name="T19" fmla="*/ 77 h 135"/>
              <a:gd name="T20" fmla="*/ 120 w 126"/>
              <a:gd name="T21" fmla="*/ 50 h 135"/>
              <a:gd name="T22" fmla="*/ 87 w 126"/>
              <a:gd name="T23" fmla="*/ 38 h 135"/>
              <a:gd name="T24" fmla="*/ 77 w 126"/>
              <a:gd name="T25" fmla="*/ 1 h 135"/>
              <a:gd name="T26" fmla="*/ 57 w 126"/>
              <a:gd name="T27" fmla="*/ 24 h 135"/>
              <a:gd name="T28" fmla="*/ 75 w 126"/>
              <a:gd name="T29" fmla="*/ 14 h 135"/>
              <a:gd name="T30" fmla="*/ 34 w 126"/>
              <a:gd name="T31" fmla="*/ 14 h 135"/>
              <a:gd name="T32" fmla="*/ 37 w 126"/>
              <a:gd name="T33" fmla="*/ 67 h 135"/>
              <a:gd name="T34" fmla="*/ 43 w 126"/>
              <a:gd name="T35" fmla="*/ 57 h 135"/>
              <a:gd name="T36" fmla="*/ 53 w 126"/>
              <a:gd name="T37" fmla="*/ 70 h 135"/>
              <a:gd name="T38" fmla="*/ 35 w 126"/>
              <a:gd name="T39" fmla="*/ 86 h 135"/>
              <a:gd name="T40" fmla="*/ 11 w 126"/>
              <a:gd name="T41" fmla="*/ 92 h 135"/>
              <a:gd name="T42" fmla="*/ 14 w 126"/>
              <a:gd name="T43" fmla="*/ 119 h 135"/>
              <a:gd name="T44" fmla="*/ 112 w 126"/>
              <a:gd name="T45" fmla="*/ 103 h 135"/>
              <a:gd name="T46" fmla="*/ 109 w 126"/>
              <a:gd name="T47" fmla="*/ 108 h 135"/>
              <a:gd name="T48" fmla="*/ 101 w 126"/>
              <a:gd name="T49" fmla="*/ 109 h 135"/>
              <a:gd name="T50" fmla="*/ 86 w 126"/>
              <a:gd name="T51" fmla="*/ 96 h 135"/>
              <a:gd name="T52" fmla="*/ 80 w 126"/>
              <a:gd name="T53" fmla="*/ 54 h 135"/>
              <a:gd name="T54" fmla="*/ 98 w 126"/>
              <a:gd name="T55" fmla="*/ 61 h 135"/>
              <a:gd name="T56" fmla="*/ 80 w 126"/>
              <a:gd name="T57" fmla="*/ 54 h 135"/>
              <a:gd name="T58" fmla="*/ 74 w 126"/>
              <a:gd name="T59" fmla="*/ 101 h 135"/>
              <a:gd name="T60" fmla="*/ 95 w 126"/>
              <a:gd name="T61" fmla="*/ 119 h 135"/>
              <a:gd name="T62" fmla="*/ 96 w 126"/>
              <a:gd name="T63" fmla="*/ 121 h 135"/>
              <a:gd name="T64" fmla="*/ 64 w 126"/>
              <a:gd name="T65" fmla="*/ 100 h 135"/>
              <a:gd name="T66" fmla="*/ 14 w 126"/>
              <a:gd name="T67" fmla="*/ 103 h 135"/>
              <a:gd name="T68" fmla="*/ 38 w 126"/>
              <a:gd name="T69" fmla="*/ 97 h 135"/>
              <a:gd name="T70" fmla="*/ 51 w 126"/>
              <a:gd name="T71" fmla="*/ 97 h 135"/>
              <a:gd name="T72" fmla="*/ 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4" y="119"/>
                </a:moveTo>
                <a:cubicBezTo>
                  <a:pt x="14" y="120"/>
                  <a:pt x="15" y="120"/>
                  <a:pt x="15" y="120"/>
                </a:cubicBezTo>
                <a:cubicBezTo>
                  <a:pt x="15" y="120"/>
                  <a:pt x="18" y="120"/>
                  <a:pt x="22" y="120"/>
                </a:cubicBezTo>
                <a:cubicBezTo>
                  <a:pt x="29" y="120"/>
                  <a:pt x="39" y="119"/>
                  <a:pt x="49" y="113"/>
                </a:cubicBezTo>
                <a:cubicBezTo>
                  <a:pt x="48" y="119"/>
                  <a:pt x="47" y="124"/>
                  <a:pt x="47" y="124"/>
                </a:cubicBezTo>
                <a:cubicBezTo>
                  <a:pt x="47" y="125"/>
                  <a:pt x="47" y="125"/>
                  <a:pt x="47" y="126"/>
                </a:cubicBezTo>
                <a:cubicBezTo>
                  <a:pt x="47" y="129"/>
                  <a:pt x="49" y="132"/>
                  <a:pt x="53" y="132"/>
                </a:cubicBezTo>
                <a:cubicBezTo>
                  <a:pt x="55" y="132"/>
                  <a:pt x="58" y="130"/>
                  <a:pt x="58" y="127"/>
                </a:cubicBezTo>
                <a:cubicBezTo>
                  <a:pt x="59" y="126"/>
                  <a:pt x="60" y="123"/>
                  <a:pt x="61" y="117"/>
                </a:cubicBezTo>
                <a:cubicBezTo>
                  <a:pt x="72" y="132"/>
                  <a:pt x="88" y="134"/>
                  <a:pt x="89" y="134"/>
                </a:cubicBezTo>
                <a:cubicBezTo>
                  <a:pt x="90" y="135"/>
                  <a:pt x="91" y="135"/>
                  <a:pt x="92" y="135"/>
                </a:cubicBezTo>
                <a:cubicBezTo>
                  <a:pt x="99" y="135"/>
                  <a:pt x="105" y="132"/>
                  <a:pt x="107" y="126"/>
                </a:cubicBezTo>
                <a:cubicBezTo>
                  <a:pt x="108" y="124"/>
                  <a:pt x="108" y="122"/>
                  <a:pt x="108" y="120"/>
                </a:cubicBezTo>
                <a:cubicBezTo>
                  <a:pt x="110" y="120"/>
                  <a:pt x="111" y="120"/>
                  <a:pt x="112" y="120"/>
                </a:cubicBezTo>
                <a:cubicBezTo>
                  <a:pt x="112" y="120"/>
                  <a:pt x="112" y="119"/>
                  <a:pt x="112" y="119"/>
                </a:cubicBezTo>
                <a:cubicBezTo>
                  <a:pt x="121" y="117"/>
                  <a:pt x="126" y="112"/>
                  <a:pt x="126" y="105"/>
                </a:cubicBezTo>
                <a:cubicBezTo>
                  <a:pt x="126" y="99"/>
                  <a:pt x="122" y="94"/>
                  <a:pt x="116" y="92"/>
                </a:cubicBez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8" y="60"/>
                  <a:pt x="120" y="50"/>
                </a:cubicBezTo>
                <a:cubicBezTo>
                  <a:pt x="121" y="48"/>
                  <a:pt x="120" y="45"/>
                  <a:pt x="118" y="44"/>
                </a:cubicBezTo>
                <a:cubicBezTo>
                  <a:pt x="117" y="43"/>
                  <a:pt x="104" y="34"/>
                  <a:pt x="87" y="38"/>
                </a:cubicBezTo>
                <a:cubicBezTo>
                  <a:pt x="91" y="19"/>
                  <a:pt x="84" y="4"/>
                  <a:pt x="84" y="4"/>
                </a:cubicBezTo>
                <a:cubicBezTo>
                  <a:pt x="83" y="1"/>
                  <a:pt x="80" y="0"/>
                  <a:pt x="77" y="1"/>
                </a:cubicBezTo>
                <a:cubicBezTo>
                  <a:pt x="65" y="3"/>
                  <a:pt x="56" y="15"/>
                  <a:pt x="55" y="15"/>
                </a:cubicBezTo>
                <a:cubicBezTo>
                  <a:pt x="54" y="18"/>
                  <a:pt x="54" y="22"/>
                  <a:pt x="57" y="24"/>
                </a:cubicBezTo>
                <a:cubicBezTo>
                  <a:pt x="59" y="26"/>
                  <a:pt x="63" y="25"/>
                  <a:pt x="65" y="23"/>
                </a:cubicBezTo>
                <a:cubicBezTo>
                  <a:pt x="65" y="22"/>
                  <a:pt x="69" y="17"/>
                  <a:pt x="75" y="14"/>
                </a:cubicBezTo>
                <a:cubicBezTo>
                  <a:pt x="77" y="22"/>
                  <a:pt x="79" y="39"/>
                  <a:pt x="64" y="56"/>
                </a:cubicBezTo>
                <a:cubicBezTo>
                  <a:pt x="59" y="28"/>
                  <a:pt x="45" y="18"/>
                  <a:pt x="34" y="14"/>
                </a:cubicBezTo>
                <a:cubicBezTo>
                  <a:pt x="31" y="13"/>
                  <a:pt x="28" y="14"/>
                  <a:pt x="26" y="17"/>
                </a:cubicBezTo>
                <a:cubicBezTo>
                  <a:pt x="21" y="28"/>
                  <a:pt x="16" y="53"/>
                  <a:pt x="37" y="67"/>
                </a:cubicBezTo>
                <a:cubicBezTo>
                  <a:pt x="39" y="69"/>
                  <a:pt x="43" y="68"/>
                  <a:pt x="45" y="66"/>
                </a:cubicBezTo>
                <a:cubicBezTo>
                  <a:pt x="47" y="63"/>
                  <a:pt x="46" y="59"/>
                  <a:pt x="43" y="57"/>
                </a:cubicBezTo>
                <a:cubicBezTo>
                  <a:pt x="31" y="49"/>
                  <a:pt x="33" y="35"/>
                  <a:pt x="35" y="28"/>
                </a:cubicBezTo>
                <a:cubicBezTo>
                  <a:pt x="46" y="34"/>
                  <a:pt x="52" y="49"/>
                  <a:pt x="53" y="70"/>
                </a:cubicBezTo>
                <a:cubicBezTo>
                  <a:pt x="53" y="71"/>
                  <a:pt x="53" y="71"/>
                  <a:pt x="53" y="71"/>
                </a:cubicBezTo>
                <a:cubicBezTo>
                  <a:pt x="49" y="77"/>
                  <a:pt x="46" y="82"/>
                  <a:pt x="35" y="86"/>
                </a:cubicBezTo>
                <a:cubicBezTo>
                  <a:pt x="29" y="88"/>
                  <a:pt x="22" y="89"/>
                  <a:pt x="18" y="90"/>
                </a:cubicBezTo>
                <a:cubicBezTo>
                  <a:pt x="15" y="91"/>
                  <a:pt x="12" y="91"/>
                  <a:pt x="11" y="92"/>
                </a:cubicBezTo>
                <a:cubicBezTo>
                  <a:pt x="4" y="94"/>
                  <a:pt x="0" y="99"/>
                  <a:pt x="1" y="105"/>
                </a:cubicBezTo>
                <a:cubicBezTo>
                  <a:pt x="1" y="112"/>
                  <a:pt x="6" y="117"/>
                  <a:pt x="14" y="119"/>
                </a:cubicBezTo>
                <a:close/>
                <a:moveTo>
                  <a:pt x="107" y="102"/>
                </a:moveTo>
                <a:cubicBezTo>
                  <a:pt x="109" y="102"/>
                  <a:pt x="111" y="103"/>
                  <a:pt x="112" y="103"/>
                </a:cubicBezTo>
                <a:cubicBezTo>
                  <a:pt x="113" y="103"/>
                  <a:pt x="114" y="104"/>
                  <a:pt x="114" y="105"/>
                </a:cubicBezTo>
                <a:cubicBezTo>
                  <a:pt x="114" y="106"/>
                  <a:pt x="113" y="107"/>
                  <a:pt x="109" y="108"/>
                </a:cubicBezTo>
                <a:cubicBezTo>
                  <a:pt x="109" y="108"/>
                  <a:pt x="106" y="108"/>
                  <a:pt x="102" y="108"/>
                </a:cubicBezTo>
                <a:cubicBezTo>
                  <a:pt x="102" y="108"/>
                  <a:pt x="101" y="108"/>
                  <a:pt x="101" y="109"/>
                </a:cubicBezTo>
                <a:cubicBezTo>
                  <a:pt x="100" y="108"/>
                  <a:pt x="99" y="107"/>
                  <a:pt x="98" y="106"/>
                </a:cubicBezTo>
                <a:cubicBezTo>
                  <a:pt x="94" y="103"/>
                  <a:pt x="90" y="100"/>
                  <a:pt x="86" y="96"/>
                </a:cubicBezTo>
                <a:cubicBezTo>
                  <a:pt x="94" y="99"/>
                  <a:pt x="101" y="101"/>
                  <a:pt x="107" y="102"/>
                </a:cubicBezTo>
                <a:close/>
                <a:moveTo>
                  <a:pt x="80" y="54"/>
                </a:moveTo>
                <a:cubicBezTo>
                  <a:pt x="91" y="46"/>
                  <a:pt x="102" y="49"/>
                  <a:pt x="107" y="52"/>
                </a:cubicBezTo>
                <a:cubicBezTo>
                  <a:pt x="105" y="56"/>
                  <a:pt x="102" y="59"/>
                  <a:pt x="98" y="61"/>
                </a:cubicBezTo>
                <a:cubicBezTo>
                  <a:pt x="90" y="66"/>
                  <a:pt x="79" y="65"/>
                  <a:pt x="73" y="64"/>
                </a:cubicBezTo>
                <a:cubicBezTo>
                  <a:pt x="76" y="60"/>
                  <a:pt x="78" y="57"/>
                  <a:pt x="80" y="54"/>
                </a:cubicBezTo>
                <a:close/>
                <a:moveTo>
                  <a:pt x="62" y="82"/>
                </a:moveTo>
                <a:cubicBezTo>
                  <a:pt x="64" y="88"/>
                  <a:pt x="68" y="94"/>
                  <a:pt x="74" y="101"/>
                </a:cubicBezTo>
                <a:cubicBezTo>
                  <a:pt x="79" y="106"/>
                  <a:pt x="85" y="112"/>
                  <a:pt x="91" y="116"/>
                </a:cubicBezTo>
                <a:cubicBezTo>
                  <a:pt x="92" y="117"/>
                  <a:pt x="94" y="118"/>
                  <a:pt x="95" y="119"/>
                </a:cubicBezTo>
                <a:cubicBezTo>
                  <a:pt x="95" y="119"/>
                  <a:pt x="95" y="119"/>
                  <a:pt x="95" y="119"/>
                </a:cubicBezTo>
                <a:cubicBezTo>
                  <a:pt x="96" y="120"/>
                  <a:pt x="96" y="121"/>
                  <a:pt x="96" y="121"/>
                </a:cubicBezTo>
                <a:cubicBezTo>
                  <a:pt x="96" y="122"/>
                  <a:pt x="94" y="123"/>
                  <a:pt x="90" y="123"/>
                </a:cubicBezTo>
                <a:cubicBezTo>
                  <a:pt x="90" y="123"/>
                  <a:pt x="73" y="120"/>
                  <a:pt x="64" y="100"/>
                </a:cubicBezTo>
                <a:cubicBezTo>
                  <a:pt x="61" y="93"/>
                  <a:pt x="61" y="87"/>
                  <a:pt x="62" y="82"/>
                </a:cubicBezTo>
                <a:close/>
                <a:moveTo>
                  <a:pt x="14" y="103"/>
                </a:moveTo>
                <a:cubicBezTo>
                  <a:pt x="15" y="103"/>
                  <a:pt x="18" y="102"/>
                  <a:pt x="20" y="102"/>
                </a:cubicBezTo>
                <a:cubicBezTo>
                  <a:pt x="25" y="101"/>
                  <a:pt x="32" y="99"/>
                  <a:pt x="38" y="97"/>
                </a:cubicBezTo>
                <a:cubicBezTo>
                  <a:pt x="43" y="96"/>
                  <a:pt x="47" y="94"/>
                  <a:pt x="50" y="92"/>
                </a:cubicBezTo>
                <a:cubicBezTo>
                  <a:pt x="50" y="94"/>
                  <a:pt x="50" y="95"/>
                  <a:pt x="51" y="97"/>
                </a:cubicBezTo>
                <a:cubicBezTo>
                  <a:pt x="37" y="110"/>
                  <a:pt x="19" y="108"/>
                  <a:pt x="17" y="108"/>
                </a:cubicBezTo>
                <a:cubicBezTo>
                  <a:pt x="14" y="107"/>
                  <a:pt x="13" y="106"/>
                  <a:pt x="13" y="105"/>
                </a:cubicBezTo>
                <a:cubicBezTo>
                  <a:pt x="13" y="104"/>
                  <a:pt x="13" y="103"/>
                  <a:pt x="14" y="10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11">
            <a:extLst>
              <a:ext uri="{FF2B5EF4-FFF2-40B4-BE49-F238E27FC236}">
                <a16:creationId xmlns:a16="http://schemas.microsoft.com/office/drawing/2014/main" id="{22A183D5-2A08-46F5-AE58-56AAA197EB23}"/>
              </a:ext>
            </a:extLst>
          </p:cNvPr>
          <p:cNvSpPr>
            <a:spLocks noEditPoints="1"/>
          </p:cNvSpPr>
          <p:nvPr/>
        </p:nvSpPr>
        <p:spPr bwMode="auto">
          <a:xfrm>
            <a:off x="8978120" y="3376657"/>
            <a:ext cx="397329" cy="426804"/>
          </a:xfrm>
          <a:custGeom>
            <a:avLst/>
            <a:gdLst>
              <a:gd name="T0" fmla="*/ 116 w 126"/>
              <a:gd name="T1" fmla="*/ 92 h 135"/>
              <a:gd name="T2" fmla="*/ 75 w 126"/>
              <a:gd name="T3" fmla="*/ 76 h 135"/>
              <a:gd name="T4" fmla="*/ 104 w 126"/>
              <a:gd name="T5" fmla="*/ 72 h 135"/>
              <a:gd name="T6" fmla="*/ 118 w 126"/>
              <a:gd name="T7" fmla="*/ 44 h 135"/>
              <a:gd name="T8" fmla="*/ 84 w 126"/>
              <a:gd name="T9" fmla="*/ 4 h 135"/>
              <a:gd name="T10" fmla="*/ 55 w 126"/>
              <a:gd name="T11" fmla="*/ 15 h 135"/>
              <a:gd name="T12" fmla="*/ 65 w 126"/>
              <a:gd name="T13" fmla="*/ 23 h 135"/>
              <a:gd name="T14" fmla="*/ 64 w 126"/>
              <a:gd name="T15" fmla="*/ 56 h 135"/>
              <a:gd name="T16" fmla="*/ 26 w 126"/>
              <a:gd name="T17" fmla="*/ 17 h 135"/>
              <a:gd name="T18" fmla="*/ 45 w 126"/>
              <a:gd name="T19" fmla="*/ 66 h 135"/>
              <a:gd name="T20" fmla="*/ 35 w 126"/>
              <a:gd name="T21" fmla="*/ 28 h 135"/>
              <a:gd name="T22" fmla="*/ 53 w 126"/>
              <a:gd name="T23" fmla="*/ 71 h 135"/>
              <a:gd name="T24" fmla="*/ 18 w 126"/>
              <a:gd name="T25" fmla="*/ 90 h 135"/>
              <a:gd name="T26" fmla="*/ 1 w 126"/>
              <a:gd name="T27" fmla="*/ 105 h 135"/>
              <a:gd name="T28" fmla="*/ 15 w 126"/>
              <a:gd name="T29" fmla="*/ 120 h 135"/>
              <a:gd name="T30" fmla="*/ 49 w 126"/>
              <a:gd name="T31" fmla="*/ 113 h 135"/>
              <a:gd name="T32" fmla="*/ 47 w 126"/>
              <a:gd name="T33" fmla="*/ 126 h 135"/>
              <a:gd name="T34" fmla="*/ 53 w 126"/>
              <a:gd name="T35" fmla="*/ 132 h 135"/>
              <a:gd name="T36" fmla="*/ 61 w 126"/>
              <a:gd name="T37" fmla="*/ 118 h 135"/>
              <a:gd name="T38" fmla="*/ 92 w 126"/>
              <a:gd name="T39" fmla="*/ 135 h 135"/>
              <a:gd name="T40" fmla="*/ 108 w 126"/>
              <a:gd name="T41" fmla="*/ 120 h 135"/>
              <a:gd name="T42" fmla="*/ 112 w 126"/>
              <a:gd name="T43" fmla="*/ 120 h 135"/>
              <a:gd name="T44" fmla="*/ 17 w 126"/>
              <a:gd name="T45" fmla="*/ 108 h 135"/>
              <a:gd name="T46" fmla="*/ 14 w 126"/>
              <a:gd name="T47" fmla="*/ 103 h 135"/>
              <a:gd name="T48" fmla="*/ 38 w 126"/>
              <a:gd name="T49" fmla="*/ 97 h 135"/>
              <a:gd name="T50" fmla="*/ 51 w 126"/>
              <a:gd name="T51" fmla="*/ 97 h 135"/>
              <a:gd name="T52" fmla="*/ 80 w 126"/>
              <a:gd name="T53" fmla="*/ 54 h 135"/>
              <a:gd name="T54" fmla="*/ 98 w 126"/>
              <a:gd name="T55" fmla="*/ 62 h 135"/>
              <a:gd name="T56" fmla="*/ 80 w 126"/>
              <a:gd name="T57" fmla="*/ 54 h 135"/>
              <a:gd name="T58" fmla="*/ 90 w 126"/>
              <a:gd name="T59" fmla="*/ 123 h 135"/>
              <a:gd name="T60" fmla="*/ 62 w 126"/>
              <a:gd name="T61" fmla="*/ 82 h 135"/>
              <a:gd name="T62" fmla="*/ 91 w 126"/>
              <a:gd name="T63" fmla="*/ 116 h 135"/>
              <a:gd name="T64" fmla="*/ 96 w 126"/>
              <a:gd name="T65" fmla="*/ 122 h 135"/>
              <a:gd name="T66" fmla="*/ 102 w 126"/>
              <a:gd name="T67" fmla="*/ 108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26" y="105"/>
                </a:moveTo>
                <a:cubicBezTo>
                  <a:pt x="126" y="99"/>
                  <a:pt x="122" y="94"/>
                  <a:pt x="116" y="92"/>
                </a:cubicBez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8" y="60"/>
                  <a:pt x="120" y="51"/>
                </a:cubicBezTo>
                <a:cubicBezTo>
                  <a:pt x="121" y="48"/>
                  <a:pt x="120" y="46"/>
                  <a:pt x="118" y="44"/>
                </a:cubicBezTo>
                <a:cubicBezTo>
                  <a:pt x="117" y="44"/>
                  <a:pt x="104" y="34"/>
                  <a:pt x="87" y="38"/>
                </a:cubicBezTo>
                <a:cubicBezTo>
                  <a:pt x="91" y="19"/>
                  <a:pt x="84" y="4"/>
                  <a:pt x="84" y="4"/>
                </a:cubicBezTo>
                <a:cubicBezTo>
                  <a:pt x="83" y="1"/>
                  <a:pt x="80" y="0"/>
                  <a:pt x="77" y="1"/>
                </a:cubicBezTo>
                <a:cubicBezTo>
                  <a:pt x="65" y="3"/>
                  <a:pt x="56" y="15"/>
                  <a:pt x="55" y="15"/>
                </a:cubicBezTo>
                <a:cubicBezTo>
                  <a:pt x="54" y="18"/>
                  <a:pt x="54" y="22"/>
                  <a:pt x="57" y="24"/>
                </a:cubicBezTo>
                <a:cubicBezTo>
                  <a:pt x="59" y="26"/>
                  <a:pt x="63" y="25"/>
                  <a:pt x="65" y="23"/>
                </a:cubicBezTo>
                <a:cubicBezTo>
                  <a:pt x="65" y="23"/>
                  <a:pt x="69" y="17"/>
                  <a:pt x="75" y="14"/>
                </a:cubicBezTo>
                <a:cubicBezTo>
                  <a:pt x="77" y="22"/>
                  <a:pt x="79" y="39"/>
                  <a:pt x="64" y="56"/>
                </a:cubicBezTo>
                <a:cubicBezTo>
                  <a:pt x="59" y="29"/>
                  <a:pt x="45" y="18"/>
                  <a:pt x="34" y="14"/>
                </a:cubicBezTo>
                <a:cubicBezTo>
                  <a:pt x="31" y="13"/>
                  <a:pt x="28" y="14"/>
                  <a:pt x="26" y="17"/>
                </a:cubicBezTo>
                <a:cubicBezTo>
                  <a:pt x="21" y="28"/>
                  <a:pt x="16" y="54"/>
                  <a:pt x="37" y="67"/>
                </a:cubicBezTo>
                <a:cubicBezTo>
                  <a:pt x="39" y="69"/>
                  <a:pt x="43" y="69"/>
                  <a:pt x="45" y="66"/>
                </a:cubicBezTo>
                <a:cubicBezTo>
                  <a:pt x="47" y="63"/>
                  <a:pt x="46" y="59"/>
                  <a:pt x="43" y="58"/>
                </a:cubicBezTo>
                <a:cubicBezTo>
                  <a:pt x="31" y="49"/>
                  <a:pt x="33" y="35"/>
                  <a:pt x="35" y="28"/>
                </a:cubicBezTo>
                <a:cubicBezTo>
                  <a:pt x="46" y="34"/>
                  <a:pt x="52" y="49"/>
                  <a:pt x="53" y="71"/>
                </a:cubicBezTo>
                <a:cubicBezTo>
                  <a:pt x="53" y="71"/>
                  <a:pt x="53" y="71"/>
                  <a:pt x="53" y="71"/>
                </a:cubicBezTo>
                <a:cubicBezTo>
                  <a:pt x="49" y="77"/>
                  <a:pt x="46" y="82"/>
                  <a:pt x="35" y="86"/>
                </a:cubicBezTo>
                <a:cubicBezTo>
                  <a:pt x="29" y="88"/>
                  <a:pt x="22" y="89"/>
                  <a:pt x="18" y="90"/>
                </a:cubicBezTo>
                <a:cubicBezTo>
                  <a:pt x="15" y="91"/>
                  <a:pt x="12" y="91"/>
                  <a:pt x="11" y="92"/>
                </a:cubicBezTo>
                <a:cubicBezTo>
                  <a:pt x="4" y="94"/>
                  <a:pt x="0" y="99"/>
                  <a:pt x="1" y="105"/>
                </a:cubicBezTo>
                <a:cubicBezTo>
                  <a:pt x="1" y="112"/>
                  <a:pt x="6" y="117"/>
                  <a:pt x="14" y="120"/>
                </a:cubicBezTo>
                <a:cubicBezTo>
                  <a:pt x="14" y="120"/>
                  <a:pt x="15" y="120"/>
                  <a:pt x="15" y="120"/>
                </a:cubicBezTo>
                <a:cubicBezTo>
                  <a:pt x="15" y="120"/>
                  <a:pt x="18" y="120"/>
                  <a:pt x="22" y="120"/>
                </a:cubicBezTo>
                <a:cubicBezTo>
                  <a:pt x="29" y="120"/>
                  <a:pt x="39" y="119"/>
                  <a:pt x="49" y="113"/>
                </a:cubicBezTo>
                <a:cubicBezTo>
                  <a:pt x="48" y="120"/>
                  <a:pt x="47" y="124"/>
                  <a:pt x="47" y="124"/>
                </a:cubicBezTo>
                <a:cubicBezTo>
                  <a:pt x="47" y="125"/>
                  <a:pt x="47" y="125"/>
                  <a:pt x="47" y="126"/>
                </a:cubicBezTo>
                <a:cubicBezTo>
                  <a:pt x="47" y="129"/>
                  <a:pt x="49" y="131"/>
                  <a:pt x="52" y="132"/>
                </a:cubicBezTo>
                <a:cubicBezTo>
                  <a:pt x="52" y="132"/>
                  <a:pt x="52" y="132"/>
                  <a:pt x="53" y="132"/>
                </a:cubicBezTo>
                <a:cubicBezTo>
                  <a:pt x="55" y="132"/>
                  <a:pt x="58" y="130"/>
                  <a:pt x="58" y="127"/>
                </a:cubicBezTo>
                <a:cubicBezTo>
                  <a:pt x="59" y="127"/>
                  <a:pt x="60" y="123"/>
                  <a:pt x="61" y="118"/>
                </a:cubicBezTo>
                <a:cubicBezTo>
                  <a:pt x="72" y="132"/>
                  <a:pt x="88" y="134"/>
                  <a:pt x="89" y="135"/>
                </a:cubicBezTo>
                <a:cubicBezTo>
                  <a:pt x="90" y="135"/>
                  <a:pt x="91" y="135"/>
                  <a:pt x="92" y="135"/>
                </a:cubicBezTo>
                <a:cubicBezTo>
                  <a:pt x="99" y="135"/>
                  <a:pt x="105" y="132"/>
                  <a:pt x="107" y="126"/>
                </a:cubicBezTo>
                <a:cubicBezTo>
                  <a:pt x="108" y="124"/>
                  <a:pt x="108" y="122"/>
                  <a:pt x="108" y="120"/>
                </a:cubicBezTo>
                <a:cubicBezTo>
                  <a:pt x="110" y="120"/>
                  <a:pt x="111" y="120"/>
                  <a:pt x="112" y="120"/>
                </a:cubicBezTo>
                <a:cubicBezTo>
                  <a:pt x="112" y="120"/>
                  <a:pt x="112" y="120"/>
                  <a:pt x="112" y="120"/>
                </a:cubicBezTo>
                <a:cubicBezTo>
                  <a:pt x="121" y="117"/>
                  <a:pt x="126" y="112"/>
                  <a:pt x="126" y="105"/>
                </a:cubicBezTo>
                <a:close/>
                <a:moveTo>
                  <a:pt x="17" y="108"/>
                </a:moveTo>
                <a:cubicBezTo>
                  <a:pt x="14" y="107"/>
                  <a:pt x="13" y="106"/>
                  <a:pt x="13" y="105"/>
                </a:cubicBezTo>
                <a:cubicBezTo>
                  <a:pt x="13" y="104"/>
                  <a:pt x="13" y="104"/>
                  <a:pt x="14" y="103"/>
                </a:cubicBezTo>
                <a:cubicBezTo>
                  <a:pt x="15" y="103"/>
                  <a:pt x="18" y="102"/>
                  <a:pt x="20" y="102"/>
                </a:cubicBezTo>
                <a:cubicBezTo>
                  <a:pt x="25" y="101"/>
                  <a:pt x="32" y="99"/>
                  <a:pt x="38" y="97"/>
                </a:cubicBezTo>
                <a:cubicBezTo>
                  <a:pt x="43" y="96"/>
                  <a:pt x="47" y="94"/>
                  <a:pt x="50" y="92"/>
                </a:cubicBezTo>
                <a:cubicBezTo>
                  <a:pt x="50" y="94"/>
                  <a:pt x="51" y="95"/>
                  <a:pt x="51" y="97"/>
                </a:cubicBezTo>
                <a:cubicBezTo>
                  <a:pt x="37" y="110"/>
                  <a:pt x="19" y="108"/>
                  <a:pt x="17" y="108"/>
                </a:cubicBezTo>
                <a:close/>
                <a:moveTo>
                  <a:pt x="80" y="54"/>
                </a:moveTo>
                <a:cubicBezTo>
                  <a:pt x="91" y="46"/>
                  <a:pt x="102" y="49"/>
                  <a:pt x="107" y="52"/>
                </a:cubicBezTo>
                <a:cubicBezTo>
                  <a:pt x="105" y="56"/>
                  <a:pt x="102" y="59"/>
                  <a:pt x="98" y="62"/>
                </a:cubicBezTo>
                <a:cubicBezTo>
                  <a:pt x="90" y="66"/>
                  <a:pt x="79" y="65"/>
                  <a:pt x="73" y="64"/>
                </a:cubicBezTo>
                <a:cubicBezTo>
                  <a:pt x="76" y="60"/>
                  <a:pt x="78" y="57"/>
                  <a:pt x="80" y="54"/>
                </a:cubicBezTo>
                <a:close/>
                <a:moveTo>
                  <a:pt x="96" y="122"/>
                </a:moveTo>
                <a:cubicBezTo>
                  <a:pt x="96" y="122"/>
                  <a:pt x="94" y="123"/>
                  <a:pt x="90" y="123"/>
                </a:cubicBezTo>
                <a:cubicBezTo>
                  <a:pt x="90" y="123"/>
                  <a:pt x="73" y="120"/>
                  <a:pt x="64" y="100"/>
                </a:cubicBezTo>
                <a:cubicBezTo>
                  <a:pt x="61" y="93"/>
                  <a:pt x="61" y="87"/>
                  <a:pt x="62" y="82"/>
                </a:cubicBezTo>
                <a:cubicBezTo>
                  <a:pt x="64" y="88"/>
                  <a:pt x="68" y="95"/>
                  <a:pt x="74" y="101"/>
                </a:cubicBezTo>
                <a:cubicBezTo>
                  <a:pt x="79" y="106"/>
                  <a:pt x="85" y="112"/>
                  <a:pt x="91" y="116"/>
                </a:cubicBezTo>
                <a:cubicBezTo>
                  <a:pt x="92" y="117"/>
                  <a:pt x="94" y="118"/>
                  <a:pt x="95" y="119"/>
                </a:cubicBezTo>
                <a:cubicBezTo>
                  <a:pt x="96" y="120"/>
                  <a:pt x="96" y="121"/>
                  <a:pt x="96" y="122"/>
                </a:cubicBezTo>
                <a:close/>
                <a:moveTo>
                  <a:pt x="109" y="108"/>
                </a:moveTo>
                <a:cubicBezTo>
                  <a:pt x="109" y="108"/>
                  <a:pt x="106" y="109"/>
                  <a:pt x="102" y="108"/>
                </a:cubicBezTo>
                <a:cubicBezTo>
                  <a:pt x="102" y="108"/>
                  <a:pt x="101" y="109"/>
                  <a:pt x="101" y="109"/>
                </a:cubicBezTo>
                <a:cubicBezTo>
                  <a:pt x="100" y="108"/>
                  <a:pt x="99" y="107"/>
                  <a:pt x="98" y="107"/>
                </a:cubicBezTo>
                <a:cubicBezTo>
                  <a:pt x="94" y="103"/>
                  <a:pt x="90" y="100"/>
                  <a:pt x="86" y="96"/>
                </a:cubicBezTo>
                <a:cubicBezTo>
                  <a:pt x="94" y="99"/>
                  <a:pt x="101" y="101"/>
                  <a:pt x="107" y="102"/>
                </a:cubicBezTo>
                <a:cubicBezTo>
                  <a:pt x="109" y="102"/>
                  <a:pt x="111" y="103"/>
                  <a:pt x="112" y="103"/>
                </a:cubicBezTo>
                <a:cubicBezTo>
                  <a:pt x="113" y="104"/>
                  <a:pt x="114" y="104"/>
                  <a:pt x="114" y="105"/>
                </a:cubicBezTo>
                <a:cubicBezTo>
                  <a:pt x="114" y="106"/>
                  <a:pt x="113" y="107"/>
                  <a:pt x="109"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12">
            <a:extLst>
              <a:ext uri="{FF2B5EF4-FFF2-40B4-BE49-F238E27FC236}">
                <a16:creationId xmlns:a16="http://schemas.microsoft.com/office/drawing/2014/main" id="{42CAB1D7-9EC3-4A1A-8543-1A850DFC32FE}"/>
              </a:ext>
            </a:extLst>
          </p:cNvPr>
          <p:cNvSpPr>
            <a:spLocks noEditPoints="1"/>
          </p:cNvSpPr>
          <p:nvPr/>
        </p:nvSpPr>
        <p:spPr bwMode="auto">
          <a:xfrm>
            <a:off x="8978120" y="2518334"/>
            <a:ext cx="397329" cy="425625"/>
          </a:xfrm>
          <a:custGeom>
            <a:avLst/>
            <a:gdLst>
              <a:gd name="T0" fmla="*/ 15 w 126"/>
              <a:gd name="T1" fmla="*/ 120 h 135"/>
              <a:gd name="T2" fmla="*/ 49 w 126"/>
              <a:gd name="T3" fmla="*/ 114 h 135"/>
              <a:gd name="T4" fmla="*/ 47 w 126"/>
              <a:gd name="T5" fmla="*/ 126 h 135"/>
              <a:gd name="T6" fmla="*/ 58 w 126"/>
              <a:gd name="T7" fmla="*/ 128 h 135"/>
              <a:gd name="T8" fmla="*/ 89 w 126"/>
              <a:gd name="T9" fmla="*/ 135 h 135"/>
              <a:gd name="T10" fmla="*/ 107 w 126"/>
              <a:gd name="T11" fmla="*/ 127 h 135"/>
              <a:gd name="T12" fmla="*/ 112 w 126"/>
              <a:gd name="T13" fmla="*/ 120 h 135"/>
              <a:gd name="T14" fmla="*/ 126 w 126"/>
              <a:gd name="T15" fmla="*/ 106 h 135"/>
              <a:gd name="T16" fmla="*/ 109 w 126"/>
              <a:gd name="T17" fmla="*/ 91 h 135"/>
              <a:gd name="T18" fmla="*/ 83 w 126"/>
              <a:gd name="T19" fmla="*/ 77 h 135"/>
              <a:gd name="T20" fmla="*/ 120 w 126"/>
              <a:gd name="T21" fmla="*/ 51 h 135"/>
              <a:gd name="T22" fmla="*/ 87 w 126"/>
              <a:gd name="T23" fmla="*/ 38 h 135"/>
              <a:gd name="T24" fmla="*/ 77 w 126"/>
              <a:gd name="T25" fmla="*/ 1 h 135"/>
              <a:gd name="T26" fmla="*/ 57 w 126"/>
              <a:gd name="T27" fmla="*/ 24 h 135"/>
              <a:gd name="T28" fmla="*/ 75 w 126"/>
              <a:gd name="T29" fmla="*/ 15 h 135"/>
              <a:gd name="T30" fmla="*/ 34 w 126"/>
              <a:gd name="T31" fmla="*/ 14 h 135"/>
              <a:gd name="T32" fmla="*/ 37 w 126"/>
              <a:gd name="T33" fmla="*/ 68 h 135"/>
              <a:gd name="T34" fmla="*/ 43 w 126"/>
              <a:gd name="T35" fmla="*/ 58 h 135"/>
              <a:gd name="T36" fmla="*/ 53 w 126"/>
              <a:gd name="T37" fmla="*/ 71 h 135"/>
              <a:gd name="T38" fmla="*/ 35 w 126"/>
              <a:gd name="T39" fmla="*/ 86 h 135"/>
              <a:gd name="T40" fmla="*/ 11 w 126"/>
              <a:gd name="T41" fmla="*/ 92 h 135"/>
              <a:gd name="T42" fmla="*/ 14 w 126"/>
              <a:gd name="T43" fmla="*/ 120 h 135"/>
              <a:gd name="T44" fmla="*/ 112 w 126"/>
              <a:gd name="T45" fmla="*/ 104 h 135"/>
              <a:gd name="T46" fmla="*/ 109 w 126"/>
              <a:gd name="T47" fmla="*/ 108 h 135"/>
              <a:gd name="T48" fmla="*/ 101 w 126"/>
              <a:gd name="T49" fmla="*/ 109 h 135"/>
              <a:gd name="T50" fmla="*/ 86 w 126"/>
              <a:gd name="T51" fmla="*/ 97 h 135"/>
              <a:gd name="T52" fmla="*/ 80 w 126"/>
              <a:gd name="T53" fmla="*/ 54 h 135"/>
              <a:gd name="T54" fmla="*/ 98 w 126"/>
              <a:gd name="T55" fmla="*/ 62 h 135"/>
              <a:gd name="T56" fmla="*/ 80 w 126"/>
              <a:gd name="T57" fmla="*/ 54 h 135"/>
              <a:gd name="T58" fmla="*/ 74 w 126"/>
              <a:gd name="T59" fmla="*/ 102 h 135"/>
              <a:gd name="T60" fmla="*/ 95 w 126"/>
              <a:gd name="T61" fmla="*/ 120 h 135"/>
              <a:gd name="T62" fmla="*/ 90 w 126"/>
              <a:gd name="T63" fmla="*/ 123 h 135"/>
              <a:gd name="T64" fmla="*/ 62 w 126"/>
              <a:gd name="T65" fmla="*/ 83 h 135"/>
              <a:gd name="T66" fmla="*/ 20 w 126"/>
              <a:gd name="T67" fmla="*/ 102 h 135"/>
              <a:gd name="T68" fmla="*/ 50 w 126"/>
              <a:gd name="T69" fmla="*/ 92 h 135"/>
              <a:gd name="T70" fmla="*/ 17 w 126"/>
              <a:gd name="T71" fmla="*/ 108 h 135"/>
              <a:gd name="T72" fmla="*/ 14 w 126"/>
              <a:gd name="T73" fmla="*/ 10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4" y="120"/>
                </a:moveTo>
                <a:cubicBezTo>
                  <a:pt x="14" y="120"/>
                  <a:pt x="15" y="120"/>
                  <a:pt x="15" y="120"/>
                </a:cubicBezTo>
                <a:cubicBezTo>
                  <a:pt x="15" y="120"/>
                  <a:pt x="18" y="121"/>
                  <a:pt x="22" y="121"/>
                </a:cubicBezTo>
                <a:cubicBezTo>
                  <a:pt x="29" y="121"/>
                  <a:pt x="39" y="119"/>
                  <a:pt x="49" y="114"/>
                </a:cubicBezTo>
                <a:cubicBezTo>
                  <a:pt x="48" y="120"/>
                  <a:pt x="47" y="124"/>
                  <a:pt x="47" y="125"/>
                </a:cubicBezTo>
                <a:cubicBezTo>
                  <a:pt x="47" y="125"/>
                  <a:pt x="47" y="126"/>
                  <a:pt x="47" y="126"/>
                </a:cubicBezTo>
                <a:cubicBezTo>
                  <a:pt x="47" y="130"/>
                  <a:pt x="49" y="132"/>
                  <a:pt x="53" y="132"/>
                </a:cubicBezTo>
                <a:cubicBezTo>
                  <a:pt x="55" y="132"/>
                  <a:pt x="58" y="130"/>
                  <a:pt x="58" y="128"/>
                </a:cubicBezTo>
                <a:cubicBezTo>
                  <a:pt x="59" y="127"/>
                  <a:pt x="60" y="123"/>
                  <a:pt x="61" y="118"/>
                </a:cubicBezTo>
                <a:cubicBezTo>
                  <a:pt x="72" y="133"/>
                  <a:pt x="88" y="135"/>
                  <a:pt x="89" y="135"/>
                </a:cubicBezTo>
                <a:cubicBezTo>
                  <a:pt x="90" y="135"/>
                  <a:pt x="91" y="135"/>
                  <a:pt x="92" y="135"/>
                </a:cubicBezTo>
                <a:cubicBezTo>
                  <a:pt x="99" y="135"/>
                  <a:pt x="105" y="132"/>
                  <a:pt x="107" y="127"/>
                </a:cubicBezTo>
                <a:cubicBezTo>
                  <a:pt x="108" y="125"/>
                  <a:pt x="108" y="123"/>
                  <a:pt x="108" y="121"/>
                </a:cubicBezTo>
                <a:cubicBezTo>
                  <a:pt x="110" y="120"/>
                  <a:pt x="111" y="120"/>
                  <a:pt x="112" y="120"/>
                </a:cubicBezTo>
                <a:cubicBezTo>
                  <a:pt x="112" y="120"/>
                  <a:pt x="112" y="120"/>
                  <a:pt x="112" y="120"/>
                </a:cubicBezTo>
                <a:cubicBezTo>
                  <a:pt x="121" y="118"/>
                  <a:pt x="126" y="112"/>
                  <a:pt x="126" y="106"/>
                </a:cubicBezTo>
                <a:cubicBezTo>
                  <a:pt x="126" y="100"/>
                  <a:pt x="122" y="94"/>
                  <a:pt x="116" y="92"/>
                </a:cubicBezTo>
                <a:cubicBezTo>
                  <a:pt x="114" y="92"/>
                  <a:pt x="112" y="91"/>
                  <a:pt x="109" y="91"/>
                </a:cubicBezTo>
                <a:cubicBezTo>
                  <a:pt x="100" y="89"/>
                  <a:pt x="84" y="85"/>
                  <a:pt x="75" y="77"/>
                </a:cubicBezTo>
                <a:cubicBezTo>
                  <a:pt x="78" y="77"/>
                  <a:pt x="80" y="77"/>
                  <a:pt x="83" y="77"/>
                </a:cubicBezTo>
                <a:cubicBezTo>
                  <a:pt x="90" y="77"/>
                  <a:pt x="97" y="76"/>
                  <a:pt x="104" y="73"/>
                </a:cubicBezTo>
                <a:cubicBezTo>
                  <a:pt x="112" y="68"/>
                  <a:pt x="118" y="61"/>
                  <a:pt x="120" y="51"/>
                </a:cubicBezTo>
                <a:cubicBezTo>
                  <a:pt x="121" y="49"/>
                  <a:pt x="120" y="46"/>
                  <a:pt x="118" y="45"/>
                </a:cubicBezTo>
                <a:cubicBezTo>
                  <a:pt x="117" y="44"/>
                  <a:pt x="104" y="34"/>
                  <a:pt x="87" y="38"/>
                </a:cubicBezTo>
                <a:cubicBezTo>
                  <a:pt x="91" y="19"/>
                  <a:pt x="84" y="4"/>
                  <a:pt x="84" y="4"/>
                </a:cubicBezTo>
                <a:cubicBezTo>
                  <a:pt x="83" y="2"/>
                  <a:pt x="80" y="0"/>
                  <a:pt x="77" y="1"/>
                </a:cubicBezTo>
                <a:cubicBezTo>
                  <a:pt x="65" y="4"/>
                  <a:pt x="56" y="15"/>
                  <a:pt x="55" y="16"/>
                </a:cubicBezTo>
                <a:cubicBezTo>
                  <a:pt x="54" y="18"/>
                  <a:pt x="54" y="22"/>
                  <a:pt x="57" y="24"/>
                </a:cubicBezTo>
                <a:cubicBezTo>
                  <a:pt x="59" y="26"/>
                  <a:pt x="63" y="26"/>
                  <a:pt x="65" y="23"/>
                </a:cubicBezTo>
                <a:cubicBezTo>
                  <a:pt x="65" y="23"/>
                  <a:pt x="69" y="18"/>
                  <a:pt x="75" y="15"/>
                </a:cubicBezTo>
                <a:cubicBezTo>
                  <a:pt x="77" y="23"/>
                  <a:pt x="79" y="39"/>
                  <a:pt x="64" y="57"/>
                </a:cubicBezTo>
                <a:cubicBezTo>
                  <a:pt x="59" y="29"/>
                  <a:pt x="45" y="18"/>
                  <a:pt x="34" y="14"/>
                </a:cubicBezTo>
                <a:cubicBezTo>
                  <a:pt x="31" y="13"/>
                  <a:pt x="28" y="15"/>
                  <a:pt x="26" y="17"/>
                </a:cubicBezTo>
                <a:cubicBezTo>
                  <a:pt x="21" y="29"/>
                  <a:pt x="16" y="54"/>
                  <a:pt x="37" y="68"/>
                </a:cubicBezTo>
                <a:cubicBezTo>
                  <a:pt x="39" y="70"/>
                  <a:pt x="43" y="69"/>
                  <a:pt x="45" y="66"/>
                </a:cubicBezTo>
                <a:cubicBezTo>
                  <a:pt x="47" y="64"/>
                  <a:pt x="46" y="60"/>
                  <a:pt x="43" y="58"/>
                </a:cubicBezTo>
                <a:cubicBezTo>
                  <a:pt x="31" y="50"/>
                  <a:pt x="33" y="36"/>
                  <a:pt x="35" y="28"/>
                </a:cubicBezTo>
                <a:cubicBezTo>
                  <a:pt x="46" y="35"/>
                  <a:pt x="52" y="49"/>
                  <a:pt x="53" y="71"/>
                </a:cubicBezTo>
                <a:cubicBezTo>
                  <a:pt x="53" y="71"/>
                  <a:pt x="53" y="71"/>
                  <a:pt x="53" y="71"/>
                </a:cubicBezTo>
                <a:cubicBezTo>
                  <a:pt x="49" y="77"/>
                  <a:pt x="46" y="83"/>
                  <a:pt x="35" y="86"/>
                </a:cubicBezTo>
                <a:cubicBezTo>
                  <a:pt x="29" y="88"/>
                  <a:pt x="22" y="90"/>
                  <a:pt x="18" y="90"/>
                </a:cubicBezTo>
                <a:cubicBezTo>
                  <a:pt x="15" y="91"/>
                  <a:pt x="12" y="92"/>
                  <a:pt x="11" y="92"/>
                </a:cubicBezTo>
                <a:cubicBezTo>
                  <a:pt x="4" y="94"/>
                  <a:pt x="0" y="100"/>
                  <a:pt x="1" y="106"/>
                </a:cubicBezTo>
                <a:cubicBezTo>
                  <a:pt x="1" y="112"/>
                  <a:pt x="6" y="118"/>
                  <a:pt x="14" y="120"/>
                </a:cubicBezTo>
                <a:close/>
                <a:moveTo>
                  <a:pt x="107" y="102"/>
                </a:moveTo>
                <a:cubicBezTo>
                  <a:pt x="109" y="103"/>
                  <a:pt x="111" y="103"/>
                  <a:pt x="112" y="104"/>
                </a:cubicBezTo>
                <a:cubicBezTo>
                  <a:pt x="113" y="104"/>
                  <a:pt x="114" y="105"/>
                  <a:pt x="114" y="105"/>
                </a:cubicBezTo>
                <a:cubicBezTo>
                  <a:pt x="114" y="106"/>
                  <a:pt x="113" y="107"/>
                  <a:pt x="109" y="108"/>
                </a:cubicBezTo>
                <a:cubicBezTo>
                  <a:pt x="109" y="108"/>
                  <a:pt x="106" y="109"/>
                  <a:pt x="102" y="109"/>
                </a:cubicBezTo>
                <a:cubicBezTo>
                  <a:pt x="102" y="109"/>
                  <a:pt x="101" y="109"/>
                  <a:pt x="101" y="109"/>
                </a:cubicBezTo>
                <a:cubicBezTo>
                  <a:pt x="100" y="108"/>
                  <a:pt x="99" y="108"/>
                  <a:pt x="98" y="107"/>
                </a:cubicBezTo>
                <a:cubicBezTo>
                  <a:pt x="94" y="104"/>
                  <a:pt x="90" y="100"/>
                  <a:pt x="86" y="97"/>
                </a:cubicBezTo>
                <a:cubicBezTo>
                  <a:pt x="94" y="100"/>
                  <a:pt x="101" y="101"/>
                  <a:pt x="107" y="102"/>
                </a:cubicBezTo>
                <a:close/>
                <a:moveTo>
                  <a:pt x="80" y="54"/>
                </a:moveTo>
                <a:cubicBezTo>
                  <a:pt x="91" y="47"/>
                  <a:pt x="102" y="50"/>
                  <a:pt x="107" y="52"/>
                </a:cubicBezTo>
                <a:cubicBezTo>
                  <a:pt x="105" y="57"/>
                  <a:pt x="102" y="60"/>
                  <a:pt x="98" y="62"/>
                </a:cubicBezTo>
                <a:cubicBezTo>
                  <a:pt x="90" y="67"/>
                  <a:pt x="79" y="65"/>
                  <a:pt x="73" y="64"/>
                </a:cubicBezTo>
                <a:cubicBezTo>
                  <a:pt x="76" y="61"/>
                  <a:pt x="78" y="57"/>
                  <a:pt x="80" y="54"/>
                </a:cubicBezTo>
                <a:close/>
                <a:moveTo>
                  <a:pt x="62" y="83"/>
                </a:moveTo>
                <a:cubicBezTo>
                  <a:pt x="64" y="88"/>
                  <a:pt x="68" y="95"/>
                  <a:pt x="74" y="102"/>
                </a:cubicBezTo>
                <a:cubicBezTo>
                  <a:pt x="79" y="107"/>
                  <a:pt x="85" y="112"/>
                  <a:pt x="91" y="116"/>
                </a:cubicBezTo>
                <a:cubicBezTo>
                  <a:pt x="92" y="118"/>
                  <a:pt x="94" y="119"/>
                  <a:pt x="95" y="120"/>
                </a:cubicBezTo>
                <a:cubicBezTo>
                  <a:pt x="96" y="120"/>
                  <a:pt x="96" y="121"/>
                  <a:pt x="96" y="122"/>
                </a:cubicBezTo>
                <a:cubicBezTo>
                  <a:pt x="96" y="123"/>
                  <a:pt x="94" y="123"/>
                  <a:pt x="90" y="123"/>
                </a:cubicBezTo>
                <a:cubicBezTo>
                  <a:pt x="90" y="123"/>
                  <a:pt x="73" y="121"/>
                  <a:pt x="64" y="101"/>
                </a:cubicBezTo>
                <a:cubicBezTo>
                  <a:pt x="61" y="94"/>
                  <a:pt x="61" y="87"/>
                  <a:pt x="62" y="83"/>
                </a:cubicBezTo>
                <a:close/>
                <a:moveTo>
                  <a:pt x="14" y="104"/>
                </a:moveTo>
                <a:cubicBezTo>
                  <a:pt x="15" y="103"/>
                  <a:pt x="18" y="103"/>
                  <a:pt x="20" y="102"/>
                </a:cubicBezTo>
                <a:cubicBezTo>
                  <a:pt x="25" y="101"/>
                  <a:pt x="32" y="100"/>
                  <a:pt x="38" y="98"/>
                </a:cubicBezTo>
                <a:cubicBezTo>
                  <a:pt x="43" y="96"/>
                  <a:pt x="47" y="94"/>
                  <a:pt x="50" y="92"/>
                </a:cubicBezTo>
                <a:cubicBezTo>
                  <a:pt x="50" y="94"/>
                  <a:pt x="50" y="96"/>
                  <a:pt x="51" y="98"/>
                </a:cubicBezTo>
                <a:cubicBezTo>
                  <a:pt x="37" y="111"/>
                  <a:pt x="19" y="109"/>
                  <a:pt x="17" y="108"/>
                </a:cubicBezTo>
                <a:cubicBezTo>
                  <a:pt x="14" y="107"/>
                  <a:pt x="13" y="106"/>
                  <a:pt x="13" y="105"/>
                </a:cubicBezTo>
                <a:cubicBezTo>
                  <a:pt x="13" y="105"/>
                  <a:pt x="13" y="104"/>
                  <a:pt x="14" y="10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13">
            <a:extLst>
              <a:ext uri="{FF2B5EF4-FFF2-40B4-BE49-F238E27FC236}">
                <a16:creationId xmlns:a16="http://schemas.microsoft.com/office/drawing/2014/main" id="{3E13D73D-606B-4884-A961-8384DAA9358A}"/>
              </a:ext>
            </a:extLst>
          </p:cNvPr>
          <p:cNvSpPr>
            <a:spLocks noEditPoints="1"/>
          </p:cNvSpPr>
          <p:nvPr/>
        </p:nvSpPr>
        <p:spPr bwMode="auto">
          <a:xfrm>
            <a:off x="10760792" y="2637415"/>
            <a:ext cx="396149" cy="423267"/>
          </a:xfrm>
          <a:custGeom>
            <a:avLst/>
            <a:gdLst>
              <a:gd name="T0" fmla="*/ 17 w 126"/>
              <a:gd name="T1" fmla="*/ 90 h 134"/>
              <a:gd name="T2" fmla="*/ 0 w 126"/>
              <a:gd name="T3" fmla="*/ 105 h 134"/>
              <a:gd name="T4" fmla="*/ 14 w 126"/>
              <a:gd name="T5" fmla="*/ 119 h 134"/>
              <a:gd name="T6" fmla="*/ 49 w 126"/>
              <a:gd name="T7" fmla="*/ 113 h 134"/>
              <a:gd name="T8" fmla="*/ 46 w 126"/>
              <a:gd name="T9" fmla="*/ 125 h 134"/>
              <a:gd name="T10" fmla="*/ 58 w 126"/>
              <a:gd name="T11" fmla="*/ 127 h 134"/>
              <a:gd name="T12" fmla="*/ 89 w 126"/>
              <a:gd name="T13" fmla="*/ 134 h 134"/>
              <a:gd name="T14" fmla="*/ 107 w 126"/>
              <a:gd name="T15" fmla="*/ 126 h 134"/>
              <a:gd name="T16" fmla="*/ 112 w 126"/>
              <a:gd name="T17" fmla="*/ 119 h 134"/>
              <a:gd name="T18" fmla="*/ 125 w 126"/>
              <a:gd name="T19" fmla="*/ 105 h 134"/>
              <a:gd name="T20" fmla="*/ 109 w 126"/>
              <a:gd name="T21" fmla="*/ 90 h 134"/>
              <a:gd name="T22" fmla="*/ 83 w 126"/>
              <a:gd name="T23" fmla="*/ 76 h 134"/>
              <a:gd name="T24" fmla="*/ 120 w 126"/>
              <a:gd name="T25" fmla="*/ 50 h 134"/>
              <a:gd name="T26" fmla="*/ 86 w 126"/>
              <a:gd name="T27" fmla="*/ 37 h 134"/>
              <a:gd name="T28" fmla="*/ 77 w 126"/>
              <a:gd name="T29" fmla="*/ 0 h 134"/>
              <a:gd name="T30" fmla="*/ 56 w 126"/>
              <a:gd name="T31" fmla="*/ 23 h 134"/>
              <a:gd name="T32" fmla="*/ 75 w 126"/>
              <a:gd name="T33" fmla="*/ 14 h 134"/>
              <a:gd name="T34" fmla="*/ 33 w 126"/>
              <a:gd name="T35" fmla="*/ 13 h 134"/>
              <a:gd name="T36" fmla="*/ 36 w 126"/>
              <a:gd name="T37" fmla="*/ 67 h 134"/>
              <a:gd name="T38" fmla="*/ 43 w 126"/>
              <a:gd name="T39" fmla="*/ 57 h 134"/>
              <a:gd name="T40" fmla="*/ 53 w 126"/>
              <a:gd name="T41" fmla="*/ 70 h 134"/>
              <a:gd name="T42" fmla="*/ 34 w 126"/>
              <a:gd name="T43" fmla="*/ 85 h 134"/>
              <a:gd name="T44" fmla="*/ 12 w 126"/>
              <a:gd name="T45" fmla="*/ 104 h 134"/>
              <a:gd name="T46" fmla="*/ 20 w 126"/>
              <a:gd name="T47" fmla="*/ 101 h 134"/>
              <a:gd name="T48" fmla="*/ 50 w 126"/>
              <a:gd name="T49" fmla="*/ 91 h 134"/>
              <a:gd name="T50" fmla="*/ 17 w 126"/>
              <a:gd name="T51" fmla="*/ 107 h 134"/>
              <a:gd name="T52" fmla="*/ 112 w 126"/>
              <a:gd name="T53" fmla="*/ 103 h 134"/>
              <a:gd name="T54" fmla="*/ 109 w 126"/>
              <a:gd name="T55" fmla="*/ 108 h 134"/>
              <a:gd name="T56" fmla="*/ 100 w 126"/>
              <a:gd name="T57" fmla="*/ 108 h 134"/>
              <a:gd name="T58" fmla="*/ 86 w 126"/>
              <a:gd name="T59" fmla="*/ 96 h 134"/>
              <a:gd name="T60" fmla="*/ 80 w 126"/>
              <a:gd name="T61" fmla="*/ 53 h 134"/>
              <a:gd name="T62" fmla="*/ 98 w 126"/>
              <a:gd name="T63" fmla="*/ 61 h 134"/>
              <a:gd name="T64" fmla="*/ 80 w 126"/>
              <a:gd name="T65" fmla="*/ 53 h 134"/>
              <a:gd name="T66" fmla="*/ 74 w 126"/>
              <a:gd name="T67" fmla="*/ 101 h 134"/>
              <a:gd name="T68" fmla="*/ 95 w 126"/>
              <a:gd name="T69" fmla="*/ 119 h 134"/>
              <a:gd name="T70" fmla="*/ 90 w 126"/>
              <a:gd name="T71" fmla="*/ 122 h 134"/>
              <a:gd name="T72" fmla="*/ 62 w 126"/>
              <a:gd name="T73"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4">
                <a:moveTo>
                  <a:pt x="34" y="85"/>
                </a:moveTo>
                <a:cubicBezTo>
                  <a:pt x="28" y="87"/>
                  <a:pt x="22" y="89"/>
                  <a:pt x="17" y="90"/>
                </a:cubicBezTo>
                <a:cubicBezTo>
                  <a:pt x="14" y="90"/>
                  <a:pt x="12" y="91"/>
                  <a:pt x="10" y="91"/>
                </a:cubicBezTo>
                <a:cubicBezTo>
                  <a:pt x="4" y="93"/>
                  <a:pt x="0" y="99"/>
                  <a:pt x="0" y="105"/>
                </a:cubicBezTo>
                <a:cubicBezTo>
                  <a:pt x="0" y="112"/>
                  <a:pt x="6" y="117"/>
                  <a:pt x="14" y="119"/>
                </a:cubicBezTo>
                <a:cubicBezTo>
                  <a:pt x="14" y="119"/>
                  <a:pt x="14" y="119"/>
                  <a:pt x="14" y="119"/>
                </a:cubicBezTo>
                <a:cubicBezTo>
                  <a:pt x="15" y="119"/>
                  <a:pt x="17" y="120"/>
                  <a:pt x="21" y="120"/>
                </a:cubicBezTo>
                <a:cubicBezTo>
                  <a:pt x="28" y="120"/>
                  <a:pt x="39" y="119"/>
                  <a:pt x="49" y="113"/>
                </a:cubicBezTo>
                <a:cubicBezTo>
                  <a:pt x="48" y="119"/>
                  <a:pt x="47" y="123"/>
                  <a:pt x="47" y="124"/>
                </a:cubicBezTo>
                <a:cubicBezTo>
                  <a:pt x="46" y="124"/>
                  <a:pt x="46" y="125"/>
                  <a:pt x="46" y="125"/>
                </a:cubicBezTo>
                <a:cubicBezTo>
                  <a:pt x="46" y="129"/>
                  <a:pt x="49" y="131"/>
                  <a:pt x="52" y="131"/>
                </a:cubicBezTo>
                <a:cubicBezTo>
                  <a:pt x="55" y="131"/>
                  <a:pt x="58" y="129"/>
                  <a:pt x="58" y="127"/>
                </a:cubicBezTo>
                <a:cubicBezTo>
                  <a:pt x="58" y="126"/>
                  <a:pt x="59" y="122"/>
                  <a:pt x="60" y="117"/>
                </a:cubicBezTo>
                <a:cubicBezTo>
                  <a:pt x="72" y="132"/>
                  <a:pt x="88" y="134"/>
                  <a:pt x="89" y="134"/>
                </a:cubicBezTo>
                <a:cubicBezTo>
                  <a:pt x="90" y="134"/>
                  <a:pt x="91" y="134"/>
                  <a:pt x="92" y="134"/>
                </a:cubicBezTo>
                <a:cubicBezTo>
                  <a:pt x="99" y="134"/>
                  <a:pt x="104" y="131"/>
                  <a:pt x="107" y="126"/>
                </a:cubicBezTo>
                <a:cubicBezTo>
                  <a:pt x="107" y="124"/>
                  <a:pt x="108" y="122"/>
                  <a:pt x="108" y="120"/>
                </a:cubicBezTo>
                <a:cubicBezTo>
                  <a:pt x="110" y="120"/>
                  <a:pt x="111" y="119"/>
                  <a:pt x="112" y="119"/>
                </a:cubicBezTo>
                <a:cubicBezTo>
                  <a:pt x="112" y="119"/>
                  <a:pt x="112" y="119"/>
                  <a:pt x="112" y="119"/>
                </a:cubicBezTo>
                <a:cubicBezTo>
                  <a:pt x="120" y="117"/>
                  <a:pt x="125" y="112"/>
                  <a:pt x="125" y="105"/>
                </a:cubicBezTo>
                <a:cubicBezTo>
                  <a:pt x="126" y="99"/>
                  <a:pt x="122" y="93"/>
                  <a:pt x="115" y="91"/>
                </a:cubicBezTo>
                <a:cubicBezTo>
                  <a:pt x="114" y="91"/>
                  <a:pt x="112" y="90"/>
                  <a:pt x="109" y="90"/>
                </a:cubicBezTo>
                <a:cubicBezTo>
                  <a:pt x="100" y="88"/>
                  <a:pt x="84" y="84"/>
                  <a:pt x="75" y="76"/>
                </a:cubicBezTo>
                <a:cubicBezTo>
                  <a:pt x="77" y="76"/>
                  <a:pt x="80" y="76"/>
                  <a:pt x="83" y="76"/>
                </a:cubicBezTo>
                <a:cubicBezTo>
                  <a:pt x="90" y="76"/>
                  <a:pt x="97" y="75"/>
                  <a:pt x="104" y="72"/>
                </a:cubicBezTo>
                <a:cubicBezTo>
                  <a:pt x="112" y="67"/>
                  <a:pt x="117" y="60"/>
                  <a:pt x="120" y="50"/>
                </a:cubicBezTo>
                <a:cubicBezTo>
                  <a:pt x="121" y="48"/>
                  <a:pt x="120" y="45"/>
                  <a:pt x="118" y="44"/>
                </a:cubicBezTo>
                <a:cubicBezTo>
                  <a:pt x="117" y="43"/>
                  <a:pt x="103" y="33"/>
                  <a:pt x="86" y="37"/>
                </a:cubicBezTo>
                <a:cubicBezTo>
                  <a:pt x="91" y="18"/>
                  <a:pt x="84" y="4"/>
                  <a:pt x="83" y="3"/>
                </a:cubicBezTo>
                <a:cubicBezTo>
                  <a:pt x="82" y="1"/>
                  <a:pt x="79" y="0"/>
                  <a:pt x="77" y="0"/>
                </a:cubicBezTo>
                <a:cubicBezTo>
                  <a:pt x="64" y="3"/>
                  <a:pt x="56" y="14"/>
                  <a:pt x="55" y="15"/>
                </a:cubicBezTo>
                <a:cubicBezTo>
                  <a:pt x="53" y="18"/>
                  <a:pt x="54" y="21"/>
                  <a:pt x="56" y="23"/>
                </a:cubicBezTo>
                <a:cubicBezTo>
                  <a:pt x="59" y="25"/>
                  <a:pt x="63" y="25"/>
                  <a:pt x="65" y="22"/>
                </a:cubicBezTo>
                <a:cubicBezTo>
                  <a:pt x="65" y="22"/>
                  <a:pt x="69" y="17"/>
                  <a:pt x="75" y="14"/>
                </a:cubicBezTo>
                <a:cubicBezTo>
                  <a:pt x="77" y="22"/>
                  <a:pt x="79" y="39"/>
                  <a:pt x="63" y="56"/>
                </a:cubicBezTo>
                <a:cubicBezTo>
                  <a:pt x="59" y="28"/>
                  <a:pt x="45" y="17"/>
                  <a:pt x="33" y="13"/>
                </a:cubicBezTo>
                <a:cubicBezTo>
                  <a:pt x="30" y="12"/>
                  <a:pt x="27" y="14"/>
                  <a:pt x="26" y="16"/>
                </a:cubicBezTo>
                <a:cubicBezTo>
                  <a:pt x="21" y="28"/>
                  <a:pt x="16" y="53"/>
                  <a:pt x="36" y="67"/>
                </a:cubicBezTo>
                <a:cubicBezTo>
                  <a:pt x="39" y="69"/>
                  <a:pt x="43" y="68"/>
                  <a:pt x="45" y="65"/>
                </a:cubicBezTo>
                <a:cubicBezTo>
                  <a:pt x="46" y="63"/>
                  <a:pt x="46" y="59"/>
                  <a:pt x="43" y="57"/>
                </a:cubicBezTo>
                <a:cubicBezTo>
                  <a:pt x="31" y="49"/>
                  <a:pt x="33" y="35"/>
                  <a:pt x="35" y="27"/>
                </a:cubicBezTo>
                <a:cubicBezTo>
                  <a:pt x="46" y="34"/>
                  <a:pt x="52" y="48"/>
                  <a:pt x="53" y="70"/>
                </a:cubicBezTo>
                <a:cubicBezTo>
                  <a:pt x="53" y="70"/>
                  <a:pt x="53" y="70"/>
                  <a:pt x="52" y="70"/>
                </a:cubicBezTo>
                <a:cubicBezTo>
                  <a:pt x="49" y="76"/>
                  <a:pt x="46" y="82"/>
                  <a:pt x="34" y="85"/>
                </a:cubicBezTo>
                <a:close/>
                <a:moveTo>
                  <a:pt x="17" y="107"/>
                </a:moveTo>
                <a:cubicBezTo>
                  <a:pt x="13" y="107"/>
                  <a:pt x="12" y="105"/>
                  <a:pt x="12" y="104"/>
                </a:cubicBezTo>
                <a:cubicBezTo>
                  <a:pt x="12" y="104"/>
                  <a:pt x="13" y="103"/>
                  <a:pt x="14" y="103"/>
                </a:cubicBezTo>
                <a:cubicBezTo>
                  <a:pt x="15" y="102"/>
                  <a:pt x="17" y="102"/>
                  <a:pt x="20" y="101"/>
                </a:cubicBezTo>
                <a:cubicBezTo>
                  <a:pt x="25" y="100"/>
                  <a:pt x="31" y="99"/>
                  <a:pt x="38" y="97"/>
                </a:cubicBezTo>
                <a:cubicBezTo>
                  <a:pt x="43" y="95"/>
                  <a:pt x="47" y="93"/>
                  <a:pt x="50" y="91"/>
                </a:cubicBezTo>
                <a:cubicBezTo>
                  <a:pt x="50" y="93"/>
                  <a:pt x="50" y="95"/>
                  <a:pt x="51" y="97"/>
                </a:cubicBezTo>
                <a:cubicBezTo>
                  <a:pt x="36" y="110"/>
                  <a:pt x="19" y="108"/>
                  <a:pt x="17" y="107"/>
                </a:cubicBezTo>
                <a:close/>
                <a:moveTo>
                  <a:pt x="107" y="102"/>
                </a:moveTo>
                <a:cubicBezTo>
                  <a:pt x="109" y="102"/>
                  <a:pt x="111" y="102"/>
                  <a:pt x="112" y="103"/>
                </a:cubicBezTo>
                <a:cubicBezTo>
                  <a:pt x="113" y="103"/>
                  <a:pt x="114" y="104"/>
                  <a:pt x="113" y="104"/>
                </a:cubicBezTo>
                <a:cubicBezTo>
                  <a:pt x="113" y="105"/>
                  <a:pt x="112" y="107"/>
                  <a:pt x="109" y="108"/>
                </a:cubicBezTo>
                <a:cubicBezTo>
                  <a:pt x="108" y="108"/>
                  <a:pt x="106" y="108"/>
                  <a:pt x="102" y="108"/>
                </a:cubicBezTo>
                <a:cubicBezTo>
                  <a:pt x="102" y="108"/>
                  <a:pt x="101" y="108"/>
                  <a:pt x="100" y="108"/>
                </a:cubicBezTo>
                <a:cubicBezTo>
                  <a:pt x="100" y="108"/>
                  <a:pt x="99" y="107"/>
                  <a:pt x="98" y="106"/>
                </a:cubicBezTo>
                <a:cubicBezTo>
                  <a:pt x="94" y="103"/>
                  <a:pt x="90" y="99"/>
                  <a:pt x="86" y="96"/>
                </a:cubicBezTo>
                <a:cubicBezTo>
                  <a:pt x="93" y="99"/>
                  <a:pt x="101" y="100"/>
                  <a:pt x="107" y="102"/>
                </a:cubicBezTo>
                <a:close/>
                <a:moveTo>
                  <a:pt x="80" y="53"/>
                </a:moveTo>
                <a:cubicBezTo>
                  <a:pt x="91" y="46"/>
                  <a:pt x="101" y="49"/>
                  <a:pt x="107" y="51"/>
                </a:cubicBezTo>
                <a:cubicBezTo>
                  <a:pt x="105" y="56"/>
                  <a:pt x="102" y="59"/>
                  <a:pt x="98" y="61"/>
                </a:cubicBezTo>
                <a:cubicBezTo>
                  <a:pt x="90" y="66"/>
                  <a:pt x="79" y="65"/>
                  <a:pt x="73" y="63"/>
                </a:cubicBezTo>
                <a:cubicBezTo>
                  <a:pt x="76" y="60"/>
                  <a:pt x="78" y="57"/>
                  <a:pt x="80" y="53"/>
                </a:cubicBezTo>
                <a:close/>
                <a:moveTo>
                  <a:pt x="62" y="82"/>
                </a:moveTo>
                <a:cubicBezTo>
                  <a:pt x="64" y="88"/>
                  <a:pt x="68" y="94"/>
                  <a:pt x="74" y="101"/>
                </a:cubicBezTo>
                <a:cubicBezTo>
                  <a:pt x="79" y="106"/>
                  <a:pt x="85" y="111"/>
                  <a:pt x="90" y="115"/>
                </a:cubicBezTo>
                <a:cubicBezTo>
                  <a:pt x="92" y="117"/>
                  <a:pt x="93" y="118"/>
                  <a:pt x="95" y="119"/>
                </a:cubicBezTo>
                <a:cubicBezTo>
                  <a:pt x="95" y="120"/>
                  <a:pt x="96" y="121"/>
                  <a:pt x="96" y="121"/>
                </a:cubicBezTo>
                <a:cubicBezTo>
                  <a:pt x="95" y="122"/>
                  <a:pt x="94" y="123"/>
                  <a:pt x="90" y="122"/>
                </a:cubicBezTo>
                <a:cubicBezTo>
                  <a:pt x="90" y="122"/>
                  <a:pt x="72" y="120"/>
                  <a:pt x="64" y="100"/>
                </a:cubicBezTo>
                <a:cubicBezTo>
                  <a:pt x="61" y="93"/>
                  <a:pt x="61" y="87"/>
                  <a:pt x="62" y="8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14">
            <a:extLst>
              <a:ext uri="{FF2B5EF4-FFF2-40B4-BE49-F238E27FC236}">
                <a16:creationId xmlns:a16="http://schemas.microsoft.com/office/drawing/2014/main" id="{81AD882F-7493-4E63-B4C5-3763099BACBE}"/>
              </a:ext>
            </a:extLst>
          </p:cNvPr>
          <p:cNvSpPr>
            <a:spLocks noEditPoints="1"/>
          </p:cNvSpPr>
          <p:nvPr/>
        </p:nvSpPr>
        <p:spPr bwMode="auto">
          <a:xfrm>
            <a:off x="10760792" y="3496917"/>
            <a:ext cx="396149" cy="426804"/>
          </a:xfrm>
          <a:custGeom>
            <a:avLst/>
            <a:gdLst>
              <a:gd name="T0" fmla="*/ 109 w 126"/>
              <a:gd name="T1" fmla="*/ 90 h 135"/>
              <a:gd name="T2" fmla="*/ 83 w 126"/>
              <a:gd name="T3" fmla="*/ 77 h 135"/>
              <a:gd name="T4" fmla="*/ 120 w 126"/>
              <a:gd name="T5" fmla="*/ 50 h 135"/>
              <a:gd name="T6" fmla="*/ 86 w 126"/>
              <a:gd name="T7" fmla="*/ 38 h 135"/>
              <a:gd name="T8" fmla="*/ 77 w 126"/>
              <a:gd name="T9" fmla="*/ 0 h 135"/>
              <a:gd name="T10" fmla="*/ 56 w 126"/>
              <a:gd name="T11" fmla="*/ 24 h 135"/>
              <a:gd name="T12" fmla="*/ 75 w 126"/>
              <a:gd name="T13" fmla="*/ 14 h 135"/>
              <a:gd name="T14" fmla="*/ 33 w 126"/>
              <a:gd name="T15" fmla="*/ 14 h 135"/>
              <a:gd name="T16" fmla="*/ 36 w 126"/>
              <a:gd name="T17" fmla="*/ 67 h 135"/>
              <a:gd name="T18" fmla="*/ 43 w 126"/>
              <a:gd name="T19" fmla="*/ 57 h 135"/>
              <a:gd name="T20" fmla="*/ 53 w 126"/>
              <a:gd name="T21" fmla="*/ 70 h 135"/>
              <a:gd name="T22" fmla="*/ 34 w 126"/>
              <a:gd name="T23" fmla="*/ 86 h 135"/>
              <a:gd name="T24" fmla="*/ 10 w 126"/>
              <a:gd name="T25" fmla="*/ 92 h 135"/>
              <a:gd name="T26" fmla="*/ 14 w 126"/>
              <a:gd name="T27" fmla="*/ 119 h 135"/>
              <a:gd name="T28" fmla="*/ 21 w 126"/>
              <a:gd name="T29" fmla="*/ 120 h 135"/>
              <a:gd name="T30" fmla="*/ 46 w 126"/>
              <a:gd name="T31" fmla="*/ 124 h 135"/>
              <a:gd name="T32" fmla="*/ 52 w 126"/>
              <a:gd name="T33" fmla="*/ 132 h 135"/>
              <a:gd name="T34" fmla="*/ 58 w 126"/>
              <a:gd name="T35" fmla="*/ 127 h 135"/>
              <a:gd name="T36" fmla="*/ 89 w 126"/>
              <a:gd name="T37" fmla="*/ 134 h 135"/>
              <a:gd name="T38" fmla="*/ 107 w 126"/>
              <a:gd name="T39" fmla="*/ 126 h 135"/>
              <a:gd name="T40" fmla="*/ 112 w 126"/>
              <a:gd name="T41" fmla="*/ 119 h 135"/>
              <a:gd name="T42" fmla="*/ 125 w 126"/>
              <a:gd name="T43" fmla="*/ 105 h 135"/>
              <a:gd name="T44" fmla="*/ 17 w 126"/>
              <a:gd name="T45" fmla="*/ 108 h 135"/>
              <a:gd name="T46" fmla="*/ 14 w 126"/>
              <a:gd name="T47" fmla="*/ 103 h 135"/>
              <a:gd name="T48" fmla="*/ 38 w 126"/>
              <a:gd name="T49" fmla="*/ 97 h 135"/>
              <a:gd name="T50" fmla="*/ 51 w 126"/>
              <a:gd name="T51" fmla="*/ 97 h 135"/>
              <a:gd name="T52" fmla="*/ 80 w 126"/>
              <a:gd name="T53" fmla="*/ 53 h 135"/>
              <a:gd name="T54" fmla="*/ 98 w 126"/>
              <a:gd name="T55" fmla="*/ 61 h 135"/>
              <a:gd name="T56" fmla="*/ 80 w 126"/>
              <a:gd name="T57" fmla="*/ 53 h 135"/>
              <a:gd name="T58" fmla="*/ 90 w 126"/>
              <a:gd name="T59" fmla="*/ 122 h 135"/>
              <a:gd name="T60" fmla="*/ 62 w 126"/>
              <a:gd name="T61" fmla="*/ 82 h 135"/>
              <a:gd name="T62" fmla="*/ 90 w 126"/>
              <a:gd name="T63" fmla="*/ 116 h 135"/>
              <a:gd name="T64" fmla="*/ 96 w 126"/>
              <a:gd name="T65" fmla="*/ 121 h 135"/>
              <a:gd name="T66" fmla="*/ 102 w 126"/>
              <a:gd name="T67" fmla="*/ 108 h 135"/>
              <a:gd name="T68" fmla="*/ 98 w 126"/>
              <a:gd name="T69" fmla="*/ 106 h 135"/>
              <a:gd name="T70" fmla="*/ 107 w 126"/>
              <a:gd name="T71" fmla="*/ 102 h 135"/>
              <a:gd name="T72" fmla="*/ 1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5" y="92"/>
                </a:moveTo>
                <a:cubicBezTo>
                  <a:pt x="114" y="91"/>
                  <a:pt x="112" y="91"/>
                  <a:pt x="109" y="90"/>
                </a:cubicBezTo>
                <a:cubicBezTo>
                  <a:pt x="100" y="88"/>
                  <a:pt x="84" y="85"/>
                  <a:pt x="75" y="76"/>
                </a:cubicBezTo>
                <a:cubicBezTo>
                  <a:pt x="77" y="76"/>
                  <a:pt x="80" y="77"/>
                  <a:pt x="83" y="77"/>
                </a:cubicBezTo>
                <a:cubicBezTo>
                  <a:pt x="90" y="77"/>
                  <a:pt x="97" y="76"/>
                  <a:pt x="104" y="72"/>
                </a:cubicBezTo>
                <a:cubicBezTo>
                  <a:pt x="112" y="67"/>
                  <a:pt x="117" y="60"/>
                  <a:pt x="120" y="50"/>
                </a:cubicBezTo>
                <a:cubicBezTo>
                  <a:pt x="121" y="48"/>
                  <a:pt x="120" y="45"/>
                  <a:pt x="118" y="44"/>
                </a:cubicBezTo>
                <a:cubicBezTo>
                  <a:pt x="117" y="43"/>
                  <a:pt x="103" y="34"/>
                  <a:pt x="86" y="38"/>
                </a:cubicBezTo>
                <a:cubicBezTo>
                  <a:pt x="91" y="19"/>
                  <a:pt x="84" y="4"/>
                  <a:pt x="83" y="4"/>
                </a:cubicBezTo>
                <a:cubicBezTo>
                  <a:pt x="82" y="1"/>
                  <a:pt x="79" y="0"/>
                  <a:pt x="77" y="0"/>
                </a:cubicBezTo>
                <a:cubicBezTo>
                  <a:pt x="64" y="3"/>
                  <a:pt x="56" y="15"/>
                  <a:pt x="55" y="15"/>
                </a:cubicBezTo>
                <a:cubicBezTo>
                  <a:pt x="53" y="18"/>
                  <a:pt x="54" y="22"/>
                  <a:pt x="56" y="24"/>
                </a:cubicBezTo>
                <a:cubicBezTo>
                  <a:pt x="59" y="26"/>
                  <a:pt x="63" y="25"/>
                  <a:pt x="65" y="22"/>
                </a:cubicBezTo>
                <a:cubicBezTo>
                  <a:pt x="65" y="22"/>
                  <a:pt x="69" y="17"/>
                  <a:pt x="75" y="14"/>
                </a:cubicBezTo>
                <a:cubicBezTo>
                  <a:pt x="77" y="22"/>
                  <a:pt x="79" y="39"/>
                  <a:pt x="63" y="56"/>
                </a:cubicBezTo>
                <a:cubicBezTo>
                  <a:pt x="59" y="28"/>
                  <a:pt x="45" y="17"/>
                  <a:pt x="33" y="14"/>
                </a:cubicBezTo>
                <a:cubicBezTo>
                  <a:pt x="30" y="13"/>
                  <a:pt x="27" y="14"/>
                  <a:pt x="26" y="17"/>
                </a:cubicBezTo>
                <a:cubicBezTo>
                  <a:pt x="21" y="28"/>
                  <a:pt x="16" y="53"/>
                  <a:pt x="36" y="67"/>
                </a:cubicBezTo>
                <a:cubicBezTo>
                  <a:pt x="39" y="69"/>
                  <a:pt x="43" y="68"/>
                  <a:pt x="45" y="66"/>
                </a:cubicBezTo>
                <a:cubicBezTo>
                  <a:pt x="46" y="63"/>
                  <a:pt x="46" y="59"/>
                  <a:pt x="43" y="57"/>
                </a:cubicBezTo>
                <a:cubicBezTo>
                  <a:pt x="31" y="49"/>
                  <a:pt x="33" y="35"/>
                  <a:pt x="35" y="27"/>
                </a:cubicBezTo>
                <a:cubicBezTo>
                  <a:pt x="46" y="34"/>
                  <a:pt x="52" y="48"/>
                  <a:pt x="53" y="70"/>
                </a:cubicBezTo>
                <a:cubicBezTo>
                  <a:pt x="53" y="70"/>
                  <a:pt x="53" y="70"/>
                  <a:pt x="52" y="71"/>
                </a:cubicBezTo>
                <a:cubicBezTo>
                  <a:pt x="49" y="76"/>
                  <a:pt x="46" y="82"/>
                  <a:pt x="34" y="86"/>
                </a:cubicBezTo>
                <a:cubicBezTo>
                  <a:pt x="28" y="88"/>
                  <a:pt x="22" y="89"/>
                  <a:pt x="17" y="90"/>
                </a:cubicBezTo>
                <a:cubicBezTo>
                  <a:pt x="14" y="90"/>
                  <a:pt x="12" y="91"/>
                  <a:pt x="10" y="92"/>
                </a:cubicBezTo>
                <a:cubicBezTo>
                  <a:pt x="4" y="94"/>
                  <a:pt x="0" y="99"/>
                  <a:pt x="0" y="105"/>
                </a:cubicBezTo>
                <a:cubicBezTo>
                  <a:pt x="0" y="112"/>
                  <a:pt x="6" y="117"/>
                  <a:pt x="14" y="119"/>
                </a:cubicBezTo>
                <a:cubicBezTo>
                  <a:pt x="14" y="119"/>
                  <a:pt x="14" y="119"/>
                  <a:pt x="14" y="119"/>
                </a:cubicBezTo>
                <a:cubicBezTo>
                  <a:pt x="15" y="119"/>
                  <a:pt x="17" y="120"/>
                  <a:pt x="21" y="120"/>
                </a:cubicBezTo>
                <a:cubicBezTo>
                  <a:pt x="28" y="120"/>
                  <a:pt x="39" y="119"/>
                  <a:pt x="49" y="113"/>
                </a:cubicBezTo>
                <a:cubicBezTo>
                  <a:pt x="48" y="119"/>
                  <a:pt x="47" y="123"/>
                  <a:pt x="46" y="124"/>
                </a:cubicBezTo>
                <a:cubicBezTo>
                  <a:pt x="46" y="125"/>
                  <a:pt x="46" y="125"/>
                  <a:pt x="46" y="126"/>
                </a:cubicBezTo>
                <a:cubicBezTo>
                  <a:pt x="46" y="129"/>
                  <a:pt x="49" y="131"/>
                  <a:pt x="52" y="132"/>
                </a:cubicBezTo>
                <a:cubicBezTo>
                  <a:pt x="52" y="132"/>
                  <a:pt x="52" y="132"/>
                  <a:pt x="52" y="132"/>
                </a:cubicBezTo>
                <a:cubicBezTo>
                  <a:pt x="55" y="132"/>
                  <a:pt x="57" y="130"/>
                  <a:pt x="58" y="127"/>
                </a:cubicBezTo>
                <a:cubicBezTo>
                  <a:pt x="58" y="127"/>
                  <a:pt x="59" y="123"/>
                  <a:pt x="60" y="117"/>
                </a:cubicBezTo>
                <a:cubicBezTo>
                  <a:pt x="72" y="132"/>
                  <a:pt x="88" y="134"/>
                  <a:pt x="89" y="134"/>
                </a:cubicBezTo>
                <a:cubicBezTo>
                  <a:pt x="90" y="134"/>
                  <a:pt x="91" y="135"/>
                  <a:pt x="92" y="135"/>
                </a:cubicBezTo>
                <a:cubicBezTo>
                  <a:pt x="99" y="135"/>
                  <a:pt x="104" y="131"/>
                  <a:pt x="107" y="126"/>
                </a:cubicBezTo>
                <a:cubicBezTo>
                  <a:pt x="107" y="124"/>
                  <a:pt x="108" y="122"/>
                  <a:pt x="108" y="120"/>
                </a:cubicBezTo>
                <a:cubicBezTo>
                  <a:pt x="109" y="120"/>
                  <a:pt x="111" y="120"/>
                  <a:pt x="112" y="119"/>
                </a:cubicBezTo>
                <a:cubicBezTo>
                  <a:pt x="112" y="119"/>
                  <a:pt x="112" y="119"/>
                  <a:pt x="112" y="119"/>
                </a:cubicBezTo>
                <a:cubicBezTo>
                  <a:pt x="120" y="117"/>
                  <a:pt x="125" y="112"/>
                  <a:pt x="125" y="105"/>
                </a:cubicBezTo>
                <a:cubicBezTo>
                  <a:pt x="126" y="99"/>
                  <a:pt x="122" y="94"/>
                  <a:pt x="115" y="92"/>
                </a:cubicBezTo>
                <a:close/>
                <a:moveTo>
                  <a:pt x="17" y="108"/>
                </a:moveTo>
                <a:cubicBezTo>
                  <a:pt x="13" y="107"/>
                  <a:pt x="12" y="105"/>
                  <a:pt x="12" y="105"/>
                </a:cubicBezTo>
                <a:cubicBezTo>
                  <a:pt x="12" y="104"/>
                  <a:pt x="13" y="103"/>
                  <a:pt x="14" y="103"/>
                </a:cubicBezTo>
                <a:cubicBezTo>
                  <a:pt x="15" y="103"/>
                  <a:pt x="17" y="102"/>
                  <a:pt x="20" y="102"/>
                </a:cubicBezTo>
                <a:cubicBezTo>
                  <a:pt x="25" y="101"/>
                  <a:pt x="31" y="99"/>
                  <a:pt x="38" y="97"/>
                </a:cubicBezTo>
                <a:cubicBezTo>
                  <a:pt x="43" y="95"/>
                  <a:pt x="47" y="94"/>
                  <a:pt x="50" y="92"/>
                </a:cubicBezTo>
                <a:cubicBezTo>
                  <a:pt x="50" y="93"/>
                  <a:pt x="50" y="95"/>
                  <a:pt x="51" y="97"/>
                </a:cubicBezTo>
                <a:cubicBezTo>
                  <a:pt x="36" y="110"/>
                  <a:pt x="19" y="108"/>
                  <a:pt x="17" y="108"/>
                </a:cubicBezTo>
                <a:close/>
                <a:moveTo>
                  <a:pt x="80" y="53"/>
                </a:moveTo>
                <a:cubicBezTo>
                  <a:pt x="91" y="46"/>
                  <a:pt x="101" y="49"/>
                  <a:pt x="107" y="51"/>
                </a:cubicBezTo>
                <a:cubicBezTo>
                  <a:pt x="105" y="56"/>
                  <a:pt x="102" y="59"/>
                  <a:pt x="98" y="61"/>
                </a:cubicBezTo>
                <a:cubicBezTo>
                  <a:pt x="90" y="66"/>
                  <a:pt x="79" y="65"/>
                  <a:pt x="73" y="64"/>
                </a:cubicBezTo>
                <a:cubicBezTo>
                  <a:pt x="76" y="60"/>
                  <a:pt x="78" y="57"/>
                  <a:pt x="80" y="53"/>
                </a:cubicBezTo>
                <a:close/>
                <a:moveTo>
                  <a:pt x="96" y="121"/>
                </a:moveTo>
                <a:cubicBezTo>
                  <a:pt x="95" y="122"/>
                  <a:pt x="93" y="123"/>
                  <a:pt x="90" y="122"/>
                </a:cubicBezTo>
                <a:cubicBezTo>
                  <a:pt x="90" y="122"/>
                  <a:pt x="72" y="120"/>
                  <a:pt x="64" y="100"/>
                </a:cubicBezTo>
                <a:cubicBezTo>
                  <a:pt x="61" y="93"/>
                  <a:pt x="61" y="87"/>
                  <a:pt x="62" y="82"/>
                </a:cubicBezTo>
                <a:cubicBezTo>
                  <a:pt x="64" y="88"/>
                  <a:pt x="68" y="94"/>
                  <a:pt x="74" y="101"/>
                </a:cubicBezTo>
                <a:cubicBezTo>
                  <a:pt x="79" y="106"/>
                  <a:pt x="85" y="111"/>
                  <a:pt x="90" y="116"/>
                </a:cubicBezTo>
                <a:cubicBezTo>
                  <a:pt x="92" y="117"/>
                  <a:pt x="93" y="118"/>
                  <a:pt x="95" y="119"/>
                </a:cubicBezTo>
                <a:cubicBezTo>
                  <a:pt x="95" y="120"/>
                  <a:pt x="96" y="121"/>
                  <a:pt x="96" y="121"/>
                </a:cubicBezTo>
                <a:close/>
                <a:moveTo>
                  <a:pt x="109" y="108"/>
                </a:moveTo>
                <a:cubicBezTo>
                  <a:pt x="108" y="108"/>
                  <a:pt x="106" y="108"/>
                  <a:pt x="102" y="108"/>
                </a:cubicBezTo>
                <a:cubicBezTo>
                  <a:pt x="102" y="108"/>
                  <a:pt x="101" y="108"/>
                  <a:pt x="101" y="108"/>
                </a:cubicBezTo>
                <a:cubicBezTo>
                  <a:pt x="100" y="108"/>
                  <a:pt x="99" y="107"/>
                  <a:pt x="98" y="106"/>
                </a:cubicBezTo>
                <a:cubicBezTo>
                  <a:pt x="94" y="103"/>
                  <a:pt x="90" y="100"/>
                  <a:pt x="86" y="96"/>
                </a:cubicBezTo>
                <a:cubicBezTo>
                  <a:pt x="93" y="99"/>
                  <a:pt x="101" y="101"/>
                  <a:pt x="107" y="102"/>
                </a:cubicBezTo>
                <a:cubicBezTo>
                  <a:pt x="109" y="102"/>
                  <a:pt x="111" y="103"/>
                  <a:pt x="112" y="103"/>
                </a:cubicBezTo>
                <a:cubicBezTo>
                  <a:pt x="113" y="103"/>
                  <a:pt x="114" y="104"/>
                  <a:pt x="113" y="105"/>
                </a:cubicBezTo>
                <a:cubicBezTo>
                  <a:pt x="113" y="105"/>
                  <a:pt x="112" y="107"/>
                  <a:pt x="109"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15">
            <a:extLst>
              <a:ext uri="{FF2B5EF4-FFF2-40B4-BE49-F238E27FC236}">
                <a16:creationId xmlns:a16="http://schemas.microsoft.com/office/drawing/2014/main" id="{C8FBEE8F-37B2-4E23-B97C-2A2B8251CB0A}"/>
              </a:ext>
            </a:extLst>
          </p:cNvPr>
          <p:cNvSpPr>
            <a:spLocks noEditPoints="1"/>
          </p:cNvSpPr>
          <p:nvPr/>
        </p:nvSpPr>
        <p:spPr bwMode="auto">
          <a:xfrm>
            <a:off x="10760792" y="3067755"/>
            <a:ext cx="396149" cy="423267"/>
          </a:xfrm>
          <a:custGeom>
            <a:avLst/>
            <a:gdLst>
              <a:gd name="T0" fmla="*/ 109 w 126"/>
              <a:gd name="T1" fmla="*/ 90 h 134"/>
              <a:gd name="T2" fmla="*/ 83 w 126"/>
              <a:gd name="T3" fmla="*/ 77 h 134"/>
              <a:gd name="T4" fmla="*/ 120 w 126"/>
              <a:gd name="T5" fmla="*/ 50 h 134"/>
              <a:gd name="T6" fmla="*/ 86 w 126"/>
              <a:gd name="T7" fmla="*/ 38 h 134"/>
              <a:gd name="T8" fmla="*/ 77 w 126"/>
              <a:gd name="T9" fmla="*/ 0 h 134"/>
              <a:gd name="T10" fmla="*/ 56 w 126"/>
              <a:gd name="T11" fmla="*/ 23 h 134"/>
              <a:gd name="T12" fmla="*/ 75 w 126"/>
              <a:gd name="T13" fmla="*/ 14 h 134"/>
              <a:gd name="T14" fmla="*/ 33 w 126"/>
              <a:gd name="T15" fmla="*/ 13 h 134"/>
              <a:gd name="T16" fmla="*/ 36 w 126"/>
              <a:gd name="T17" fmla="*/ 67 h 134"/>
              <a:gd name="T18" fmla="*/ 43 w 126"/>
              <a:gd name="T19" fmla="*/ 57 h 134"/>
              <a:gd name="T20" fmla="*/ 53 w 126"/>
              <a:gd name="T21" fmla="*/ 70 h 134"/>
              <a:gd name="T22" fmla="*/ 34 w 126"/>
              <a:gd name="T23" fmla="*/ 85 h 134"/>
              <a:gd name="T24" fmla="*/ 10 w 126"/>
              <a:gd name="T25" fmla="*/ 91 h 134"/>
              <a:gd name="T26" fmla="*/ 14 w 126"/>
              <a:gd name="T27" fmla="*/ 119 h 134"/>
              <a:gd name="T28" fmla="*/ 21 w 126"/>
              <a:gd name="T29" fmla="*/ 120 h 134"/>
              <a:gd name="T30" fmla="*/ 47 w 126"/>
              <a:gd name="T31" fmla="*/ 124 h 134"/>
              <a:gd name="T32" fmla="*/ 52 w 126"/>
              <a:gd name="T33" fmla="*/ 132 h 134"/>
              <a:gd name="T34" fmla="*/ 60 w 126"/>
              <a:gd name="T35" fmla="*/ 117 h 134"/>
              <a:gd name="T36" fmla="*/ 92 w 126"/>
              <a:gd name="T37" fmla="*/ 134 h 134"/>
              <a:gd name="T38" fmla="*/ 108 w 126"/>
              <a:gd name="T39" fmla="*/ 120 h 134"/>
              <a:gd name="T40" fmla="*/ 112 w 126"/>
              <a:gd name="T41" fmla="*/ 119 h 134"/>
              <a:gd name="T42" fmla="*/ 115 w 126"/>
              <a:gd name="T43" fmla="*/ 91 h 134"/>
              <a:gd name="T44" fmla="*/ 12 w 126"/>
              <a:gd name="T45" fmla="*/ 105 h 134"/>
              <a:gd name="T46" fmla="*/ 20 w 126"/>
              <a:gd name="T47" fmla="*/ 101 h 134"/>
              <a:gd name="T48" fmla="*/ 50 w 126"/>
              <a:gd name="T49" fmla="*/ 91 h 134"/>
              <a:gd name="T50" fmla="*/ 17 w 126"/>
              <a:gd name="T51" fmla="*/ 108 h 134"/>
              <a:gd name="T52" fmla="*/ 107 w 126"/>
              <a:gd name="T53" fmla="*/ 51 h 134"/>
              <a:gd name="T54" fmla="*/ 73 w 126"/>
              <a:gd name="T55" fmla="*/ 64 h 134"/>
              <a:gd name="T56" fmla="*/ 96 w 126"/>
              <a:gd name="T57" fmla="*/ 121 h 134"/>
              <a:gd name="T58" fmla="*/ 64 w 126"/>
              <a:gd name="T59" fmla="*/ 100 h 134"/>
              <a:gd name="T60" fmla="*/ 74 w 126"/>
              <a:gd name="T61" fmla="*/ 101 h 134"/>
              <a:gd name="T62" fmla="*/ 95 w 126"/>
              <a:gd name="T63" fmla="*/ 119 h 134"/>
              <a:gd name="T64" fmla="*/ 109 w 126"/>
              <a:gd name="T65" fmla="*/ 108 h 134"/>
              <a:gd name="T66" fmla="*/ 100 w 126"/>
              <a:gd name="T67" fmla="*/ 108 h 134"/>
              <a:gd name="T68" fmla="*/ 86 w 126"/>
              <a:gd name="T69" fmla="*/ 96 h 134"/>
              <a:gd name="T70" fmla="*/ 112 w 126"/>
              <a:gd name="T71" fmla="*/ 103 h 134"/>
              <a:gd name="T72" fmla="*/ 109 w 126"/>
              <a:gd name="T73" fmla="*/ 10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4">
                <a:moveTo>
                  <a:pt x="115" y="91"/>
                </a:moveTo>
                <a:cubicBezTo>
                  <a:pt x="114" y="91"/>
                  <a:pt x="112" y="90"/>
                  <a:pt x="109" y="90"/>
                </a:cubicBezTo>
                <a:cubicBezTo>
                  <a:pt x="100" y="88"/>
                  <a:pt x="84" y="84"/>
                  <a:pt x="75" y="76"/>
                </a:cubicBezTo>
                <a:cubicBezTo>
                  <a:pt x="77" y="76"/>
                  <a:pt x="80" y="77"/>
                  <a:pt x="83" y="77"/>
                </a:cubicBezTo>
                <a:cubicBezTo>
                  <a:pt x="90" y="77"/>
                  <a:pt x="97" y="75"/>
                  <a:pt x="104" y="72"/>
                </a:cubicBezTo>
                <a:cubicBezTo>
                  <a:pt x="112" y="67"/>
                  <a:pt x="117" y="60"/>
                  <a:pt x="120" y="50"/>
                </a:cubicBezTo>
                <a:cubicBezTo>
                  <a:pt x="121" y="48"/>
                  <a:pt x="120" y="45"/>
                  <a:pt x="118" y="44"/>
                </a:cubicBezTo>
                <a:cubicBezTo>
                  <a:pt x="117" y="43"/>
                  <a:pt x="103" y="34"/>
                  <a:pt x="86" y="38"/>
                </a:cubicBezTo>
                <a:cubicBezTo>
                  <a:pt x="91" y="18"/>
                  <a:pt x="84" y="4"/>
                  <a:pt x="83" y="3"/>
                </a:cubicBezTo>
                <a:cubicBezTo>
                  <a:pt x="82" y="1"/>
                  <a:pt x="79" y="0"/>
                  <a:pt x="77" y="0"/>
                </a:cubicBezTo>
                <a:cubicBezTo>
                  <a:pt x="64" y="3"/>
                  <a:pt x="56" y="15"/>
                  <a:pt x="55" y="15"/>
                </a:cubicBezTo>
                <a:cubicBezTo>
                  <a:pt x="53" y="18"/>
                  <a:pt x="54" y="21"/>
                  <a:pt x="56" y="23"/>
                </a:cubicBezTo>
                <a:cubicBezTo>
                  <a:pt x="59" y="25"/>
                  <a:pt x="63" y="25"/>
                  <a:pt x="65" y="22"/>
                </a:cubicBezTo>
                <a:cubicBezTo>
                  <a:pt x="65" y="22"/>
                  <a:pt x="69" y="17"/>
                  <a:pt x="75" y="14"/>
                </a:cubicBezTo>
                <a:cubicBezTo>
                  <a:pt x="77" y="22"/>
                  <a:pt x="79" y="39"/>
                  <a:pt x="63" y="56"/>
                </a:cubicBezTo>
                <a:cubicBezTo>
                  <a:pt x="59" y="28"/>
                  <a:pt x="45" y="17"/>
                  <a:pt x="33" y="13"/>
                </a:cubicBezTo>
                <a:cubicBezTo>
                  <a:pt x="30" y="12"/>
                  <a:pt x="27" y="14"/>
                  <a:pt x="26" y="17"/>
                </a:cubicBezTo>
                <a:cubicBezTo>
                  <a:pt x="21" y="28"/>
                  <a:pt x="16" y="53"/>
                  <a:pt x="36" y="67"/>
                </a:cubicBezTo>
                <a:cubicBezTo>
                  <a:pt x="39" y="69"/>
                  <a:pt x="43" y="68"/>
                  <a:pt x="45" y="66"/>
                </a:cubicBezTo>
                <a:cubicBezTo>
                  <a:pt x="46" y="63"/>
                  <a:pt x="46" y="59"/>
                  <a:pt x="43" y="57"/>
                </a:cubicBezTo>
                <a:cubicBezTo>
                  <a:pt x="31" y="49"/>
                  <a:pt x="33" y="35"/>
                  <a:pt x="35" y="27"/>
                </a:cubicBezTo>
                <a:cubicBezTo>
                  <a:pt x="46" y="34"/>
                  <a:pt x="52" y="48"/>
                  <a:pt x="53" y="70"/>
                </a:cubicBezTo>
                <a:cubicBezTo>
                  <a:pt x="53" y="70"/>
                  <a:pt x="53" y="70"/>
                  <a:pt x="52" y="70"/>
                </a:cubicBezTo>
                <a:cubicBezTo>
                  <a:pt x="49" y="76"/>
                  <a:pt x="46" y="82"/>
                  <a:pt x="34" y="85"/>
                </a:cubicBezTo>
                <a:cubicBezTo>
                  <a:pt x="28" y="87"/>
                  <a:pt x="22" y="89"/>
                  <a:pt x="17" y="90"/>
                </a:cubicBezTo>
                <a:cubicBezTo>
                  <a:pt x="14" y="90"/>
                  <a:pt x="12" y="91"/>
                  <a:pt x="10" y="91"/>
                </a:cubicBezTo>
                <a:cubicBezTo>
                  <a:pt x="4" y="93"/>
                  <a:pt x="0" y="99"/>
                  <a:pt x="0" y="105"/>
                </a:cubicBezTo>
                <a:cubicBezTo>
                  <a:pt x="0" y="112"/>
                  <a:pt x="6" y="117"/>
                  <a:pt x="14" y="119"/>
                </a:cubicBezTo>
                <a:cubicBezTo>
                  <a:pt x="14" y="119"/>
                  <a:pt x="14" y="119"/>
                  <a:pt x="14" y="119"/>
                </a:cubicBezTo>
                <a:cubicBezTo>
                  <a:pt x="15" y="119"/>
                  <a:pt x="17" y="120"/>
                  <a:pt x="21" y="120"/>
                </a:cubicBezTo>
                <a:cubicBezTo>
                  <a:pt x="28" y="120"/>
                  <a:pt x="39" y="119"/>
                  <a:pt x="49" y="113"/>
                </a:cubicBezTo>
                <a:cubicBezTo>
                  <a:pt x="48" y="119"/>
                  <a:pt x="47" y="123"/>
                  <a:pt x="47" y="124"/>
                </a:cubicBezTo>
                <a:cubicBezTo>
                  <a:pt x="46" y="124"/>
                  <a:pt x="46" y="125"/>
                  <a:pt x="46" y="126"/>
                </a:cubicBezTo>
                <a:cubicBezTo>
                  <a:pt x="46" y="129"/>
                  <a:pt x="49" y="132"/>
                  <a:pt x="52" y="132"/>
                </a:cubicBezTo>
                <a:cubicBezTo>
                  <a:pt x="55" y="132"/>
                  <a:pt x="58" y="130"/>
                  <a:pt x="58" y="127"/>
                </a:cubicBezTo>
                <a:cubicBezTo>
                  <a:pt x="58" y="126"/>
                  <a:pt x="59" y="122"/>
                  <a:pt x="60" y="117"/>
                </a:cubicBezTo>
                <a:cubicBezTo>
                  <a:pt x="72" y="132"/>
                  <a:pt x="88" y="134"/>
                  <a:pt x="89" y="134"/>
                </a:cubicBezTo>
                <a:cubicBezTo>
                  <a:pt x="90" y="134"/>
                  <a:pt x="91" y="134"/>
                  <a:pt x="92" y="134"/>
                </a:cubicBezTo>
                <a:cubicBezTo>
                  <a:pt x="99" y="134"/>
                  <a:pt x="104" y="131"/>
                  <a:pt x="107" y="126"/>
                </a:cubicBezTo>
                <a:cubicBezTo>
                  <a:pt x="107" y="124"/>
                  <a:pt x="108" y="122"/>
                  <a:pt x="108" y="120"/>
                </a:cubicBezTo>
                <a:cubicBezTo>
                  <a:pt x="110" y="120"/>
                  <a:pt x="111" y="119"/>
                  <a:pt x="112" y="119"/>
                </a:cubicBezTo>
                <a:cubicBezTo>
                  <a:pt x="112" y="119"/>
                  <a:pt x="112" y="119"/>
                  <a:pt x="112" y="119"/>
                </a:cubicBezTo>
                <a:cubicBezTo>
                  <a:pt x="120" y="117"/>
                  <a:pt x="125" y="112"/>
                  <a:pt x="125" y="105"/>
                </a:cubicBezTo>
                <a:cubicBezTo>
                  <a:pt x="126" y="99"/>
                  <a:pt x="122" y="93"/>
                  <a:pt x="115" y="91"/>
                </a:cubicBezTo>
                <a:close/>
                <a:moveTo>
                  <a:pt x="17" y="108"/>
                </a:moveTo>
                <a:cubicBezTo>
                  <a:pt x="13" y="107"/>
                  <a:pt x="12" y="105"/>
                  <a:pt x="12" y="105"/>
                </a:cubicBezTo>
                <a:cubicBezTo>
                  <a:pt x="12" y="104"/>
                  <a:pt x="13" y="103"/>
                  <a:pt x="14" y="103"/>
                </a:cubicBezTo>
                <a:cubicBezTo>
                  <a:pt x="15" y="102"/>
                  <a:pt x="17" y="102"/>
                  <a:pt x="20" y="101"/>
                </a:cubicBezTo>
                <a:cubicBezTo>
                  <a:pt x="25" y="100"/>
                  <a:pt x="31" y="99"/>
                  <a:pt x="38" y="97"/>
                </a:cubicBezTo>
                <a:cubicBezTo>
                  <a:pt x="43" y="95"/>
                  <a:pt x="47" y="94"/>
                  <a:pt x="50" y="91"/>
                </a:cubicBezTo>
                <a:cubicBezTo>
                  <a:pt x="50" y="93"/>
                  <a:pt x="50" y="95"/>
                  <a:pt x="51" y="97"/>
                </a:cubicBezTo>
                <a:cubicBezTo>
                  <a:pt x="36" y="110"/>
                  <a:pt x="19" y="108"/>
                  <a:pt x="17" y="108"/>
                </a:cubicBezTo>
                <a:close/>
                <a:moveTo>
                  <a:pt x="80" y="53"/>
                </a:moveTo>
                <a:cubicBezTo>
                  <a:pt x="91" y="46"/>
                  <a:pt x="101" y="49"/>
                  <a:pt x="107" y="51"/>
                </a:cubicBezTo>
                <a:cubicBezTo>
                  <a:pt x="105" y="56"/>
                  <a:pt x="102" y="59"/>
                  <a:pt x="98" y="61"/>
                </a:cubicBezTo>
                <a:cubicBezTo>
                  <a:pt x="90" y="66"/>
                  <a:pt x="79" y="65"/>
                  <a:pt x="73" y="64"/>
                </a:cubicBezTo>
                <a:cubicBezTo>
                  <a:pt x="76" y="60"/>
                  <a:pt x="78" y="57"/>
                  <a:pt x="80" y="53"/>
                </a:cubicBezTo>
                <a:close/>
                <a:moveTo>
                  <a:pt x="96" y="121"/>
                </a:moveTo>
                <a:cubicBezTo>
                  <a:pt x="95" y="122"/>
                  <a:pt x="94" y="123"/>
                  <a:pt x="90" y="122"/>
                </a:cubicBezTo>
                <a:cubicBezTo>
                  <a:pt x="90" y="122"/>
                  <a:pt x="72" y="120"/>
                  <a:pt x="64" y="100"/>
                </a:cubicBezTo>
                <a:cubicBezTo>
                  <a:pt x="61" y="93"/>
                  <a:pt x="61" y="87"/>
                  <a:pt x="62" y="82"/>
                </a:cubicBezTo>
                <a:cubicBezTo>
                  <a:pt x="64" y="88"/>
                  <a:pt x="68" y="94"/>
                  <a:pt x="74" y="101"/>
                </a:cubicBezTo>
                <a:cubicBezTo>
                  <a:pt x="79" y="106"/>
                  <a:pt x="85" y="111"/>
                  <a:pt x="90" y="116"/>
                </a:cubicBezTo>
                <a:cubicBezTo>
                  <a:pt x="92" y="117"/>
                  <a:pt x="93" y="118"/>
                  <a:pt x="95" y="119"/>
                </a:cubicBezTo>
                <a:cubicBezTo>
                  <a:pt x="95" y="120"/>
                  <a:pt x="96" y="121"/>
                  <a:pt x="96" y="121"/>
                </a:cubicBezTo>
                <a:close/>
                <a:moveTo>
                  <a:pt x="109" y="108"/>
                </a:moveTo>
                <a:cubicBezTo>
                  <a:pt x="108" y="108"/>
                  <a:pt x="106" y="108"/>
                  <a:pt x="102" y="108"/>
                </a:cubicBezTo>
                <a:cubicBezTo>
                  <a:pt x="102" y="108"/>
                  <a:pt x="101" y="108"/>
                  <a:pt x="100" y="108"/>
                </a:cubicBezTo>
                <a:cubicBezTo>
                  <a:pt x="100" y="108"/>
                  <a:pt x="99" y="107"/>
                  <a:pt x="98" y="106"/>
                </a:cubicBezTo>
                <a:cubicBezTo>
                  <a:pt x="94" y="103"/>
                  <a:pt x="90" y="100"/>
                  <a:pt x="86" y="96"/>
                </a:cubicBezTo>
                <a:cubicBezTo>
                  <a:pt x="93" y="99"/>
                  <a:pt x="101" y="100"/>
                  <a:pt x="107" y="102"/>
                </a:cubicBezTo>
                <a:cubicBezTo>
                  <a:pt x="109" y="102"/>
                  <a:pt x="111" y="103"/>
                  <a:pt x="112" y="103"/>
                </a:cubicBezTo>
                <a:cubicBezTo>
                  <a:pt x="113" y="103"/>
                  <a:pt x="114" y="104"/>
                  <a:pt x="113" y="105"/>
                </a:cubicBezTo>
                <a:cubicBezTo>
                  <a:pt x="113" y="105"/>
                  <a:pt x="112" y="107"/>
                  <a:pt x="109"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16">
            <a:extLst>
              <a:ext uri="{FF2B5EF4-FFF2-40B4-BE49-F238E27FC236}">
                <a16:creationId xmlns:a16="http://schemas.microsoft.com/office/drawing/2014/main" id="{6C3F54FC-D527-408F-AACB-4F61A3C0954C}"/>
              </a:ext>
            </a:extLst>
          </p:cNvPr>
          <p:cNvSpPr>
            <a:spLocks noEditPoints="1"/>
          </p:cNvSpPr>
          <p:nvPr/>
        </p:nvSpPr>
        <p:spPr bwMode="auto">
          <a:xfrm>
            <a:off x="10048666" y="2947495"/>
            <a:ext cx="752212" cy="543527"/>
          </a:xfrm>
          <a:custGeom>
            <a:avLst/>
            <a:gdLst>
              <a:gd name="T0" fmla="*/ 171 w 239"/>
              <a:gd name="T1" fmla="*/ 127 h 172"/>
              <a:gd name="T2" fmla="*/ 205 w 239"/>
              <a:gd name="T3" fmla="*/ 135 h 172"/>
              <a:gd name="T4" fmla="*/ 225 w 239"/>
              <a:gd name="T5" fmla="*/ 120 h 172"/>
              <a:gd name="T6" fmla="*/ 228 w 239"/>
              <a:gd name="T7" fmla="*/ 92 h 172"/>
              <a:gd name="T8" fmla="*/ 196 w 239"/>
              <a:gd name="T9" fmla="*/ 77 h 172"/>
              <a:gd name="T10" fmla="*/ 231 w 239"/>
              <a:gd name="T11" fmla="*/ 44 h 172"/>
              <a:gd name="T12" fmla="*/ 190 w 239"/>
              <a:gd name="T13" fmla="*/ 1 h 172"/>
              <a:gd name="T14" fmla="*/ 178 w 239"/>
              <a:gd name="T15" fmla="*/ 23 h 172"/>
              <a:gd name="T16" fmla="*/ 146 w 239"/>
              <a:gd name="T17" fmla="*/ 14 h 172"/>
              <a:gd name="T18" fmla="*/ 157 w 239"/>
              <a:gd name="T19" fmla="*/ 66 h 172"/>
              <a:gd name="T20" fmla="*/ 166 w 239"/>
              <a:gd name="T21" fmla="*/ 70 h 172"/>
              <a:gd name="T22" fmla="*/ 130 w 239"/>
              <a:gd name="T23" fmla="*/ 90 h 172"/>
              <a:gd name="T24" fmla="*/ 120 w 239"/>
              <a:gd name="T25" fmla="*/ 88 h 172"/>
              <a:gd name="T26" fmla="*/ 83 w 239"/>
              <a:gd name="T27" fmla="*/ 41 h 172"/>
              <a:gd name="T28" fmla="*/ 56 w 239"/>
              <a:gd name="T29" fmla="*/ 61 h 172"/>
              <a:gd name="T30" fmla="*/ 63 w 239"/>
              <a:gd name="T31" fmla="*/ 94 h 172"/>
              <a:gd name="T32" fmla="*/ 36 w 239"/>
              <a:gd name="T33" fmla="*/ 105 h 172"/>
              <a:gd name="T34" fmla="*/ 35 w 239"/>
              <a:gd name="T35" fmla="*/ 65 h 172"/>
              <a:gd name="T36" fmla="*/ 34 w 239"/>
              <a:gd name="T37" fmla="*/ 123 h 172"/>
              <a:gd name="T38" fmla="*/ 0 w 239"/>
              <a:gd name="T39" fmla="*/ 143 h 172"/>
              <a:gd name="T40" fmla="*/ 21 w 239"/>
              <a:gd name="T41" fmla="*/ 158 h 172"/>
              <a:gd name="T42" fmla="*/ 46 w 239"/>
              <a:gd name="T43" fmla="*/ 164 h 172"/>
              <a:gd name="T44" fmla="*/ 60 w 239"/>
              <a:gd name="T45" fmla="*/ 155 h 172"/>
              <a:gd name="T46" fmla="*/ 106 w 239"/>
              <a:gd name="T47" fmla="*/ 164 h 172"/>
              <a:gd name="T48" fmla="*/ 112 w 239"/>
              <a:gd name="T49" fmla="*/ 157 h 172"/>
              <a:gd name="T50" fmla="*/ 109 w 239"/>
              <a:gd name="T51" fmla="*/ 128 h 172"/>
              <a:gd name="T52" fmla="*/ 103 w 239"/>
              <a:gd name="T53" fmla="*/ 110 h 172"/>
              <a:gd name="T54" fmla="*/ 127 w 239"/>
              <a:gd name="T55" fmla="*/ 119 h 172"/>
              <a:gd name="T56" fmla="*/ 162 w 239"/>
              <a:gd name="T57" fmla="*/ 113 h 172"/>
              <a:gd name="T58" fmla="*/ 219 w 239"/>
              <a:gd name="T59" fmla="*/ 102 h 172"/>
              <a:gd name="T60" fmla="*/ 222 w 239"/>
              <a:gd name="T61" fmla="*/ 108 h 172"/>
              <a:gd name="T62" fmla="*/ 211 w 239"/>
              <a:gd name="T63" fmla="*/ 106 h 172"/>
              <a:gd name="T64" fmla="*/ 193 w 239"/>
              <a:gd name="T65" fmla="*/ 54 h 172"/>
              <a:gd name="T66" fmla="*/ 186 w 239"/>
              <a:gd name="T67" fmla="*/ 64 h 172"/>
              <a:gd name="T68" fmla="*/ 187 w 239"/>
              <a:gd name="T69" fmla="*/ 101 h 172"/>
              <a:gd name="T70" fmla="*/ 208 w 239"/>
              <a:gd name="T71" fmla="*/ 121 h 172"/>
              <a:gd name="T72" fmla="*/ 175 w 239"/>
              <a:gd name="T73" fmla="*/ 82 h 172"/>
              <a:gd name="T74" fmla="*/ 14 w 239"/>
              <a:gd name="T75" fmla="*/ 141 h 172"/>
              <a:gd name="T76" fmla="*/ 49 w 239"/>
              <a:gd name="T77" fmla="*/ 129 h 172"/>
              <a:gd name="T78" fmla="*/ 106 w 239"/>
              <a:gd name="T79" fmla="*/ 140 h 172"/>
              <a:gd name="T80" fmla="*/ 109 w 239"/>
              <a:gd name="T81" fmla="*/ 146 h 172"/>
              <a:gd name="T82" fmla="*/ 98 w 239"/>
              <a:gd name="T83" fmla="*/ 144 h 172"/>
              <a:gd name="T84" fmla="*/ 90 w 239"/>
              <a:gd name="T85" fmla="*/ 154 h 172"/>
              <a:gd name="T86" fmla="*/ 90 w 239"/>
              <a:gd name="T87" fmla="*/ 160 h 172"/>
              <a:gd name="T88" fmla="*/ 74 w 239"/>
              <a:gd name="T89" fmla="*/ 139 h 172"/>
              <a:gd name="T90" fmla="*/ 72 w 239"/>
              <a:gd name="T91" fmla="*/ 102 h 172"/>
              <a:gd name="T92" fmla="*/ 98 w 239"/>
              <a:gd name="T93" fmla="*/ 99 h 172"/>
              <a:gd name="T94" fmla="*/ 127 w 239"/>
              <a:gd name="T95" fmla="*/ 103 h 172"/>
              <a:gd name="T96" fmla="*/ 162 w 239"/>
              <a:gd name="T97"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 h="172">
                <a:moveTo>
                  <a:pt x="159" y="126"/>
                </a:moveTo>
                <a:cubicBezTo>
                  <a:pt x="159" y="129"/>
                  <a:pt x="162" y="132"/>
                  <a:pt x="165" y="132"/>
                </a:cubicBezTo>
                <a:cubicBezTo>
                  <a:pt x="168" y="132"/>
                  <a:pt x="170" y="130"/>
                  <a:pt x="171" y="127"/>
                </a:cubicBezTo>
                <a:cubicBezTo>
                  <a:pt x="171" y="126"/>
                  <a:pt x="172" y="123"/>
                  <a:pt x="173" y="117"/>
                </a:cubicBezTo>
                <a:cubicBezTo>
                  <a:pt x="185" y="132"/>
                  <a:pt x="201" y="134"/>
                  <a:pt x="201" y="134"/>
                </a:cubicBezTo>
                <a:cubicBezTo>
                  <a:pt x="203" y="135"/>
                  <a:pt x="204" y="135"/>
                  <a:pt x="205" y="135"/>
                </a:cubicBezTo>
                <a:cubicBezTo>
                  <a:pt x="212" y="135"/>
                  <a:pt x="217" y="132"/>
                  <a:pt x="219" y="126"/>
                </a:cubicBezTo>
                <a:cubicBezTo>
                  <a:pt x="220" y="124"/>
                  <a:pt x="221" y="122"/>
                  <a:pt x="220" y="120"/>
                </a:cubicBezTo>
                <a:cubicBezTo>
                  <a:pt x="222" y="120"/>
                  <a:pt x="224" y="120"/>
                  <a:pt x="225" y="120"/>
                </a:cubicBezTo>
                <a:cubicBezTo>
                  <a:pt x="225" y="120"/>
                  <a:pt x="225" y="119"/>
                  <a:pt x="225" y="119"/>
                </a:cubicBezTo>
                <a:cubicBezTo>
                  <a:pt x="233" y="117"/>
                  <a:pt x="238" y="112"/>
                  <a:pt x="238" y="105"/>
                </a:cubicBezTo>
                <a:cubicBezTo>
                  <a:pt x="239" y="99"/>
                  <a:pt x="234" y="94"/>
                  <a:pt x="228" y="92"/>
                </a:cubicBezTo>
                <a:cubicBezTo>
                  <a:pt x="227" y="91"/>
                  <a:pt x="225" y="91"/>
                  <a:pt x="222" y="90"/>
                </a:cubicBezTo>
                <a:cubicBezTo>
                  <a:pt x="213" y="88"/>
                  <a:pt x="197" y="85"/>
                  <a:pt x="188" y="76"/>
                </a:cubicBezTo>
                <a:cubicBezTo>
                  <a:pt x="190" y="77"/>
                  <a:pt x="193" y="77"/>
                  <a:pt x="196" y="77"/>
                </a:cubicBezTo>
                <a:cubicBezTo>
                  <a:pt x="202" y="77"/>
                  <a:pt x="210" y="76"/>
                  <a:pt x="217" y="72"/>
                </a:cubicBezTo>
                <a:cubicBezTo>
                  <a:pt x="225" y="68"/>
                  <a:pt x="230" y="60"/>
                  <a:pt x="233" y="50"/>
                </a:cubicBezTo>
                <a:cubicBezTo>
                  <a:pt x="233" y="48"/>
                  <a:pt x="233" y="45"/>
                  <a:pt x="231" y="44"/>
                </a:cubicBezTo>
                <a:cubicBezTo>
                  <a:pt x="230" y="43"/>
                  <a:pt x="216" y="34"/>
                  <a:pt x="199" y="38"/>
                </a:cubicBezTo>
                <a:cubicBezTo>
                  <a:pt x="204" y="19"/>
                  <a:pt x="196" y="4"/>
                  <a:pt x="196" y="4"/>
                </a:cubicBezTo>
                <a:cubicBezTo>
                  <a:pt x="195" y="1"/>
                  <a:pt x="192" y="0"/>
                  <a:pt x="190" y="1"/>
                </a:cubicBezTo>
                <a:cubicBezTo>
                  <a:pt x="177" y="3"/>
                  <a:pt x="168" y="15"/>
                  <a:pt x="168" y="15"/>
                </a:cubicBezTo>
                <a:cubicBezTo>
                  <a:pt x="166" y="18"/>
                  <a:pt x="167" y="22"/>
                  <a:pt x="169" y="24"/>
                </a:cubicBezTo>
                <a:cubicBezTo>
                  <a:pt x="172" y="26"/>
                  <a:pt x="176" y="25"/>
                  <a:pt x="178" y="23"/>
                </a:cubicBezTo>
                <a:cubicBezTo>
                  <a:pt x="178" y="22"/>
                  <a:pt x="182" y="17"/>
                  <a:pt x="187" y="14"/>
                </a:cubicBezTo>
                <a:cubicBezTo>
                  <a:pt x="190" y="22"/>
                  <a:pt x="191" y="39"/>
                  <a:pt x="176" y="56"/>
                </a:cubicBezTo>
                <a:cubicBezTo>
                  <a:pt x="172" y="28"/>
                  <a:pt x="158" y="18"/>
                  <a:pt x="146" y="14"/>
                </a:cubicBezTo>
                <a:cubicBezTo>
                  <a:pt x="143" y="13"/>
                  <a:pt x="140" y="14"/>
                  <a:pt x="139" y="17"/>
                </a:cubicBezTo>
                <a:cubicBezTo>
                  <a:pt x="134" y="28"/>
                  <a:pt x="129" y="53"/>
                  <a:pt x="149" y="67"/>
                </a:cubicBezTo>
                <a:cubicBezTo>
                  <a:pt x="152" y="69"/>
                  <a:pt x="156" y="68"/>
                  <a:pt x="157" y="66"/>
                </a:cubicBezTo>
                <a:cubicBezTo>
                  <a:pt x="159" y="63"/>
                  <a:pt x="159" y="59"/>
                  <a:pt x="156" y="57"/>
                </a:cubicBezTo>
                <a:cubicBezTo>
                  <a:pt x="144" y="49"/>
                  <a:pt x="146" y="35"/>
                  <a:pt x="148" y="28"/>
                </a:cubicBezTo>
                <a:cubicBezTo>
                  <a:pt x="159" y="34"/>
                  <a:pt x="165" y="49"/>
                  <a:pt x="166" y="70"/>
                </a:cubicBezTo>
                <a:cubicBezTo>
                  <a:pt x="165" y="71"/>
                  <a:pt x="165" y="71"/>
                  <a:pt x="165" y="71"/>
                </a:cubicBezTo>
                <a:cubicBezTo>
                  <a:pt x="162" y="77"/>
                  <a:pt x="158" y="82"/>
                  <a:pt x="147" y="86"/>
                </a:cubicBezTo>
                <a:cubicBezTo>
                  <a:pt x="141" y="88"/>
                  <a:pt x="135" y="89"/>
                  <a:pt x="130" y="90"/>
                </a:cubicBezTo>
                <a:cubicBezTo>
                  <a:pt x="127" y="91"/>
                  <a:pt x="125" y="91"/>
                  <a:pt x="123" y="92"/>
                </a:cubicBezTo>
                <a:cubicBezTo>
                  <a:pt x="121" y="92"/>
                  <a:pt x="118" y="94"/>
                  <a:pt x="117" y="96"/>
                </a:cubicBezTo>
                <a:cubicBezTo>
                  <a:pt x="118" y="93"/>
                  <a:pt x="119" y="91"/>
                  <a:pt x="120" y="88"/>
                </a:cubicBezTo>
                <a:cubicBezTo>
                  <a:pt x="120" y="86"/>
                  <a:pt x="119" y="83"/>
                  <a:pt x="117" y="82"/>
                </a:cubicBezTo>
                <a:cubicBezTo>
                  <a:pt x="117" y="81"/>
                  <a:pt x="103" y="72"/>
                  <a:pt x="86" y="76"/>
                </a:cubicBezTo>
                <a:cubicBezTo>
                  <a:pt x="91" y="56"/>
                  <a:pt x="83" y="42"/>
                  <a:pt x="83" y="41"/>
                </a:cubicBezTo>
                <a:cubicBezTo>
                  <a:pt x="82" y="39"/>
                  <a:pt x="79" y="38"/>
                  <a:pt x="77" y="38"/>
                </a:cubicBezTo>
                <a:cubicBezTo>
                  <a:pt x="64" y="41"/>
                  <a:pt x="55" y="53"/>
                  <a:pt x="55" y="53"/>
                </a:cubicBezTo>
                <a:cubicBezTo>
                  <a:pt x="53" y="56"/>
                  <a:pt x="53" y="59"/>
                  <a:pt x="56" y="61"/>
                </a:cubicBezTo>
                <a:cubicBezTo>
                  <a:pt x="59" y="63"/>
                  <a:pt x="62" y="63"/>
                  <a:pt x="64" y="60"/>
                </a:cubicBezTo>
                <a:cubicBezTo>
                  <a:pt x="65" y="60"/>
                  <a:pt x="69" y="55"/>
                  <a:pt x="74" y="52"/>
                </a:cubicBezTo>
                <a:cubicBezTo>
                  <a:pt x="77" y="60"/>
                  <a:pt x="78" y="77"/>
                  <a:pt x="63" y="94"/>
                </a:cubicBezTo>
                <a:cubicBezTo>
                  <a:pt x="59" y="66"/>
                  <a:pt x="45" y="55"/>
                  <a:pt x="33" y="51"/>
                </a:cubicBezTo>
                <a:cubicBezTo>
                  <a:pt x="30" y="50"/>
                  <a:pt x="27" y="52"/>
                  <a:pt x="26" y="55"/>
                </a:cubicBezTo>
                <a:cubicBezTo>
                  <a:pt x="20" y="66"/>
                  <a:pt x="16" y="91"/>
                  <a:pt x="36" y="105"/>
                </a:cubicBezTo>
                <a:cubicBezTo>
                  <a:pt x="39" y="107"/>
                  <a:pt x="42" y="106"/>
                  <a:pt x="44" y="104"/>
                </a:cubicBezTo>
                <a:cubicBezTo>
                  <a:pt x="46" y="101"/>
                  <a:pt x="45" y="97"/>
                  <a:pt x="43" y="95"/>
                </a:cubicBezTo>
                <a:cubicBezTo>
                  <a:pt x="31" y="87"/>
                  <a:pt x="32" y="73"/>
                  <a:pt x="35" y="65"/>
                </a:cubicBezTo>
                <a:cubicBezTo>
                  <a:pt x="46" y="72"/>
                  <a:pt x="52" y="86"/>
                  <a:pt x="52" y="108"/>
                </a:cubicBezTo>
                <a:cubicBezTo>
                  <a:pt x="52" y="108"/>
                  <a:pt x="52" y="108"/>
                  <a:pt x="52" y="108"/>
                </a:cubicBezTo>
                <a:cubicBezTo>
                  <a:pt x="49" y="114"/>
                  <a:pt x="45" y="120"/>
                  <a:pt x="34" y="123"/>
                </a:cubicBezTo>
                <a:cubicBezTo>
                  <a:pt x="28" y="125"/>
                  <a:pt x="22" y="127"/>
                  <a:pt x="17" y="128"/>
                </a:cubicBezTo>
                <a:cubicBezTo>
                  <a:pt x="14" y="128"/>
                  <a:pt x="12" y="129"/>
                  <a:pt x="10" y="129"/>
                </a:cubicBezTo>
                <a:cubicBezTo>
                  <a:pt x="4" y="131"/>
                  <a:pt x="0" y="137"/>
                  <a:pt x="0" y="143"/>
                </a:cubicBezTo>
                <a:cubicBezTo>
                  <a:pt x="0" y="150"/>
                  <a:pt x="5" y="155"/>
                  <a:pt x="14" y="157"/>
                </a:cubicBezTo>
                <a:cubicBezTo>
                  <a:pt x="14" y="157"/>
                  <a:pt x="14" y="157"/>
                  <a:pt x="14" y="157"/>
                </a:cubicBezTo>
                <a:cubicBezTo>
                  <a:pt x="14" y="157"/>
                  <a:pt x="17" y="158"/>
                  <a:pt x="21" y="158"/>
                </a:cubicBezTo>
                <a:cubicBezTo>
                  <a:pt x="28" y="158"/>
                  <a:pt x="38" y="157"/>
                  <a:pt x="49" y="151"/>
                </a:cubicBezTo>
                <a:cubicBezTo>
                  <a:pt x="47" y="157"/>
                  <a:pt x="46" y="161"/>
                  <a:pt x="46" y="162"/>
                </a:cubicBezTo>
                <a:cubicBezTo>
                  <a:pt x="46" y="162"/>
                  <a:pt x="46" y="163"/>
                  <a:pt x="46" y="164"/>
                </a:cubicBezTo>
                <a:cubicBezTo>
                  <a:pt x="46" y="167"/>
                  <a:pt x="49" y="170"/>
                  <a:pt x="52" y="170"/>
                </a:cubicBezTo>
                <a:cubicBezTo>
                  <a:pt x="55" y="170"/>
                  <a:pt x="57" y="168"/>
                  <a:pt x="58" y="165"/>
                </a:cubicBezTo>
                <a:cubicBezTo>
                  <a:pt x="58" y="164"/>
                  <a:pt x="59" y="160"/>
                  <a:pt x="60" y="155"/>
                </a:cubicBezTo>
                <a:cubicBezTo>
                  <a:pt x="72" y="170"/>
                  <a:pt x="87" y="172"/>
                  <a:pt x="88" y="172"/>
                </a:cubicBezTo>
                <a:cubicBezTo>
                  <a:pt x="89" y="172"/>
                  <a:pt x="90" y="172"/>
                  <a:pt x="91" y="172"/>
                </a:cubicBezTo>
                <a:cubicBezTo>
                  <a:pt x="98" y="172"/>
                  <a:pt x="104" y="169"/>
                  <a:pt x="106" y="164"/>
                </a:cubicBezTo>
                <a:cubicBezTo>
                  <a:pt x="107" y="162"/>
                  <a:pt x="107" y="160"/>
                  <a:pt x="107" y="158"/>
                </a:cubicBezTo>
                <a:cubicBezTo>
                  <a:pt x="109" y="158"/>
                  <a:pt x="111" y="157"/>
                  <a:pt x="111" y="157"/>
                </a:cubicBezTo>
                <a:cubicBezTo>
                  <a:pt x="111" y="157"/>
                  <a:pt x="112" y="157"/>
                  <a:pt x="112" y="157"/>
                </a:cubicBezTo>
                <a:cubicBezTo>
                  <a:pt x="120" y="155"/>
                  <a:pt x="125" y="150"/>
                  <a:pt x="125" y="143"/>
                </a:cubicBezTo>
                <a:cubicBezTo>
                  <a:pt x="125" y="137"/>
                  <a:pt x="121" y="131"/>
                  <a:pt x="115" y="129"/>
                </a:cubicBezTo>
                <a:cubicBezTo>
                  <a:pt x="114" y="129"/>
                  <a:pt x="112" y="128"/>
                  <a:pt x="109" y="128"/>
                </a:cubicBezTo>
                <a:cubicBezTo>
                  <a:pt x="100" y="126"/>
                  <a:pt x="84" y="122"/>
                  <a:pt x="75" y="114"/>
                </a:cubicBezTo>
                <a:cubicBezTo>
                  <a:pt x="77" y="114"/>
                  <a:pt x="80" y="115"/>
                  <a:pt x="83" y="115"/>
                </a:cubicBezTo>
                <a:cubicBezTo>
                  <a:pt x="89" y="115"/>
                  <a:pt x="97" y="113"/>
                  <a:pt x="103" y="110"/>
                </a:cubicBezTo>
                <a:cubicBezTo>
                  <a:pt x="108" y="107"/>
                  <a:pt x="111" y="104"/>
                  <a:pt x="114" y="101"/>
                </a:cubicBezTo>
                <a:cubicBezTo>
                  <a:pt x="113" y="102"/>
                  <a:pt x="113" y="104"/>
                  <a:pt x="113" y="105"/>
                </a:cubicBezTo>
                <a:cubicBezTo>
                  <a:pt x="113" y="112"/>
                  <a:pt x="118" y="117"/>
                  <a:pt x="127" y="119"/>
                </a:cubicBezTo>
                <a:cubicBezTo>
                  <a:pt x="127" y="120"/>
                  <a:pt x="127" y="120"/>
                  <a:pt x="127" y="120"/>
                </a:cubicBezTo>
                <a:cubicBezTo>
                  <a:pt x="128" y="120"/>
                  <a:pt x="130" y="120"/>
                  <a:pt x="134" y="120"/>
                </a:cubicBezTo>
                <a:cubicBezTo>
                  <a:pt x="141" y="120"/>
                  <a:pt x="151" y="119"/>
                  <a:pt x="162" y="113"/>
                </a:cubicBezTo>
                <a:cubicBezTo>
                  <a:pt x="161" y="119"/>
                  <a:pt x="160" y="124"/>
                  <a:pt x="159" y="124"/>
                </a:cubicBezTo>
                <a:cubicBezTo>
                  <a:pt x="159" y="125"/>
                  <a:pt x="159" y="125"/>
                  <a:pt x="159" y="126"/>
                </a:cubicBezTo>
                <a:close/>
                <a:moveTo>
                  <a:pt x="219" y="102"/>
                </a:moveTo>
                <a:cubicBezTo>
                  <a:pt x="222" y="102"/>
                  <a:pt x="224" y="103"/>
                  <a:pt x="225" y="103"/>
                </a:cubicBezTo>
                <a:cubicBezTo>
                  <a:pt x="226" y="103"/>
                  <a:pt x="226" y="104"/>
                  <a:pt x="226" y="105"/>
                </a:cubicBezTo>
                <a:cubicBezTo>
                  <a:pt x="226" y="106"/>
                  <a:pt x="225" y="107"/>
                  <a:pt x="222" y="108"/>
                </a:cubicBezTo>
                <a:cubicBezTo>
                  <a:pt x="221" y="108"/>
                  <a:pt x="219" y="108"/>
                  <a:pt x="215" y="108"/>
                </a:cubicBezTo>
                <a:cubicBezTo>
                  <a:pt x="214" y="108"/>
                  <a:pt x="214" y="108"/>
                  <a:pt x="213" y="109"/>
                </a:cubicBezTo>
                <a:cubicBezTo>
                  <a:pt x="213" y="108"/>
                  <a:pt x="212" y="107"/>
                  <a:pt x="211" y="106"/>
                </a:cubicBezTo>
                <a:cubicBezTo>
                  <a:pt x="207" y="103"/>
                  <a:pt x="202" y="100"/>
                  <a:pt x="199" y="96"/>
                </a:cubicBezTo>
                <a:cubicBezTo>
                  <a:pt x="206" y="99"/>
                  <a:pt x="214" y="101"/>
                  <a:pt x="219" y="102"/>
                </a:cubicBezTo>
                <a:close/>
                <a:moveTo>
                  <a:pt x="193" y="54"/>
                </a:moveTo>
                <a:cubicBezTo>
                  <a:pt x="204" y="46"/>
                  <a:pt x="214" y="49"/>
                  <a:pt x="220" y="52"/>
                </a:cubicBezTo>
                <a:cubicBezTo>
                  <a:pt x="218" y="56"/>
                  <a:pt x="215" y="59"/>
                  <a:pt x="211" y="61"/>
                </a:cubicBezTo>
                <a:cubicBezTo>
                  <a:pt x="202" y="66"/>
                  <a:pt x="191" y="65"/>
                  <a:pt x="186" y="64"/>
                </a:cubicBezTo>
                <a:cubicBezTo>
                  <a:pt x="189" y="60"/>
                  <a:pt x="191" y="57"/>
                  <a:pt x="193" y="54"/>
                </a:cubicBezTo>
                <a:close/>
                <a:moveTo>
                  <a:pt x="175" y="82"/>
                </a:moveTo>
                <a:cubicBezTo>
                  <a:pt x="177" y="88"/>
                  <a:pt x="181" y="94"/>
                  <a:pt x="187" y="101"/>
                </a:cubicBezTo>
                <a:cubicBezTo>
                  <a:pt x="192" y="106"/>
                  <a:pt x="198" y="112"/>
                  <a:pt x="203" y="116"/>
                </a:cubicBezTo>
                <a:cubicBezTo>
                  <a:pt x="205" y="117"/>
                  <a:pt x="206" y="118"/>
                  <a:pt x="207" y="119"/>
                </a:cubicBezTo>
                <a:cubicBezTo>
                  <a:pt x="208" y="120"/>
                  <a:pt x="209" y="121"/>
                  <a:pt x="208" y="121"/>
                </a:cubicBezTo>
                <a:cubicBezTo>
                  <a:pt x="208" y="122"/>
                  <a:pt x="206" y="123"/>
                  <a:pt x="203" y="123"/>
                </a:cubicBezTo>
                <a:cubicBezTo>
                  <a:pt x="202" y="122"/>
                  <a:pt x="185" y="120"/>
                  <a:pt x="177" y="100"/>
                </a:cubicBezTo>
                <a:cubicBezTo>
                  <a:pt x="174" y="93"/>
                  <a:pt x="174" y="87"/>
                  <a:pt x="175" y="82"/>
                </a:cubicBezTo>
                <a:close/>
                <a:moveTo>
                  <a:pt x="16" y="146"/>
                </a:moveTo>
                <a:cubicBezTo>
                  <a:pt x="13" y="145"/>
                  <a:pt x="12" y="143"/>
                  <a:pt x="12" y="143"/>
                </a:cubicBezTo>
                <a:cubicBezTo>
                  <a:pt x="12" y="142"/>
                  <a:pt x="13" y="141"/>
                  <a:pt x="14" y="141"/>
                </a:cubicBezTo>
                <a:cubicBezTo>
                  <a:pt x="15" y="140"/>
                  <a:pt x="17" y="140"/>
                  <a:pt x="20" y="139"/>
                </a:cubicBezTo>
                <a:cubicBezTo>
                  <a:pt x="24" y="138"/>
                  <a:pt x="31" y="137"/>
                  <a:pt x="38" y="135"/>
                </a:cubicBezTo>
                <a:cubicBezTo>
                  <a:pt x="43" y="133"/>
                  <a:pt x="46" y="132"/>
                  <a:pt x="49" y="129"/>
                </a:cubicBezTo>
                <a:cubicBezTo>
                  <a:pt x="50" y="131"/>
                  <a:pt x="50" y="133"/>
                  <a:pt x="50" y="135"/>
                </a:cubicBezTo>
                <a:cubicBezTo>
                  <a:pt x="36" y="148"/>
                  <a:pt x="19" y="146"/>
                  <a:pt x="16" y="146"/>
                </a:cubicBezTo>
                <a:close/>
                <a:moveTo>
                  <a:pt x="106" y="140"/>
                </a:moveTo>
                <a:cubicBezTo>
                  <a:pt x="108" y="140"/>
                  <a:pt x="111" y="141"/>
                  <a:pt x="111" y="141"/>
                </a:cubicBezTo>
                <a:cubicBezTo>
                  <a:pt x="113" y="141"/>
                  <a:pt x="113" y="142"/>
                  <a:pt x="113" y="143"/>
                </a:cubicBezTo>
                <a:cubicBezTo>
                  <a:pt x="113" y="143"/>
                  <a:pt x="112" y="145"/>
                  <a:pt x="109" y="146"/>
                </a:cubicBezTo>
                <a:cubicBezTo>
                  <a:pt x="108" y="146"/>
                  <a:pt x="106" y="146"/>
                  <a:pt x="102" y="146"/>
                </a:cubicBezTo>
                <a:cubicBezTo>
                  <a:pt x="101" y="146"/>
                  <a:pt x="101" y="146"/>
                  <a:pt x="100" y="146"/>
                </a:cubicBezTo>
                <a:cubicBezTo>
                  <a:pt x="99" y="146"/>
                  <a:pt x="99" y="145"/>
                  <a:pt x="98" y="144"/>
                </a:cubicBezTo>
                <a:cubicBezTo>
                  <a:pt x="94" y="141"/>
                  <a:pt x="89" y="138"/>
                  <a:pt x="86" y="134"/>
                </a:cubicBezTo>
                <a:cubicBezTo>
                  <a:pt x="93" y="137"/>
                  <a:pt x="101" y="138"/>
                  <a:pt x="106" y="140"/>
                </a:cubicBezTo>
                <a:close/>
                <a:moveTo>
                  <a:pt x="90" y="154"/>
                </a:moveTo>
                <a:cubicBezTo>
                  <a:pt x="92" y="155"/>
                  <a:pt x="93" y="156"/>
                  <a:pt x="94" y="157"/>
                </a:cubicBezTo>
                <a:cubicBezTo>
                  <a:pt x="95" y="158"/>
                  <a:pt x="95" y="159"/>
                  <a:pt x="95" y="159"/>
                </a:cubicBezTo>
                <a:cubicBezTo>
                  <a:pt x="95" y="160"/>
                  <a:pt x="93" y="161"/>
                  <a:pt x="90" y="160"/>
                </a:cubicBezTo>
                <a:cubicBezTo>
                  <a:pt x="90" y="160"/>
                  <a:pt x="72" y="158"/>
                  <a:pt x="64" y="138"/>
                </a:cubicBezTo>
                <a:cubicBezTo>
                  <a:pt x="61" y="131"/>
                  <a:pt x="61" y="125"/>
                  <a:pt x="62" y="120"/>
                </a:cubicBezTo>
                <a:cubicBezTo>
                  <a:pt x="64" y="126"/>
                  <a:pt x="67" y="132"/>
                  <a:pt x="74" y="139"/>
                </a:cubicBezTo>
                <a:cubicBezTo>
                  <a:pt x="78" y="144"/>
                  <a:pt x="85" y="149"/>
                  <a:pt x="90" y="154"/>
                </a:cubicBezTo>
                <a:close/>
                <a:moveTo>
                  <a:pt x="98" y="99"/>
                </a:moveTo>
                <a:cubicBezTo>
                  <a:pt x="89" y="104"/>
                  <a:pt x="78" y="103"/>
                  <a:pt x="72" y="102"/>
                </a:cubicBezTo>
                <a:cubicBezTo>
                  <a:pt x="75" y="98"/>
                  <a:pt x="78" y="95"/>
                  <a:pt x="80" y="91"/>
                </a:cubicBezTo>
                <a:cubicBezTo>
                  <a:pt x="91" y="84"/>
                  <a:pt x="101" y="87"/>
                  <a:pt x="107" y="89"/>
                </a:cubicBezTo>
                <a:cubicBezTo>
                  <a:pt x="105" y="94"/>
                  <a:pt x="102" y="97"/>
                  <a:pt x="98" y="99"/>
                </a:cubicBezTo>
                <a:close/>
                <a:moveTo>
                  <a:pt x="130" y="108"/>
                </a:moveTo>
                <a:cubicBezTo>
                  <a:pt x="126" y="107"/>
                  <a:pt x="125" y="106"/>
                  <a:pt x="125" y="105"/>
                </a:cubicBezTo>
                <a:cubicBezTo>
                  <a:pt x="125" y="104"/>
                  <a:pt x="126" y="103"/>
                  <a:pt x="127" y="103"/>
                </a:cubicBezTo>
                <a:cubicBezTo>
                  <a:pt x="128" y="103"/>
                  <a:pt x="130" y="102"/>
                  <a:pt x="133" y="102"/>
                </a:cubicBezTo>
                <a:cubicBezTo>
                  <a:pt x="138" y="101"/>
                  <a:pt x="144" y="99"/>
                  <a:pt x="151" y="97"/>
                </a:cubicBezTo>
                <a:cubicBezTo>
                  <a:pt x="156" y="96"/>
                  <a:pt x="159" y="94"/>
                  <a:pt x="162" y="92"/>
                </a:cubicBezTo>
                <a:cubicBezTo>
                  <a:pt x="163" y="94"/>
                  <a:pt x="163" y="95"/>
                  <a:pt x="163" y="97"/>
                </a:cubicBezTo>
                <a:cubicBezTo>
                  <a:pt x="149" y="110"/>
                  <a:pt x="132" y="108"/>
                  <a:pt x="130"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17">
            <a:extLst>
              <a:ext uri="{FF2B5EF4-FFF2-40B4-BE49-F238E27FC236}">
                <a16:creationId xmlns:a16="http://schemas.microsoft.com/office/drawing/2014/main" id="{CD7F0D7F-2D88-4B12-8692-AE1C0D773DFE}"/>
              </a:ext>
            </a:extLst>
          </p:cNvPr>
          <p:cNvSpPr>
            <a:spLocks noEditPoints="1"/>
          </p:cNvSpPr>
          <p:nvPr/>
        </p:nvSpPr>
        <p:spPr bwMode="auto">
          <a:xfrm>
            <a:off x="10048666" y="3376657"/>
            <a:ext cx="752212" cy="547063"/>
          </a:xfrm>
          <a:custGeom>
            <a:avLst/>
            <a:gdLst>
              <a:gd name="T0" fmla="*/ 222 w 239"/>
              <a:gd name="T1" fmla="*/ 90 h 173"/>
              <a:gd name="T2" fmla="*/ 217 w 239"/>
              <a:gd name="T3" fmla="*/ 72 h 173"/>
              <a:gd name="T4" fmla="*/ 199 w 239"/>
              <a:gd name="T5" fmla="*/ 38 h 173"/>
              <a:gd name="T6" fmla="*/ 168 w 239"/>
              <a:gd name="T7" fmla="*/ 15 h 173"/>
              <a:gd name="T8" fmla="*/ 187 w 239"/>
              <a:gd name="T9" fmla="*/ 14 h 173"/>
              <a:gd name="T10" fmla="*/ 139 w 239"/>
              <a:gd name="T11" fmla="*/ 17 h 173"/>
              <a:gd name="T12" fmla="*/ 156 w 239"/>
              <a:gd name="T13" fmla="*/ 58 h 173"/>
              <a:gd name="T14" fmla="*/ 165 w 239"/>
              <a:gd name="T15" fmla="*/ 71 h 173"/>
              <a:gd name="T16" fmla="*/ 123 w 239"/>
              <a:gd name="T17" fmla="*/ 92 h 173"/>
              <a:gd name="T18" fmla="*/ 117 w 239"/>
              <a:gd name="T19" fmla="*/ 82 h 173"/>
              <a:gd name="T20" fmla="*/ 77 w 239"/>
              <a:gd name="T21" fmla="*/ 38 h 173"/>
              <a:gd name="T22" fmla="*/ 64 w 239"/>
              <a:gd name="T23" fmla="*/ 60 h 173"/>
              <a:gd name="T24" fmla="*/ 33 w 239"/>
              <a:gd name="T25" fmla="*/ 52 h 173"/>
              <a:gd name="T26" fmla="*/ 44 w 239"/>
              <a:gd name="T27" fmla="*/ 104 h 173"/>
              <a:gd name="T28" fmla="*/ 52 w 239"/>
              <a:gd name="T29" fmla="*/ 108 h 173"/>
              <a:gd name="T30" fmla="*/ 17 w 239"/>
              <a:gd name="T31" fmla="*/ 128 h 173"/>
              <a:gd name="T32" fmla="*/ 14 w 239"/>
              <a:gd name="T33" fmla="*/ 157 h 173"/>
              <a:gd name="T34" fmla="*/ 49 w 239"/>
              <a:gd name="T35" fmla="*/ 151 h 173"/>
              <a:gd name="T36" fmla="*/ 51 w 239"/>
              <a:gd name="T37" fmla="*/ 170 h 173"/>
              <a:gd name="T38" fmla="*/ 60 w 239"/>
              <a:gd name="T39" fmla="*/ 155 h 173"/>
              <a:gd name="T40" fmla="*/ 106 w 239"/>
              <a:gd name="T41" fmla="*/ 164 h 173"/>
              <a:gd name="T42" fmla="*/ 112 w 239"/>
              <a:gd name="T43" fmla="*/ 157 h 173"/>
              <a:gd name="T44" fmla="*/ 109 w 239"/>
              <a:gd name="T45" fmla="*/ 128 h 173"/>
              <a:gd name="T46" fmla="*/ 103 w 239"/>
              <a:gd name="T47" fmla="*/ 110 h 173"/>
              <a:gd name="T48" fmla="*/ 127 w 239"/>
              <a:gd name="T49" fmla="*/ 120 h 173"/>
              <a:gd name="T50" fmla="*/ 162 w 239"/>
              <a:gd name="T51" fmla="*/ 113 h 173"/>
              <a:gd name="T52" fmla="*/ 164 w 239"/>
              <a:gd name="T53" fmla="*/ 132 h 173"/>
              <a:gd name="T54" fmla="*/ 173 w 239"/>
              <a:gd name="T55" fmla="*/ 118 h 173"/>
              <a:gd name="T56" fmla="*/ 219 w 239"/>
              <a:gd name="T57" fmla="*/ 126 h 173"/>
              <a:gd name="T58" fmla="*/ 225 w 239"/>
              <a:gd name="T59" fmla="*/ 120 h 173"/>
              <a:gd name="T60" fmla="*/ 12 w 239"/>
              <a:gd name="T61" fmla="*/ 143 h 173"/>
              <a:gd name="T62" fmla="*/ 38 w 239"/>
              <a:gd name="T63" fmla="*/ 135 h 173"/>
              <a:gd name="T64" fmla="*/ 16 w 239"/>
              <a:gd name="T65" fmla="*/ 146 h 173"/>
              <a:gd name="T66" fmla="*/ 113 w 239"/>
              <a:gd name="T67" fmla="*/ 143 h 173"/>
              <a:gd name="T68" fmla="*/ 100 w 239"/>
              <a:gd name="T69" fmla="*/ 146 h 173"/>
              <a:gd name="T70" fmla="*/ 106 w 239"/>
              <a:gd name="T71" fmla="*/ 140 h 173"/>
              <a:gd name="T72" fmla="*/ 95 w 239"/>
              <a:gd name="T73" fmla="*/ 159 h 173"/>
              <a:gd name="T74" fmla="*/ 62 w 239"/>
              <a:gd name="T75" fmla="*/ 120 h 173"/>
              <a:gd name="T76" fmla="*/ 98 w 239"/>
              <a:gd name="T77" fmla="*/ 99 h 173"/>
              <a:gd name="T78" fmla="*/ 107 w 239"/>
              <a:gd name="T79" fmla="*/ 89 h 173"/>
              <a:gd name="T80" fmla="*/ 125 w 239"/>
              <a:gd name="T81" fmla="*/ 105 h 173"/>
              <a:gd name="T82" fmla="*/ 151 w 239"/>
              <a:gd name="T83" fmla="*/ 97 h 173"/>
              <a:gd name="T84" fmla="*/ 130 w 239"/>
              <a:gd name="T85" fmla="*/ 108 h 173"/>
              <a:gd name="T86" fmla="*/ 211 w 239"/>
              <a:gd name="T87" fmla="*/ 62 h 173"/>
              <a:gd name="T88" fmla="*/ 208 w 239"/>
              <a:gd name="T89" fmla="*/ 122 h 173"/>
              <a:gd name="T90" fmla="*/ 175 w 239"/>
              <a:gd name="T91" fmla="*/ 82 h 173"/>
              <a:gd name="T92" fmla="*/ 207 w 239"/>
              <a:gd name="T93" fmla="*/ 119 h 173"/>
              <a:gd name="T94" fmla="*/ 215 w 239"/>
              <a:gd name="T95" fmla="*/ 108 h 173"/>
              <a:gd name="T96" fmla="*/ 199 w 239"/>
              <a:gd name="T97" fmla="*/ 96 h 173"/>
              <a:gd name="T98" fmla="*/ 226 w 239"/>
              <a:gd name="T99"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9" h="173">
                <a:moveTo>
                  <a:pt x="238" y="105"/>
                </a:moveTo>
                <a:cubicBezTo>
                  <a:pt x="239" y="99"/>
                  <a:pt x="234" y="94"/>
                  <a:pt x="228" y="92"/>
                </a:cubicBezTo>
                <a:cubicBezTo>
                  <a:pt x="227" y="91"/>
                  <a:pt x="225" y="91"/>
                  <a:pt x="222" y="90"/>
                </a:cubicBezTo>
                <a:cubicBezTo>
                  <a:pt x="213" y="88"/>
                  <a:pt x="197" y="85"/>
                  <a:pt x="188" y="76"/>
                </a:cubicBezTo>
                <a:cubicBezTo>
                  <a:pt x="190" y="77"/>
                  <a:pt x="193" y="77"/>
                  <a:pt x="196" y="77"/>
                </a:cubicBezTo>
                <a:cubicBezTo>
                  <a:pt x="202" y="77"/>
                  <a:pt x="210" y="76"/>
                  <a:pt x="217" y="72"/>
                </a:cubicBezTo>
                <a:cubicBezTo>
                  <a:pt x="225" y="68"/>
                  <a:pt x="230" y="60"/>
                  <a:pt x="233" y="51"/>
                </a:cubicBezTo>
                <a:cubicBezTo>
                  <a:pt x="233" y="48"/>
                  <a:pt x="233" y="46"/>
                  <a:pt x="231" y="44"/>
                </a:cubicBezTo>
                <a:cubicBezTo>
                  <a:pt x="230" y="44"/>
                  <a:pt x="216" y="34"/>
                  <a:pt x="199" y="38"/>
                </a:cubicBezTo>
                <a:cubicBezTo>
                  <a:pt x="204" y="19"/>
                  <a:pt x="196" y="4"/>
                  <a:pt x="196" y="4"/>
                </a:cubicBezTo>
                <a:cubicBezTo>
                  <a:pt x="195" y="1"/>
                  <a:pt x="192" y="0"/>
                  <a:pt x="190" y="1"/>
                </a:cubicBezTo>
                <a:cubicBezTo>
                  <a:pt x="177" y="3"/>
                  <a:pt x="168" y="15"/>
                  <a:pt x="168" y="15"/>
                </a:cubicBezTo>
                <a:cubicBezTo>
                  <a:pt x="166" y="18"/>
                  <a:pt x="167" y="22"/>
                  <a:pt x="169" y="24"/>
                </a:cubicBezTo>
                <a:cubicBezTo>
                  <a:pt x="172" y="26"/>
                  <a:pt x="176" y="25"/>
                  <a:pt x="178" y="23"/>
                </a:cubicBezTo>
                <a:cubicBezTo>
                  <a:pt x="178" y="23"/>
                  <a:pt x="182" y="17"/>
                  <a:pt x="187" y="14"/>
                </a:cubicBezTo>
                <a:cubicBezTo>
                  <a:pt x="190" y="22"/>
                  <a:pt x="191" y="39"/>
                  <a:pt x="176" y="56"/>
                </a:cubicBezTo>
                <a:cubicBezTo>
                  <a:pt x="172" y="29"/>
                  <a:pt x="158" y="18"/>
                  <a:pt x="146" y="14"/>
                </a:cubicBezTo>
                <a:cubicBezTo>
                  <a:pt x="143" y="13"/>
                  <a:pt x="140" y="14"/>
                  <a:pt x="139" y="17"/>
                </a:cubicBezTo>
                <a:cubicBezTo>
                  <a:pt x="134" y="28"/>
                  <a:pt x="129" y="54"/>
                  <a:pt x="149" y="67"/>
                </a:cubicBezTo>
                <a:cubicBezTo>
                  <a:pt x="152" y="69"/>
                  <a:pt x="156" y="69"/>
                  <a:pt x="157" y="66"/>
                </a:cubicBezTo>
                <a:cubicBezTo>
                  <a:pt x="159" y="63"/>
                  <a:pt x="159" y="59"/>
                  <a:pt x="156" y="58"/>
                </a:cubicBezTo>
                <a:cubicBezTo>
                  <a:pt x="144" y="49"/>
                  <a:pt x="146" y="35"/>
                  <a:pt x="148" y="28"/>
                </a:cubicBezTo>
                <a:cubicBezTo>
                  <a:pt x="159" y="34"/>
                  <a:pt x="165" y="49"/>
                  <a:pt x="166" y="71"/>
                </a:cubicBezTo>
                <a:cubicBezTo>
                  <a:pt x="165" y="71"/>
                  <a:pt x="165" y="71"/>
                  <a:pt x="165" y="71"/>
                </a:cubicBezTo>
                <a:cubicBezTo>
                  <a:pt x="162" y="77"/>
                  <a:pt x="158" y="82"/>
                  <a:pt x="147" y="86"/>
                </a:cubicBezTo>
                <a:cubicBezTo>
                  <a:pt x="141" y="88"/>
                  <a:pt x="135" y="89"/>
                  <a:pt x="130" y="90"/>
                </a:cubicBezTo>
                <a:cubicBezTo>
                  <a:pt x="127" y="91"/>
                  <a:pt x="125" y="91"/>
                  <a:pt x="123" y="92"/>
                </a:cubicBezTo>
                <a:cubicBezTo>
                  <a:pt x="121" y="93"/>
                  <a:pt x="118" y="94"/>
                  <a:pt x="117" y="96"/>
                </a:cubicBezTo>
                <a:cubicBezTo>
                  <a:pt x="118" y="93"/>
                  <a:pt x="119" y="91"/>
                  <a:pt x="120" y="88"/>
                </a:cubicBezTo>
                <a:cubicBezTo>
                  <a:pt x="120" y="86"/>
                  <a:pt x="119" y="83"/>
                  <a:pt x="117" y="82"/>
                </a:cubicBezTo>
                <a:cubicBezTo>
                  <a:pt x="117" y="81"/>
                  <a:pt x="103" y="72"/>
                  <a:pt x="86" y="76"/>
                </a:cubicBezTo>
                <a:cubicBezTo>
                  <a:pt x="91" y="57"/>
                  <a:pt x="83" y="42"/>
                  <a:pt x="83" y="42"/>
                </a:cubicBezTo>
                <a:cubicBezTo>
                  <a:pt x="82" y="39"/>
                  <a:pt x="79" y="38"/>
                  <a:pt x="77" y="38"/>
                </a:cubicBezTo>
                <a:cubicBezTo>
                  <a:pt x="64" y="41"/>
                  <a:pt x="55" y="53"/>
                  <a:pt x="55" y="53"/>
                </a:cubicBezTo>
                <a:cubicBezTo>
                  <a:pt x="53" y="56"/>
                  <a:pt x="53" y="60"/>
                  <a:pt x="56" y="62"/>
                </a:cubicBezTo>
                <a:cubicBezTo>
                  <a:pt x="59" y="64"/>
                  <a:pt x="62" y="63"/>
                  <a:pt x="64" y="60"/>
                </a:cubicBezTo>
                <a:cubicBezTo>
                  <a:pt x="65" y="60"/>
                  <a:pt x="69" y="55"/>
                  <a:pt x="74" y="52"/>
                </a:cubicBezTo>
                <a:cubicBezTo>
                  <a:pt x="77" y="60"/>
                  <a:pt x="78" y="77"/>
                  <a:pt x="63" y="94"/>
                </a:cubicBezTo>
                <a:cubicBezTo>
                  <a:pt x="59" y="66"/>
                  <a:pt x="45" y="55"/>
                  <a:pt x="33" y="52"/>
                </a:cubicBezTo>
                <a:cubicBezTo>
                  <a:pt x="30" y="51"/>
                  <a:pt x="27" y="52"/>
                  <a:pt x="26" y="55"/>
                </a:cubicBezTo>
                <a:cubicBezTo>
                  <a:pt x="20" y="66"/>
                  <a:pt x="16" y="91"/>
                  <a:pt x="36" y="105"/>
                </a:cubicBezTo>
                <a:cubicBezTo>
                  <a:pt x="39" y="107"/>
                  <a:pt x="42" y="106"/>
                  <a:pt x="44" y="104"/>
                </a:cubicBezTo>
                <a:cubicBezTo>
                  <a:pt x="46" y="101"/>
                  <a:pt x="45" y="97"/>
                  <a:pt x="43" y="95"/>
                </a:cubicBezTo>
                <a:cubicBezTo>
                  <a:pt x="31" y="87"/>
                  <a:pt x="32" y="73"/>
                  <a:pt x="35" y="65"/>
                </a:cubicBezTo>
                <a:cubicBezTo>
                  <a:pt x="46" y="72"/>
                  <a:pt x="52" y="86"/>
                  <a:pt x="52" y="108"/>
                </a:cubicBezTo>
                <a:cubicBezTo>
                  <a:pt x="52" y="108"/>
                  <a:pt x="52" y="108"/>
                  <a:pt x="52" y="109"/>
                </a:cubicBezTo>
                <a:cubicBezTo>
                  <a:pt x="49" y="114"/>
                  <a:pt x="45" y="120"/>
                  <a:pt x="34" y="124"/>
                </a:cubicBezTo>
                <a:cubicBezTo>
                  <a:pt x="28" y="126"/>
                  <a:pt x="22" y="127"/>
                  <a:pt x="17" y="128"/>
                </a:cubicBezTo>
                <a:cubicBezTo>
                  <a:pt x="14" y="128"/>
                  <a:pt x="12" y="129"/>
                  <a:pt x="10" y="130"/>
                </a:cubicBezTo>
                <a:cubicBezTo>
                  <a:pt x="4" y="132"/>
                  <a:pt x="0" y="137"/>
                  <a:pt x="0" y="143"/>
                </a:cubicBezTo>
                <a:cubicBezTo>
                  <a:pt x="0" y="150"/>
                  <a:pt x="5" y="155"/>
                  <a:pt x="14" y="157"/>
                </a:cubicBezTo>
                <a:cubicBezTo>
                  <a:pt x="14" y="157"/>
                  <a:pt x="14" y="157"/>
                  <a:pt x="14" y="157"/>
                </a:cubicBezTo>
                <a:cubicBezTo>
                  <a:pt x="14" y="157"/>
                  <a:pt x="17" y="158"/>
                  <a:pt x="21" y="158"/>
                </a:cubicBezTo>
                <a:cubicBezTo>
                  <a:pt x="28" y="158"/>
                  <a:pt x="38" y="157"/>
                  <a:pt x="49" y="151"/>
                </a:cubicBezTo>
                <a:cubicBezTo>
                  <a:pt x="47" y="157"/>
                  <a:pt x="46" y="161"/>
                  <a:pt x="46" y="162"/>
                </a:cubicBezTo>
                <a:cubicBezTo>
                  <a:pt x="46" y="163"/>
                  <a:pt x="46" y="163"/>
                  <a:pt x="46" y="164"/>
                </a:cubicBezTo>
                <a:cubicBezTo>
                  <a:pt x="46" y="167"/>
                  <a:pt x="48" y="169"/>
                  <a:pt x="51" y="170"/>
                </a:cubicBezTo>
                <a:cubicBezTo>
                  <a:pt x="52" y="170"/>
                  <a:pt x="52" y="170"/>
                  <a:pt x="52" y="170"/>
                </a:cubicBezTo>
                <a:cubicBezTo>
                  <a:pt x="55" y="170"/>
                  <a:pt x="57" y="168"/>
                  <a:pt x="58" y="165"/>
                </a:cubicBezTo>
                <a:cubicBezTo>
                  <a:pt x="58" y="165"/>
                  <a:pt x="59" y="161"/>
                  <a:pt x="60" y="155"/>
                </a:cubicBezTo>
                <a:cubicBezTo>
                  <a:pt x="72" y="170"/>
                  <a:pt x="87" y="172"/>
                  <a:pt x="88" y="172"/>
                </a:cubicBezTo>
                <a:cubicBezTo>
                  <a:pt x="89" y="172"/>
                  <a:pt x="90" y="173"/>
                  <a:pt x="91" y="173"/>
                </a:cubicBezTo>
                <a:cubicBezTo>
                  <a:pt x="98" y="173"/>
                  <a:pt x="104" y="169"/>
                  <a:pt x="106" y="164"/>
                </a:cubicBezTo>
                <a:cubicBezTo>
                  <a:pt x="107" y="162"/>
                  <a:pt x="107" y="160"/>
                  <a:pt x="107" y="158"/>
                </a:cubicBezTo>
                <a:cubicBezTo>
                  <a:pt x="109" y="158"/>
                  <a:pt x="111" y="158"/>
                  <a:pt x="111" y="157"/>
                </a:cubicBezTo>
                <a:cubicBezTo>
                  <a:pt x="111" y="157"/>
                  <a:pt x="112" y="157"/>
                  <a:pt x="112" y="157"/>
                </a:cubicBezTo>
                <a:cubicBezTo>
                  <a:pt x="120" y="155"/>
                  <a:pt x="125" y="150"/>
                  <a:pt x="125" y="143"/>
                </a:cubicBezTo>
                <a:cubicBezTo>
                  <a:pt x="125" y="137"/>
                  <a:pt x="121" y="132"/>
                  <a:pt x="115" y="130"/>
                </a:cubicBezTo>
                <a:cubicBezTo>
                  <a:pt x="114" y="129"/>
                  <a:pt x="112" y="129"/>
                  <a:pt x="109" y="128"/>
                </a:cubicBezTo>
                <a:cubicBezTo>
                  <a:pt x="100" y="126"/>
                  <a:pt x="84" y="123"/>
                  <a:pt x="75" y="114"/>
                </a:cubicBezTo>
                <a:cubicBezTo>
                  <a:pt x="77" y="114"/>
                  <a:pt x="80" y="115"/>
                  <a:pt x="83" y="115"/>
                </a:cubicBezTo>
                <a:cubicBezTo>
                  <a:pt x="89" y="115"/>
                  <a:pt x="97" y="114"/>
                  <a:pt x="103" y="110"/>
                </a:cubicBezTo>
                <a:cubicBezTo>
                  <a:pt x="108" y="108"/>
                  <a:pt x="111" y="105"/>
                  <a:pt x="114" y="101"/>
                </a:cubicBezTo>
                <a:cubicBezTo>
                  <a:pt x="113" y="102"/>
                  <a:pt x="113" y="104"/>
                  <a:pt x="113" y="105"/>
                </a:cubicBezTo>
                <a:cubicBezTo>
                  <a:pt x="113" y="112"/>
                  <a:pt x="118" y="117"/>
                  <a:pt x="127" y="120"/>
                </a:cubicBezTo>
                <a:cubicBezTo>
                  <a:pt x="127" y="120"/>
                  <a:pt x="127" y="120"/>
                  <a:pt x="127" y="120"/>
                </a:cubicBezTo>
                <a:cubicBezTo>
                  <a:pt x="128" y="120"/>
                  <a:pt x="130" y="120"/>
                  <a:pt x="134" y="120"/>
                </a:cubicBezTo>
                <a:cubicBezTo>
                  <a:pt x="141" y="120"/>
                  <a:pt x="151" y="119"/>
                  <a:pt x="162" y="113"/>
                </a:cubicBezTo>
                <a:cubicBezTo>
                  <a:pt x="161" y="120"/>
                  <a:pt x="160" y="124"/>
                  <a:pt x="159" y="124"/>
                </a:cubicBezTo>
                <a:cubicBezTo>
                  <a:pt x="159" y="125"/>
                  <a:pt x="159" y="125"/>
                  <a:pt x="159" y="126"/>
                </a:cubicBezTo>
                <a:cubicBezTo>
                  <a:pt x="159" y="129"/>
                  <a:pt x="161" y="131"/>
                  <a:pt x="164" y="132"/>
                </a:cubicBezTo>
                <a:cubicBezTo>
                  <a:pt x="165" y="132"/>
                  <a:pt x="165" y="132"/>
                  <a:pt x="165" y="132"/>
                </a:cubicBezTo>
                <a:cubicBezTo>
                  <a:pt x="168" y="132"/>
                  <a:pt x="170" y="130"/>
                  <a:pt x="171" y="127"/>
                </a:cubicBezTo>
                <a:cubicBezTo>
                  <a:pt x="171" y="127"/>
                  <a:pt x="172" y="123"/>
                  <a:pt x="173" y="118"/>
                </a:cubicBezTo>
                <a:cubicBezTo>
                  <a:pt x="185" y="132"/>
                  <a:pt x="201" y="134"/>
                  <a:pt x="201" y="135"/>
                </a:cubicBezTo>
                <a:cubicBezTo>
                  <a:pt x="203" y="135"/>
                  <a:pt x="204" y="135"/>
                  <a:pt x="205" y="135"/>
                </a:cubicBezTo>
                <a:cubicBezTo>
                  <a:pt x="212" y="135"/>
                  <a:pt x="217" y="132"/>
                  <a:pt x="219" y="126"/>
                </a:cubicBezTo>
                <a:cubicBezTo>
                  <a:pt x="220" y="124"/>
                  <a:pt x="221" y="122"/>
                  <a:pt x="220" y="120"/>
                </a:cubicBezTo>
                <a:cubicBezTo>
                  <a:pt x="222" y="120"/>
                  <a:pt x="224" y="120"/>
                  <a:pt x="224" y="120"/>
                </a:cubicBezTo>
                <a:cubicBezTo>
                  <a:pt x="225" y="120"/>
                  <a:pt x="225" y="120"/>
                  <a:pt x="225" y="120"/>
                </a:cubicBezTo>
                <a:cubicBezTo>
                  <a:pt x="233" y="117"/>
                  <a:pt x="238" y="112"/>
                  <a:pt x="238" y="105"/>
                </a:cubicBezTo>
                <a:close/>
                <a:moveTo>
                  <a:pt x="16" y="146"/>
                </a:moveTo>
                <a:cubicBezTo>
                  <a:pt x="13" y="145"/>
                  <a:pt x="12" y="143"/>
                  <a:pt x="12" y="143"/>
                </a:cubicBezTo>
                <a:cubicBezTo>
                  <a:pt x="12" y="142"/>
                  <a:pt x="13" y="141"/>
                  <a:pt x="14" y="141"/>
                </a:cubicBezTo>
                <a:cubicBezTo>
                  <a:pt x="15" y="141"/>
                  <a:pt x="17" y="140"/>
                  <a:pt x="20" y="140"/>
                </a:cubicBezTo>
                <a:cubicBezTo>
                  <a:pt x="24" y="139"/>
                  <a:pt x="31" y="137"/>
                  <a:pt x="38" y="135"/>
                </a:cubicBezTo>
                <a:cubicBezTo>
                  <a:pt x="43" y="133"/>
                  <a:pt x="46" y="132"/>
                  <a:pt x="49" y="130"/>
                </a:cubicBezTo>
                <a:cubicBezTo>
                  <a:pt x="50" y="131"/>
                  <a:pt x="50" y="133"/>
                  <a:pt x="50" y="135"/>
                </a:cubicBezTo>
                <a:cubicBezTo>
                  <a:pt x="36" y="148"/>
                  <a:pt x="19" y="146"/>
                  <a:pt x="16" y="146"/>
                </a:cubicBezTo>
                <a:close/>
                <a:moveTo>
                  <a:pt x="106" y="140"/>
                </a:moveTo>
                <a:cubicBezTo>
                  <a:pt x="108" y="140"/>
                  <a:pt x="111" y="141"/>
                  <a:pt x="111" y="141"/>
                </a:cubicBezTo>
                <a:cubicBezTo>
                  <a:pt x="113" y="141"/>
                  <a:pt x="113" y="142"/>
                  <a:pt x="113" y="143"/>
                </a:cubicBezTo>
                <a:cubicBezTo>
                  <a:pt x="113" y="143"/>
                  <a:pt x="112" y="145"/>
                  <a:pt x="109" y="146"/>
                </a:cubicBezTo>
                <a:cubicBezTo>
                  <a:pt x="108" y="146"/>
                  <a:pt x="106" y="146"/>
                  <a:pt x="102" y="146"/>
                </a:cubicBezTo>
                <a:cubicBezTo>
                  <a:pt x="101" y="146"/>
                  <a:pt x="101" y="146"/>
                  <a:pt x="100" y="146"/>
                </a:cubicBezTo>
                <a:cubicBezTo>
                  <a:pt x="99" y="146"/>
                  <a:pt x="99" y="145"/>
                  <a:pt x="98" y="144"/>
                </a:cubicBezTo>
                <a:cubicBezTo>
                  <a:pt x="94" y="141"/>
                  <a:pt x="89" y="138"/>
                  <a:pt x="86" y="134"/>
                </a:cubicBezTo>
                <a:cubicBezTo>
                  <a:pt x="93" y="137"/>
                  <a:pt x="101" y="139"/>
                  <a:pt x="106" y="140"/>
                </a:cubicBezTo>
                <a:close/>
                <a:moveTo>
                  <a:pt x="90" y="154"/>
                </a:moveTo>
                <a:cubicBezTo>
                  <a:pt x="92" y="155"/>
                  <a:pt x="93" y="156"/>
                  <a:pt x="94" y="157"/>
                </a:cubicBezTo>
                <a:cubicBezTo>
                  <a:pt x="95" y="158"/>
                  <a:pt x="95" y="159"/>
                  <a:pt x="95" y="159"/>
                </a:cubicBezTo>
                <a:cubicBezTo>
                  <a:pt x="95" y="160"/>
                  <a:pt x="93" y="161"/>
                  <a:pt x="90" y="160"/>
                </a:cubicBezTo>
                <a:cubicBezTo>
                  <a:pt x="90" y="160"/>
                  <a:pt x="72" y="158"/>
                  <a:pt x="64" y="138"/>
                </a:cubicBezTo>
                <a:cubicBezTo>
                  <a:pt x="61" y="131"/>
                  <a:pt x="61" y="125"/>
                  <a:pt x="62" y="120"/>
                </a:cubicBezTo>
                <a:cubicBezTo>
                  <a:pt x="64" y="126"/>
                  <a:pt x="67" y="132"/>
                  <a:pt x="74" y="139"/>
                </a:cubicBezTo>
                <a:cubicBezTo>
                  <a:pt x="78" y="144"/>
                  <a:pt x="85" y="149"/>
                  <a:pt x="90" y="154"/>
                </a:cubicBezTo>
                <a:close/>
                <a:moveTo>
                  <a:pt x="98" y="99"/>
                </a:moveTo>
                <a:cubicBezTo>
                  <a:pt x="89" y="104"/>
                  <a:pt x="78" y="103"/>
                  <a:pt x="72" y="102"/>
                </a:cubicBezTo>
                <a:cubicBezTo>
                  <a:pt x="75" y="98"/>
                  <a:pt x="78" y="95"/>
                  <a:pt x="80" y="91"/>
                </a:cubicBezTo>
                <a:cubicBezTo>
                  <a:pt x="91" y="84"/>
                  <a:pt x="101" y="87"/>
                  <a:pt x="107" y="89"/>
                </a:cubicBezTo>
                <a:cubicBezTo>
                  <a:pt x="105" y="94"/>
                  <a:pt x="102" y="97"/>
                  <a:pt x="98" y="99"/>
                </a:cubicBezTo>
                <a:close/>
                <a:moveTo>
                  <a:pt x="130" y="108"/>
                </a:moveTo>
                <a:cubicBezTo>
                  <a:pt x="126" y="107"/>
                  <a:pt x="125" y="106"/>
                  <a:pt x="125" y="105"/>
                </a:cubicBezTo>
                <a:cubicBezTo>
                  <a:pt x="125" y="104"/>
                  <a:pt x="126" y="104"/>
                  <a:pt x="127" y="103"/>
                </a:cubicBezTo>
                <a:cubicBezTo>
                  <a:pt x="128" y="103"/>
                  <a:pt x="130" y="102"/>
                  <a:pt x="133" y="102"/>
                </a:cubicBezTo>
                <a:cubicBezTo>
                  <a:pt x="138" y="101"/>
                  <a:pt x="144" y="99"/>
                  <a:pt x="151" y="97"/>
                </a:cubicBezTo>
                <a:cubicBezTo>
                  <a:pt x="156" y="96"/>
                  <a:pt x="159" y="94"/>
                  <a:pt x="162" y="92"/>
                </a:cubicBezTo>
                <a:cubicBezTo>
                  <a:pt x="163" y="94"/>
                  <a:pt x="163" y="95"/>
                  <a:pt x="163" y="97"/>
                </a:cubicBezTo>
                <a:cubicBezTo>
                  <a:pt x="149" y="110"/>
                  <a:pt x="132" y="108"/>
                  <a:pt x="130" y="108"/>
                </a:cubicBezTo>
                <a:close/>
                <a:moveTo>
                  <a:pt x="193" y="54"/>
                </a:moveTo>
                <a:cubicBezTo>
                  <a:pt x="204" y="46"/>
                  <a:pt x="214" y="49"/>
                  <a:pt x="220" y="52"/>
                </a:cubicBezTo>
                <a:cubicBezTo>
                  <a:pt x="218" y="56"/>
                  <a:pt x="215" y="59"/>
                  <a:pt x="211" y="62"/>
                </a:cubicBezTo>
                <a:cubicBezTo>
                  <a:pt x="202" y="66"/>
                  <a:pt x="191" y="65"/>
                  <a:pt x="186" y="64"/>
                </a:cubicBezTo>
                <a:cubicBezTo>
                  <a:pt x="189" y="60"/>
                  <a:pt x="191" y="57"/>
                  <a:pt x="193" y="54"/>
                </a:cubicBezTo>
                <a:close/>
                <a:moveTo>
                  <a:pt x="208" y="122"/>
                </a:moveTo>
                <a:cubicBezTo>
                  <a:pt x="208" y="122"/>
                  <a:pt x="206" y="123"/>
                  <a:pt x="203" y="123"/>
                </a:cubicBezTo>
                <a:cubicBezTo>
                  <a:pt x="202" y="123"/>
                  <a:pt x="185" y="120"/>
                  <a:pt x="177" y="100"/>
                </a:cubicBezTo>
                <a:cubicBezTo>
                  <a:pt x="174" y="93"/>
                  <a:pt x="174" y="87"/>
                  <a:pt x="175" y="82"/>
                </a:cubicBezTo>
                <a:cubicBezTo>
                  <a:pt x="177" y="88"/>
                  <a:pt x="181" y="95"/>
                  <a:pt x="187" y="101"/>
                </a:cubicBezTo>
                <a:cubicBezTo>
                  <a:pt x="192" y="107"/>
                  <a:pt x="198" y="112"/>
                  <a:pt x="203" y="116"/>
                </a:cubicBezTo>
                <a:cubicBezTo>
                  <a:pt x="205" y="117"/>
                  <a:pt x="206" y="118"/>
                  <a:pt x="207" y="119"/>
                </a:cubicBezTo>
                <a:cubicBezTo>
                  <a:pt x="208" y="120"/>
                  <a:pt x="209" y="121"/>
                  <a:pt x="208" y="122"/>
                </a:cubicBezTo>
                <a:close/>
                <a:moveTo>
                  <a:pt x="222" y="108"/>
                </a:moveTo>
                <a:cubicBezTo>
                  <a:pt x="221" y="108"/>
                  <a:pt x="219" y="109"/>
                  <a:pt x="215" y="108"/>
                </a:cubicBezTo>
                <a:cubicBezTo>
                  <a:pt x="214" y="108"/>
                  <a:pt x="214" y="109"/>
                  <a:pt x="213" y="109"/>
                </a:cubicBezTo>
                <a:cubicBezTo>
                  <a:pt x="213" y="108"/>
                  <a:pt x="212" y="107"/>
                  <a:pt x="211" y="107"/>
                </a:cubicBezTo>
                <a:cubicBezTo>
                  <a:pt x="207" y="103"/>
                  <a:pt x="202" y="100"/>
                  <a:pt x="199" y="96"/>
                </a:cubicBezTo>
                <a:cubicBezTo>
                  <a:pt x="206" y="99"/>
                  <a:pt x="214" y="101"/>
                  <a:pt x="219" y="102"/>
                </a:cubicBezTo>
                <a:cubicBezTo>
                  <a:pt x="222" y="102"/>
                  <a:pt x="224" y="103"/>
                  <a:pt x="225" y="103"/>
                </a:cubicBezTo>
                <a:cubicBezTo>
                  <a:pt x="226" y="104"/>
                  <a:pt x="226" y="104"/>
                  <a:pt x="226" y="105"/>
                </a:cubicBezTo>
                <a:cubicBezTo>
                  <a:pt x="226" y="106"/>
                  <a:pt x="225" y="107"/>
                  <a:pt x="222"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18">
            <a:extLst>
              <a:ext uri="{FF2B5EF4-FFF2-40B4-BE49-F238E27FC236}">
                <a16:creationId xmlns:a16="http://schemas.microsoft.com/office/drawing/2014/main" id="{7766B22D-3B2B-4EA0-99F6-896D7398AF15}"/>
              </a:ext>
            </a:extLst>
          </p:cNvPr>
          <p:cNvSpPr>
            <a:spLocks noEditPoints="1"/>
          </p:cNvSpPr>
          <p:nvPr/>
        </p:nvSpPr>
        <p:spPr bwMode="auto">
          <a:xfrm>
            <a:off x="6919559" y="2518334"/>
            <a:ext cx="752212" cy="542347"/>
          </a:xfrm>
          <a:custGeom>
            <a:avLst/>
            <a:gdLst>
              <a:gd name="T0" fmla="*/ 10 w 239"/>
              <a:gd name="T1" fmla="*/ 129 h 172"/>
              <a:gd name="T2" fmla="*/ 14 w 239"/>
              <a:gd name="T3" fmla="*/ 157 h 172"/>
              <a:gd name="T4" fmla="*/ 47 w 239"/>
              <a:gd name="T5" fmla="*/ 162 h 172"/>
              <a:gd name="T6" fmla="*/ 58 w 239"/>
              <a:gd name="T7" fmla="*/ 165 h 172"/>
              <a:gd name="T8" fmla="*/ 92 w 239"/>
              <a:gd name="T9" fmla="*/ 172 h 172"/>
              <a:gd name="T10" fmla="*/ 112 w 239"/>
              <a:gd name="T11" fmla="*/ 157 h 172"/>
              <a:gd name="T12" fmla="*/ 116 w 239"/>
              <a:gd name="T13" fmla="*/ 129 h 172"/>
              <a:gd name="T14" fmla="*/ 83 w 239"/>
              <a:gd name="T15" fmla="*/ 114 h 172"/>
              <a:gd name="T16" fmla="*/ 113 w 239"/>
              <a:gd name="T17" fmla="*/ 106 h 172"/>
              <a:gd name="T18" fmla="*/ 135 w 239"/>
              <a:gd name="T19" fmla="*/ 121 h 172"/>
              <a:gd name="T20" fmla="*/ 160 w 239"/>
              <a:gd name="T21" fmla="*/ 126 h 172"/>
              <a:gd name="T22" fmla="*/ 174 w 239"/>
              <a:gd name="T23" fmla="*/ 118 h 172"/>
              <a:gd name="T24" fmla="*/ 220 w 239"/>
              <a:gd name="T25" fmla="*/ 127 h 172"/>
              <a:gd name="T26" fmla="*/ 225 w 239"/>
              <a:gd name="T27" fmla="*/ 120 h 172"/>
              <a:gd name="T28" fmla="*/ 222 w 239"/>
              <a:gd name="T29" fmla="*/ 91 h 172"/>
              <a:gd name="T30" fmla="*/ 217 w 239"/>
              <a:gd name="T31" fmla="*/ 73 h 172"/>
              <a:gd name="T32" fmla="*/ 200 w 239"/>
              <a:gd name="T33" fmla="*/ 38 h 172"/>
              <a:gd name="T34" fmla="*/ 168 w 239"/>
              <a:gd name="T35" fmla="*/ 16 h 172"/>
              <a:gd name="T36" fmla="*/ 188 w 239"/>
              <a:gd name="T37" fmla="*/ 15 h 172"/>
              <a:gd name="T38" fmla="*/ 139 w 239"/>
              <a:gd name="T39" fmla="*/ 17 h 172"/>
              <a:gd name="T40" fmla="*/ 156 w 239"/>
              <a:gd name="T41" fmla="*/ 58 h 172"/>
              <a:gd name="T42" fmla="*/ 166 w 239"/>
              <a:gd name="T43" fmla="*/ 71 h 172"/>
              <a:gd name="T44" fmla="*/ 123 w 239"/>
              <a:gd name="T45" fmla="*/ 92 h 172"/>
              <a:gd name="T46" fmla="*/ 118 w 239"/>
              <a:gd name="T47" fmla="*/ 82 h 172"/>
              <a:gd name="T48" fmla="*/ 77 w 239"/>
              <a:gd name="T49" fmla="*/ 38 h 172"/>
              <a:gd name="T50" fmla="*/ 65 w 239"/>
              <a:gd name="T51" fmla="*/ 60 h 172"/>
              <a:gd name="T52" fmla="*/ 33 w 239"/>
              <a:gd name="T53" fmla="*/ 51 h 172"/>
              <a:gd name="T54" fmla="*/ 45 w 239"/>
              <a:gd name="T55" fmla="*/ 103 h 172"/>
              <a:gd name="T56" fmla="*/ 53 w 239"/>
              <a:gd name="T57" fmla="*/ 108 h 172"/>
              <a:gd name="T58" fmla="*/ 209 w 239"/>
              <a:gd name="T59" fmla="*/ 122 h 172"/>
              <a:gd name="T60" fmla="*/ 175 w 239"/>
              <a:gd name="T61" fmla="*/ 83 h 172"/>
              <a:gd name="T62" fmla="*/ 208 w 239"/>
              <a:gd name="T63" fmla="*/ 120 h 172"/>
              <a:gd name="T64" fmla="*/ 227 w 239"/>
              <a:gd name="T65" fmla="*/ 105 h 172"/>
              <a:gd name="T66" fmla="*/ 214 w 239"/>
              <a:gd name="T67" fmla="*/ 109 h 172"/>
              <a:gd name="T68" fmla="*/ 220 w 239"/>
              <a:gd name="T69" fmla="*/ 102 h 172"/>
              <a:gd name="T70" fmla="*/ 211 w 239"/>
              <a:gd name="T71" fmla="*/ 62 h 172"/>
              <a:gd name="T72" fmla="*/ 220 w 239"/>
              <a:gd name="T73" fmla="*/ 52 h 172"/>
              <a:gd name="T74" fmla="*/ 151 w 239"/>
              <a:gd name="T75" fmla="*/ 98 h 172"/>
              <a:gd name="T76" fmla="*/ 130 w 239"/>
              <a:gd name="T77" fmla="*/ 108 h 172"/>
              <a:gd name="T78" fmla="*/ 17 w 239"/>
              <a:gd name="T79" fmla="*/ 145 h 172"/>
              <a:gd name="T80" fmla="*/ 20 w 239"/>
              <a:gd name="T81" fmla="*/ 139 h 172"/>
              <a:gd name="T82" fmla="*/ 51 w 239"/>
              <a:gd name="T83" fmla="*/ 135 h 172"/>
              <a:gd name="T84" fmla="*/ 90 w 239"/>
              <a:gd name="T85" fmla="*/ 160 h 172"/>
              <a:gd name="T86" fmla="*/ 74 w 239"/>
              <a:gd name="T87" fmla="*/ 139 h 172"/>
              <a:gd name="T88" fmla="*/ 96 w 239"/>
              <a:gd name="T89" fmla="*/ 159 h 172"/>
              <a:gd name="T90" fmla="*/ 109 w 239"/>
              <a:gd name="T91" fmla="*/ 146 h 172"/>
              <a:gd name="T92" fmla="*/ 98 w 239"/>
              <a:gd name="T93" fmla="*/ 144 h 172"/>
              <a:gd name="T94" fmla="*/ 112 w 239"/>
              <a:gd name="T95" fmla="*/ 141 h 172"/>
              <a:gd name="T96" fmla="*/ 73 w 239"/>
              <a:gd name="T97" fmla="*/ 10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 h="172">
                <a:moveTo>
                  <a:pt x="35" y="123"/>
                </a:moveTo>
                <a:cubicBezTo>
                  <a:pt x="28" y="125"/>
                  <a:pt x="22" y="127"/>
                  <a:pt x="18" y="128"/>
                </a:cubicBezTo>
                <a:cubicBezTo>
                  <a:pt x="14" y="128"/>
                  <a:pt x="12" y="129"/>
                  <a:pt x="10" y="129"/>
                </a:cubicBezTo>
                <a:cubicBezTo>
                  <a:pt x="4" y="131"/>
                  <a:pt x="0" y="137"/>
                  <a:pt x="0" y="143"/>
                </a:cubicBezTo>
                <a:cubicBezTo>
                  <a:pt x="1" y="150"/>
                  <a:pt x="6" y="155"/>
                  <a:pt x="14" y="157"/>
                </a:cubicBezTo>
                <a:cubicBezTo>
                  <a:pt x="14" y="157"/>
                  <a:pt x="14" y="157"/>
                  <a:pt x="14" y="157"/>
                </a:cubicBezTo>
                <a:cubicBezTo>
                  <a:pt x="15" y="157"/>
                  <a:pt x="17" y="158"/>
                  <a:pt x="22" y="158"/>
                </a:cubicBezTo>
                <a:cubicBezTo>
                  <a:pt x="28" y="158"/>
                  <a:pt x="39" y="157"/>
                  <a:pt x="49" y="151"/>
                </a:cubicBezTo>
                <a:cubicBezTo>
                  <a:pt x="48" y="157"/>
                  <a:pt x="47" y="161"/>
                  <a:pt x="47" y="162"/>
                </a:cubicBezTo>
                <a:cubicBezTo>
                  <a:pt x="46" y="162"/>
                  <a:pt x="46" y="163"/>
                  <a:pt x="46" y="163"/>
                </a:cubicBezTo>
                <a:cubicBezTo>
                  <a:pt x="46" y="167"/>
                  <a:pt x="49" y="169"/>
                  <a:pt x="52" y="169"/>
                </a:cubicBezTo>
                <a:cubicBezTo>
                  <a:pt x="55" y="169"/>
                  <a:pt x="58" y="167"/>
                  <a:pt x="58" y="165"/>
                </a:cubicBezTo>
                <a:cubicBezTo>
                  <a:pt x="58" y="164"/>
                  <a:pt x="59" y="160"/>
                  <a:pt x="60" y="155"/>
                </a:cubicBezTo>
                <a:cubicBezTo>
                  <a:pt x="72" y="170"/>
                  <a:pt x="88" y="172"/>
                  <a:pt x="89" y="172"/>
                </a:cubicBezTo>
                <a:cubicBezTo>
                  <a:pt x="90" y="172"/>
                  <a:pt x="91" y="172"/>
                  <a:pt x="92" y="172"/>
                </a:cubicBezTo>
                <a:cubicBezTo>
                  <a:pt x="99" y="172"/>
                  <a:pt x="104" y="169"/>
                  <a:pt x="107" y="164"/>
                </a:cubicBezTo>
                <a:cubicBezTo>
                  <a:pt x="107" y="162"/>
                  <a:pt x="108" y="160"/>
                  <a:pt x="108" y="158"/>
                </a:cubicBezTo>
                <a:cubicBezTo>
                  <a:pt x="110" y="158"/>
                  <a:pt x="111" y="157"/>
                  <a:pt x="112" y="157"/>
                </a:cubicBezTo>
                <a:cubicBezTo>
                  <a:pt x="112" y="157"/>
                  <a:pt x="112" y="157"/>
                  <a:pt x="112" y="157"/>
                </a:cubicBezTo>
                <a:cubicBezTo>
                  <a:pt x="120" y="155"/>
                  <a:pt x="125" y="150"/>
                  <a:pt x="126" y="143"/>
                </a:cubicBezTo>
                <a:cubicBezTo>
                  <a:pt x="126" y="137"/>
                  <a:pt x="122" y="131"/>
                  <a:pt x="116" y="129"/>
                </a:cubicBezTo>
                <a:cubicBezTo>
                  <a:pt x="114" y="129"/>
                  <a:pt x="112" y="128"/>
                  <a:pt x="109" y="128"/>
                </a:cubicBezTo>
                <a:cubicBezTo>
                  <a:pt x="100" y="126"/>
                  <a:pt x="84" y="122"/>
                  <a:pt x="75" y="114"/>
                </a:cubicBezTo>
                <a:cubicBezTo>
                  <a:pt x="78" y="114"/>
                  <a:pt x="80" y="114"/>
                  <a:pt x="83" y="114"/>
                </a:cubicBezTo>
                <a:cubicBezTo>
                  <a:pt x="90" y="114"/>
                  <a:pt x="97" y="113"/>
                  <a:pt x="104" y="110"/>
                </a:cubicBezTo>
                <a:cubicBezTo>
                  <a:pt x="108" y="107"/>
                  <a:pt x="112" y="104"/>
                  <a:pt x="115" y="100"/>
                </a:cubicBezTo>
                <a:cubicBezTo>
                  <a:pt x="114" y="101"/>
                  <a:pt x="113" y="104"/>
                  <a:pt x="113" y="106"/>
                </a:cubicBezTo>
                <a:cubicBezTo>
                  <a:pt x="114" y="112"/>
                  <a:pt x="119" y="118"/>
                  <a:pt x="127" y="120"/>
                </a:cubicBezTo>
                <a:cubicBezTo>
                  <a:pt x="127" y="120"/>
                  <a:pt x="127" y="120"/>
                  <a:pt x="128" y="120"/>
                </a:cubicBezTo>
                <a:cubicBezTo>
                  <a:pt x="128" y="120"/>
                  <a:pt x="131" y="121"/>
                  <a:pt x="135" y="121"/>
                </a:cubicBezTo>
                <a:cubicBezTo>
                  <a:pt x="141" y="121"/>
                  <a:pt x="152" y="119"/>
                  <a:pt x="162" y="114"/>
                </a:cubicBezTo>
                <a:cubicBezTo>
                  <a:pt x="161" y="120"/>
                  <a:pt x="160" y="124"/>
                  <a:pt x="160" y="125"/>
                </a:cubicBezTo>
                <a:cubicBezTo>
                  <a:pt x="160" y="125"/>
                  <a:pt x="160" y="126"/>
                  <a:pt x="160" y="126"/>
                </a:cubicBezTo>
                <a:cubicBezTo>
                  <a:pt x="160" y="130"/>
                  <a:pt x="162" y="132"/>
                  <a:pt x="166" y="132"/>
                </a:cubicBezTo>
                <a:cubicBezTo>
                  <a:pt x="168" y="132"/>
                  <a:pt x="171" y="130"/>
                  <a:pt x="171" y="128"/>
                </a:cubicBezTo>
                <a:cubicBezTo>
                  <a:pt x="172" y="127"/>
                  <a:pt x="172" y="123"/>
                  <a:pt x="174" y="118"/>
                </a:cubicBezTo>
                <a:cubicBezTo>
                  <a:pt x="185" y="133"/>
                  <a:pt x="201" y="135"/>
                  <a:pt x="202" y="135"/>
                </a:cubicBezTo>
                <a:cubicBezTo>
                  <a:pt x="203" y="135"/>
                  <a:pt x="204" y="135"/>
                  <a:pt x="205" y="135"/>
                </a:cubicBezTo>
                <a:cubicBezTo>
                  <a:pt x="212" y="135"/>
                  <a:pt x="217" y="132"/>
                  <a:pt x="220" y="127"/>
                </a:cubicBezTo>
                <a:cubicBezTo>
                  <a:pt x="221" y="125"/>
                  <a:pt x="221" y="123"/>
                  <a:pt x="221" y="121"/>
                </a:cubicBezTo>
                <a:cubicBezTo>
                  <a:pt x="223" y="120"/>
                  <a:pt x="224" y="120"/>
                  <a:pt x="225" y="120"/>
                </a:cubicBezTo>
                <a:cubicBezTo>
                  <a:pt x="225" y="120"/>
                  <a:pt x="225" y="120"/>
                  <a:pt x="225" y="120"/>
                </a:cubicBezTo>
                <a:cubicBezTo>
                  <a:pt x="233" y="118"/>
                  <a:pt x="239" y="112"/>
                  <a:pt x="239" y="106"/>
                </a:cubicBezTo>
                <a:cubicBezTo>
                  <a:pt x="239" y="100"/>
                  <a:pt x="235" y="94"/>
                  <a:pt x="229" y="92"/>
                </a:cubicBezTo>
                <a:cubicBezTo>
                  <a:pt x="227" y="92"/>
                  <a:pt x="225" y="91"/>
                  <a:pt x="222" y="91"/>
                </a:cubicBezTo>
                <a:cubicBezTo>
                  <a:pt x="213" y="89"/>
                  <a:pt x="197" y="85"/>
                  <a:pt x="188" y="77"/>
                </a:cubicBezTo>
                <a:cubicBezTo>
                  <a:pt x="191" y="77"/>
                  <a:pt x="193" y="77"/>
                  <a:pt x="196" y="77"/>
                </a:cubicBezTo>
                <a:cubicBezTo>
                  <a:pt x="203" y="77"/>
                  <a:pt x="210" y="76"/>
                  <a:pt x="217" y="73"/>
                </a:cubicBezTo>
                <a:cubicBezTo>
                  <a:pt x="225" y="68"/>
                  <a:pt x="230" y="61"/>
                  <a:pt x="233" y="51"/>
                </a:cubicBezTo>
                <a:cubicBezTo>
                  <a:pt x="234" y="49"/>
                  <a:pt x="233" y="46"/>
                  <a:pt x="231" y="45"/>
                </a:cubicBezTo>
                <a:cubicBezTo>
                  <a:pt x="230" y="44"/>
                  <a:pt x="217" y="34"/>
                  <a:pt x="200" y="38"/>
                </a:cubicBezTo>
                <a:cubicBezTo>
                  <a:pt x="204" y="19"/>
                  <a:pt x="197" y="4"/>
                  <a:pt x="197" y="4"/>
                </a:cubicBezTo>
                <a:cubicBezTo>
                  <a:pt x="195" y="2"/>
                  <a:pt x="193" y="0"/>
                  <a:pt x="190" y="1"/>
                </a:cubicBezTo>
                <a:cubicBezTo>
                  <a:pt x="178" y="4"/>
                  <a:pt x="169" y="15"/>
                  <a:pt x="168" y="16"/>
                </a:cubicBezTo>
                <a:cubicBezTo>
                  <a:pt x="166" y="18"/>
                  <a:pt x="167" y="22"/>
                  <a:pt x="170" y="24"/>
                </a:cubicBezTo>
                <a:cubicBezTo>
                  <a:pt x="172" y="26"/>
                  <a:pt x="176" y="26"/>
                  <a:pt x="178" y="23"/>
                </a:cubicBezTo>
                <a:cubicBezTo>
                  <a:pt x="178" y="23"/>
                  <a:pt x="182" y="18"/>
                  <a:pt x="188" y="15"/>
                </a:cubicBezTo>
                <a:cubicBezTo>
                  <a:pt x="190" y="23"/>
                  <a:pt x="192" y="39"/>
                  <a:pt x="177" y="57"/>
                </a:cubicBezTo>
                <a:cubicBezTo>
                  <a:pt x="172" y="29"/>
                  <a:pt x="158" y="18"/>
                  <a:pt x="147" y="14"/>
                </a:cubicBezTo>
                <a:cubicBezTo>
                  <a:pt x="144" y="13"/>
                  <a:pt x="140" y="15"/>
                  <a:pt x="139" y="17"/>
                </a:cubicBezTo>
                <a:cubicBezTo>
                  <a:pt x="134" y="29"/>
                  <a:pt x="129" y="54"/>
                  <a:pt x="149" y="68"/>
                </a:cubicBezTo>
                <a:cubicBezTo>
                  <a:pt x="152" y="70"/>
                  <a:pt x="156" y="69"/>
                  <a:pt x="158" y="66"/>
                </a:cubicBezTo>
                <a:cubicBezTo>
                  <a:pt x="160" y="64"/>
                  <a:pt x="159" y="60"/>
                  <a:pt x="156" y="58"/>
                </a:cubicBezTo>
                <a:cubicBezTo>
                  <a:pt x="144" y="50"/>
                  <a:pt x="146" y="36"/>
                  <a:pt x="148" y="28"/>
                </a:cubicBezTo>
                <a:cubicBezTo>
                  <a:pt x="159" y="35"/>
                  <a:pt x="165" y="49"/>
                  <a:pt x="166" y="71"/>
                </a:cubicBezTo>
                <a:cubicBezTo>
                  <a:pt x="166" y="71"/>
                  <a:pt x="166" y="71"/>
                  <a:pt x="166" y="71"/>
                </a:cubicBezTo>
                <a:cubicBezTo>
                  <a:pt x="162" y="77"/>
                  <a:pt x="159" y="83"/>
                  <a:pt x="148" y="86"/>
                </a:cubicBezTo>
                <a:cubicBezTo>
                  <a:pt x="142" y="88"/>
                  <a:pt x="135" y="90"/>
                  <a:pt x="131" y="90"/>
                </a:cubicBezTo>
                <a:cubicBezTo>
                  <a:pt x="127" y="91"/>
                  <a:pt x="125" y="92"/>
                  <a:pt x="123" y="92"/>
                </a:cubicBezTo>
                <a:cubicBezTo>
                  <a:pt x="121" y="93"/>
                  <a:pt x="118" y="95"/>
                  <a:pt x="116" y="97"/>
                </a:cubicBezTo>
                <a:cubicBezTo>
                  <a:pt x="118" y="94"/>
                  <a:pt x="119" y="91"/>
                  <a:pt x="120" y="88"/>
                </a:cubicBezTo>
                <a:cubicBezTo>
                  <a:pt x="121" y="86"/>
                  <a:pt x="120" y="83"/>
                  <a:pt x="118" y="82"/>
                </a:cubicBezTo>
                <a:cubicBezTo>
                  <a:pt x="117" y="81"/>
                  <a:pt x="103" y="71"/>
                  <a:pt x="87" y="75"/>
                </a:cubicBezTo>
                <a:cubicBezTo>
                  <a:pt x="91" y="56"/>
                  <a:pt x="84" y="42"/>
                  <a:pt x="84" y="41"/>
                </a:cubicBezTo>
                <a:cubicBezTo>
                  <a:pt x="82" y="39"/>
                  <a:pt x="80" y="38"/>
                  <a:pt x="77" y="38"/>
                </a:cubicBezTo>
                <a:cubicBezTo>
                  <a:pt x="64" y="41"/>
                  <a:pt x="56" y="52"/>
                  <a:pt x="55" y="53"/>
                </a:cubicBezTo>
                <a:cubicBezTo>
                  <a:pt x="53" y="56"/>
                  <a:pt x="54" y="59"/>
                  <a:pt x="56" y="61"/>
                </a:cubicBezTo>
                <a:cubicBezTo>
                  <a:pt x="59" y="63"/>
                  <a:pt x="63" y="63"/>
                  <a:pt x="65" y="60"/>
                </a:cubicBezTo>
                <a:cubicBezTo>
                  <a:pt x="65" y="60"/>
                  <a:pt x="69" y="55"/>
                  <a:pt x="75" y="52"/>
                </a:cubicBezTo>
                <a:cubicBezTo>
                  <a:pt x="77" y="60"/>
                  <a:pt x="79" y="77"/>
                  <a:pt x="63" y="94"/>
                </a:cubicBezTo>
                <a:cubicBezTo>
                  <a:pt x="59" y="66"/>
                  <a:pt x="45" y="55"/>
                  <a:pt x="33" y="51"/>
                </a:cubicBezTo>
                <a:cubicBezTo>
                  <a:pt x="30" y="50"/>
                  <a:pt x="27" y="52"/>
                  <a:pt x="26" y="54"/>
                </a:cubicBezTo>
                <a:cubicBezTo>
                  <a:pt x="21" y="66"/>
                  <a:pt x="16" y="91"/>
                  <a:pt x="36" y="105"/>
                </a:cubicBezTo>
                <a:cubicBezTo>
                  <a:pt x="39" y="107"/>
                  <a:pt x="43" y="106"/>
                  <a:pt x="45" y="103"/>
                </a:cubicBezTo>
                <a:cubicBezTo>
                  <a:pt x="47" y="101"/>
                  <a:pt x="46" y="97"/>
                  <a:pt x="43" y="95"/>
                </a:cubicBezTo>
                <a:cubicBezTo>
                  <a:pt x="31" y="87"/>
                  <a:pt x="33" y="73"/>
                  <a:pt x="35" y="65"/>
                </a:cubicBezTo>
                <a:cubicBezTo>
                  <a:pt x="46" y="72"/>
                  <a:pt x="52" y="86"/>
                  <a:pt x="53" y="108"/>
                </a:cubicBezTo>
                <a:cubicBezTo>
                  <a:pt x="53" y="108"/>
                  <a:pt x="53" y="108"/>
                  <a:pt x="53" y="108"/>
                </a:cubicBezTo>
                <a:cubicBezTo>
                  <a:pt x="49" y="114"/>
                  <a:pt x="46" y="120"/>
                  <a:pt x="35" y="123"/>
                </a:cubicBezTo>
                <a:close/>
                <a:moveTo>
                  <a:pt x="209" y="122"/>
                </a:moveTo>
                <a:cubicBezTo>
                  <a:pt x="208" y="123"/>
                  <a:pt x="207" y="123"/>
                  <a:pt x="203" y="123"/>
                </a:cubicBezTo>
                <a:cubicBezTo>
                  <a:pt x="203" y="123"/>
                  <a:pt x="185" y="121"/>
                  <a:pt x="177" y="101"/>
                </a:cubicBezTo>
                <a:cubicBezTo>
                  <a:pt x="174" y="94"/>
                  <a:pt x="174" y="87"/>
                  <a:pt x="175" y="83"/>
                </a:cubicBezTo>
                <a:cubicBezTo>
                  <a:pt x="177" y="88"/>
                  <a:pt x="181" y="95"/>
                  <a:pt x="187" y="102"/>
                </a:cubicBezTo>
                <a:cubicBezTo>
                  <a:pt x="192" y="107"/>
                  <a:pt x="198" y="112"/>
                  <a:pt x="204" y="116"/>
                </a:cubicBezTo>
                <a:cubicBezTo>
                  <a:pt x="205" y="118"/>
                  <a:pt x="207" y="119"/>
                  <a:pt x="208" y="120"/>
                </a:cubicBezTo>
                <a:cubicBezTo>
                  <a:pt x="209" y="120"/>
                  <a:pt x="209" y="121"/>
                  <a:pt x="209" y="122"/>
                </a:cubicBezTo>
                <a:close/>
                <a:moveTo>
                  <a:pt x="225" y="104"/>
                </a:moveTo>
                <a:cubicBezTo>
                  <a:pt x="226" y="104"/>
                  <a:pt x="227" y="105"/>
                  <a:pt x="227" y="105"/>
                </a:cubicBezTo>
                <a:cubicBezTo>
                  <a:pt x="227" y="106"/>
                  <a:pt x="225" y="107"/>
                  <a:pt x="222" y="108"/>
                </a:cubicBezTo>
                <a:cubicBezTo>
                  <a:pt x="222" y="108"/>
                  <a:pt x="219" y="109"/>
                  <a:pt x="215" y="109"/>
                </a:cubicBezTo>
                <a:cubicBezTo>
                  <a:pt x="215" y="109"/>
                  <a:pt x="214" y="109"/>
                  <a:pt x="214" y="109"/>
                </a:cubicBezTo>
                <a:cubicBezTo>
                  <a:pt x="213" y="108"/>
                  <a:pt x="212" y="108"/>
                  <a:pt x="211" y="107"/>
                </a:cubicBezTo>
                <a:cubicBezTo>
                  <a:pt x="207" y="104"/>
                  <a:pt x="203" y="100"/>
                  <a:pt x="199" y="97"/>
                </a:cubicBezTo>
                <a:cubicBezTo>
                  <a:pt x="207" y="100"/>
                  <a:pt x="214" y="101"/>
                  <a:pt x="220" y="102"/>
                </a:cubicBezTo>
                <a:cubicBezTo>
                  <a:pt x="222" y="103"/>
                  <a:pt x="224" y="103"/>
                  <a:pt x="225" y="104"/>
                </a:cubicBezTo>
                <a:close/>
                <a:moveTo>
                  <a:pt x="220" y="52"/>
                </a:moveTo>
                <a:cubicBezTo>
                  <a:pt x="218" y="57"/>
                  <a:pt x="215" y="60"/>
                  <a:pt x="211" y="62"/>
                </a:cubicBezTo>
                <a:cubicBezTo>
                  <a:pt x="203" y="67"/>
                  <a:pt x="192" y="65"/>
                  <a:pt x="186" y="64"/>
                </a:cubicBezTo>
                <a:cubicBezTo>
                  <a:pt x="189" y="61"/>
                  <a:pt x="191" y="57"/>
                  <a:pt x="193" y="54"/>
                </a:cubicBezTo>
                <a:cubicBezTo>
                  <a:pt x="204" y="47"/>
                  <a:pt x="215" y="50"/>
                  <a:pt x="220" y="52"/>
                </a:cubicBezTo>
                <a:close/>
                <a:moveTo>
                  <a:pt x="127" y="104"/>
                </a:moveTo>
                <a:cubicBezTo>
                  <a:pt x="128" y="103"/>
                  <a:pt x="131" y="103"/>
                  <a:pt x="133" y="102"/>
                </a:cubicBezTo>
                <a:cubicBezTo>
                  <a:pt x="138" y="101"/>
                  <a:pt x="145" y="100"/>
                  <a:pt x="151" y="98"/>
                </a:cubicBezTo>
                <a:cubicBezTo>
                  <a:pt x="156" y="96"/>
                  <a:pt x="160" y="94"/>
                  <a:pt x="163" y="92"/>
                </a:cubicBezTo>
                <a:cubicBezTo>
                  <a:pt x="163" y="94"/>
                  <a:pt x="163" y="96"/>
                  <a:pt x="164" y="98"/>
                </a:cubicBezTo>
                <a:cubicBezTo>
                  <a:pt x="150" y="111"/>
                  <a:pt x="132" y="109"/>
                  <a:pt x="130" y="108"/>
                </a:cubicBezTo>
                <a:cubicBezTo>
                  <a:pt x="127" y="107"/>
                  <a:pt x="126" y="106"/>
                  <a:pt x="125" y="105"/>
                </a:cubicBezTo>
                <a:cubicBezTo>
                  <a:pt x="125" y="105"/>
                  <a:pt x="126" y="104"/>
                  <a:pt x="127" y="104"/>
                </a:cubicBezTo>
                <a:close/>
                <a:moveTo>
                  <a:pt x="17" y="145"/>
                </a:moveTo>
                <a:cubicBezTo>
                  <a:pt x="14" y="145"/>
                  <a:pt x="12" y="143"/>
                  <a:pt x="12" y="142"/>
                </a:cubicBezTo>
                <a:cubicBezTo>
                  <a:pt x="12" y="142"/>
                  <a:pt x="13" y="141"/>
                  <a:pt x="14" y="141"/>
                </a:cubicBezTo>
                <a:cubicBezTo>
                  <a:pt x="15" y="140"/>
                  <a:pt x="17" y="140"/>
                  <a:pt x="20" y="139"/>
                </a:cubicBezTo>
                <a:cubicBezTo>
                  <a:pt x="25" y="138"/>
                  <a:pt x="31" y="137"/>
                  <a:pt x="38" y="135"/>
                </a:cubicBezTo>
                <a:cubicBezTo>
                  <a:pt x="43" y="133"/>
                  <a:pt x="47" y="131"/>
                  <a:pt x="50" y="129"/>
                </a:cubicBezTo>
                <a:cubicBezTo>
                  <a:pt x="50" y="131"/>
                  <a:pt x="50" y="133"/>
                  <a:pt x="51" y="135"/>
                </a:cubicBezTo>
                <a:cubicBezTo>
                  <a:pt x="37" y="148"/>
                  <a:pt x="19" y="146"/>
                  <a:pt x="17" y="145"/>
                </a:cubicBezTo>
                <a:close/>
                <a:moveTo>
                  <a:pt x="96" y="159"/>
                </a:moveTo>
                <a:cubicBezTo>
                  <a:pt x="95" y="160"/>
                  <a:pt x="94" y="161"/>
                  <a:pt x="90" y="160"/>
                </a:cubicBezTo>
                <a:cubicBezTo>
                  <a:pt x="90" y="160"/>
                  <a:pt x="72" y="158"/>
                  <a:pt x="64" y="138"/>
                </a:cubicBezTo>
                <a:cubicBezTo>
                  <a:pt x="61" y="131"/>
                  <a:pt x="61" y="125"/>
                  <a:pt x="62" y="120"/>
                </a:cubicBezTo>
                <a:cubicBezTo>
                  <a:pt x="64" y="126"/>
                  <a:pt x="68" y="132"/>
                  <a:pt x="74" y="139"/>
                </a:cubicBezTo>
                <a:cubicBezTo>
                  <a:pt x="79" y="144"/>
                  <a:pt x="85" y="149"/>
                  <a:pt x="90" y="153"/>
                </a:cubicBezTo>
                <a:cubicBezTo>
                  <a:pt x="92" y="155"/>
                  <a:pt x="93" y="156"/>
                  <a:pt x="95" y="157"/>
                </a:cubicBezTo>
                <a:cubicBezTo>
                  <a:pt x="96" y="158"/>
                  <a:pt x="96" y="159"/>
                  <a:pt x="96" y="159"/>
                </a:cubicBezTo>
                <a:close/>
                <a:moveTo>
                  <a:pt x="112" y="141"/>
                </a:moveTo>
                <a:cubicBezTo>
                  <a:pt x="113" y="141"/>
                  <a:pt x="114" y="142"/>
                  <a:pt x="114" y="142"/>
                </a:cubicBezTo>
                <a:cubicBezTo>
                  <a:pt x="114" y="143"/>
                  <a:pt x="112" y="145"/>
                  <a:pt x="109" y="146"/>
                </a:cubicBezTo>
                <a:cubicBezTo>
                  <a:pt x="108" y="146"/>
                  <a:pt x="106" y="146"/>
                  <a:pt x="102" y="146"/>
                </a:cubicBezTo>
                <a:cubicBezTo>
                  <a:pt x="102" y="146"/>
                  <a:pt x="101" y="146"/>
                  <a:pt x="101" y="146"/>
                </a:cubicBezTo>
                <a:cubicBezTo>
                  <a:pt x="100" y="146"/>
                  <a:pt x="99" y="145"/>
                  <a:pt x="98" y="144"/>
                </a:cubicBezTo>
                <a:cubicBezTo>
                  <a:pt x="94" y="141"/>
                  <a:pt x="90" y="137"/>
                  <a:pt x="86" y="134"/>
                </a:cubicBezTo>
                <a:cubicBezTo>
                  <a:pt x="94" y="137"/>
                  <a:pt x="101" y="138"/>
                  <a:pt x="107" y="140"/>
                </a:cubicBezTo>
                <a:cubicBezTo>
                  <a:pt x="109" y="140"/>
                  <a:pt x="111" y="140"/>
                  <a:pt x="112" y="141"/>
                </a:cubicBezTo>
                <a:close/>
                <a:moveTo>
                  <a:pt x="107" y="89"/>
                </a:moveTo>
                <a:cubicBezTo>
                  <a:pt x="105" y="94"/>
                  <a:pt x="102" y="97"/>
                  <a:pt x="98" y="99"/>
                </a:cubicBezTo>
                <a:cubicBezTo>
                  <a:pt x="90" y="104"/>
                  <a:pt x="79" y="103"/>
                  <a:pt x="73" y="101"/>
                </a:cubicBezTo>
                <a:cubicBezTo>
                  <a:pt x="76" y="98"/>
                  <a:pt x="78" y="95"/>
                  <a:pt x="80" y="91"/>
                </a:cubicBezTo>
                <a:cubicBezTo>
                  <a:pt x="91" y="84"/>
                  <a:pt x="102" y="87"/>
                  <a:pt x="107" y="8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19">
            <a:extLst>
              <a:ext uri="{FF2B5EF4-FFF2-40B4-BE49-F238E27FC236}">
                <a16:creationId xmlns:a16="http://schemas.microsoft.com/office/drawing/2014/main" id="{917AFD85-F433-4B8F-90CF-756ABA07DE22}"/>
              </a:ext>
            </a:extLst>
          </p:cNvPr>
          <p:cNvSpPr>
            <a:spLocks noEditPoints="1"/>
          </p:cNvSpPr>
          <p:nvPr/>
        </p:nvSpPr>
        <p:spPr bwMode="auto">
          <a:xfrm>
            <a:off x="7630506" y="2518334"/>
            <a:ext cx="752212" cy="542347"/>
          </a:xfrm>
          <a:custGeom>
            <a:avLst/>
            <a:gdLst>
              <a:gd name="T0" fmla="*/ 11 w 239"/>
              <a:gd name="T1" fmla="*/ 129 h 172"/>
              <a:gd name="T2" fmla="*/ 15 w 239"/>
              <a:gd name="T3" fmla="*/ 157 h 172"/>
              <a:gd name="T4" fmla="*/ 47 w 239"/>
              <a:gd name="T5" fmla="*/ 162 h 172"/>
              <a:gd name="T6" fmla="*/ 59 w 239"/>
              <a:gd name="T7" fmla="*/ 165 h 172"/>
              <a:gd name="T8" fmla="*/ 92 w 239"/>
              <a:gd name="T9" fmla="*/ 172 h 172"/>
              <a:gd name="T10" fmla="*/ 112 w 239"/>
              <a:gd name="T11" fmla="*/ 157 h 172"/>
              <a:gd name="T12" fmla="*/ 116 w 239"/>
              <a:gd name="T13" fmla="*/ 129 h 172"/>
              <a:gd name="T14" fmla="*/ 83 w 239"/>
              <a:gd name="T15" fmla="*/ 114 h 172"/>
              <a:gd name="T16" fmla="*/ 114 w 239"/>
              <a:gd name="T17" fmla="*/ 106 h 172"/>
              <a:gd name="T18" fmla="*/ 135 w 239"/>
              <a:gd name="T19" fmla="*/ 121 h 172"/>
              <a:gd name="T20" fmla="*/ 160 w 239"/>
              <a:gd name="T21" fmla="*/ 126 h 172"/>
              <a:gd name="T22" fmla="*/ 174 w 239"/>
              <a:gd name="T23" fmla="*/ 118 h 172"/>
              <a:gd name="T24" fmla="*/ 220 w 239"/>
              <a:gd name="T25" fmla="*/ 127 h 172"/>
              <a:gd name="T26" fmla="*/ 225 w 239"/>
              <a:gd name="T27" fmla="*/ 120 h 172"/>
              <a:gd name="T28" fmla="*/ 223 w 239"/>
              <a:gd name="T29" fmla="*/ 91 h 172"/>
              <a:gd name="T30" fmla="*/ 217 w 239"/>
              <a:gd name="T31" fmla="*/ 73 h 172"/>
              <a:gd name="T32" fmla="*/ 200 w 239"/>
              <a:gd name="T33" fmla="*/ 38 h 172"/>
              <a:gd name="T34" fmla="*/ 169 w 239"/>
              <a:gd name="T35" fmla="*/ 16 h 172"/>
              <a:gd name="T36" fmla="*/ 188 w 239"/>
              <a:gd name="T37" fmla="*/ 15 h 172"/>
              <a:gd name="T38" fmla="*/ 139 w 239"/>
              <a:gd name="T39" fmla="*/ 17 h 172"/>
              <a:gd name="T40" fmla="*/ 156 w 239"/>
              <a:gd name="T41" fmla="*/ 58 h 172"/>
              <a:gd name="T42" fmla="*/ 166 w 239"/>
              <a:gd name="T43" fmla="*/ 71 h 172"/>
              <a:gd name="T44" fmla="*/ 124 w 239"/>
              <a:gd name="T45" fmla="*/ 92 h 172"/>
              <a:gd name="T46" fmla="*/ 118 w 239"/>
              <a:gd name="T47" fmla="*/ 82 h 172"/>
              <a:gd name="T48" fmla="*/ 77 w 239"/>
              <a:gd name="T49" fmla="*/ 38 h 172"/>
              <a:gd name="T50" fmla="*/ 65 w 239"/>
              <a:gd name="T51" fmla="*/ 60 h 172"/>
              <a:gd name="T52" fmla="*/ 34 w 239"/>
              <a:gd name="T53" fmla="*/ 51 h 172"/>
              <a:gd name="T54" fmla="*/ 45 w 239"/>
              <a:gd name="T55" fmla="*/ 103 h 172"/>
              <a:gd name="T56" fmla="*/ 53 w 239"/>
              <a:gd name="T57" fmla="*/ 108 h 172"/>
              <a:gd name="T58" fmla="*/ 209 w 239"/>
              <a:gd name="T59" fmla="*/ 122 h 172"/>
              <a:gd name="T60" fmla="*/ 175 w 239"/>
              <a:gd name="T61" fmla="*/ 83 h 172"/>
              <a:gd name="T62" fmla="*/ 208 w 239"/>
              <a:gd name="T63" fmla="*/ 120 h 172"/>
              <a:gd name="T64" fmla="*/ 227 w 239"/>
              <a:gd name="T65" fmla="*/ 105 h 172"/>
              <a:gd name="T66" fmla="*/ 214 w 239"/>
              <a:gd name="T67" fmla="*/ 109 h 172"/>
              <a:gd name="T68" fmla="*/ 220 w 239"/>
              <a:gd name="T69" fmla="*/ 102 h 172"/>
              <a:gd name="T70" fmla="*/ 211 w 239"/>
              <a:gd name="T71" fmla="*/ 62 h 172"/>
              <a:gd name="T72" fmla="*/ 220 w 239"/>
              <a:gd name="T73" fmla="*/ 52 h 172"/>
              <a:gd name="T74" fmla="*/ 152 w 239"/>
              <a:gd name="T75" fmla="*/ 98 h 172"/>
              <a:gd name="T76" fmla="*/ 130 w 239"/>
              <a:gd name="T77" fmla="*/ 108 h 172"/>
              <a:gd name="T78" fmla="*/ 17 w 239"/>
              <a:gd name="T79" fmla="*/ 145 h 172"/>
              <a:gd name="T80" fmla="*/ 20 w 239"/>
              <a:gd name="T81" fmla="*/ 139 h 172"/>
              <a:gd name="T82" fmla="*/ 51 w 239"/>
              <a:gd name="T83" fmla="*/ 135 h 172"/>
              <a:gd name="T84" fmla="*/ 90 w 239"/>
              <a:gd name="T85" fmla="*/ 160 h 172"/>
              <a:gd name="T86" fmla="*/ 74 w 239"/>
              <a:gd name="T87" fmla="*/ 139 h 172"/>
              <a:gd name="T88" fmla="*/ 96 w 239"/>
              <a:gd name="T89" fmla="*/ 159 h 172"/>
              <a:gd name="T90" fmla="*/ 109 w 239"/>
              <a:gd name="T91" fmla="*/ 146 h 172"/>
              <a:gd name="T92" fmla="*/ 98 w 239"/>
              <a:gd name="T93" fmla="*/ 144 h 172"/>
              <a:gd name="T94" fmla="*/ 112 w 239"/>
              <a:gd name="T95" fmla="*/ 141 h 172"/>
              <a:gd name="T96" fmla="*/ 73 w 239"/>
              <a:gd name="T97" fmla="*/ 10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 h="172">
                <a:moveTo>
                  <a:pt x="35" y="123"/>
                </a:moveTo>
                <a:cubicBezTo>
                  <a:pt x="29" y="125"/>
                  <a:pt x="22" y="127"/>
                  <a:pt x="18" y="128"/>
                </a:cubicBezTo>
                <a:cubicBezTo>
                  <a:pt x="15" y="128"/>
                  <a:pt x="12" y="129"/>
                  <a:pt x="11" y="129"/>
                </a:cubicBezTo>
                <a:cubicBezTo>
                  <a:pt x="4" y="131"/>
                  <a:pt x="0" y="137"/>
                  <a:pt x="1" y="143"/>
                </a:cubicBezTo>
                <a:cubicBezTo>
                  <a:pt x="1" y="150"/>
                  <a:pt x="6" y="155"/>
                  <a:pt x="14" y="157"/>
                </a:cubicBezTo>
                <a:cubicBezTo>
                  <a:pt x="14" y="157"/>
                  <a:pt x="15" y="157"/>
                  <a:pt x="15" y="157"/>
                </a:cubicBezTo>
                <a:cubicBezTo>
                  <a:pt x="15" y="157"/>
                  <a:pt x="18" y="158"/>
                  <a:pt x="22" y="158"/>
                </a:cubicBezTo>
                <a:cubicBezTo>
                  <a:pt x="29" y="158"/>
                  <a:pt x="39" y="157"/>
                  <a:pt x="49" y="151"/>
                </a:cubicBezTo>
                <a:cubicBezTo>
                  <a:pt x="48" y="157"/>
                  <a:pt x="47" y="161"/>
                  <a:pt x="47" y="162"/>
                </a:cubicBezTo>
                <a:cubicBezTo>
                  <a:pt x="47" y="162"/>
                  <a:pt x="47" y="163"/>
                  <a:pt x="47" y="163"/>
                </a:cubicBezTo>
                <a:cubicBezTo>
                  <a:pt x="47" y="167"/>
                  <a:pt x="49" y="169"/>
                  <a:pt x="53" y="169"/>
                </a:cubicBezTo>
                <a:cubicBezTo>
                  <a:pt x="56" y="169"/>
                  <a:pt x="58" y="167"/>
                  <a:pt x="59" y="165"/>
                </a:cubicBezTo>
                <a:cubicBezTo>
                  <a:pt x="59" y="164"/>
                  <a:pt x="60" y="160"/>
                  <a:pt x="61" y="155"/>
                </a:cubicBezTo>
                <a:cubicBezTo>
                  <a:pt x="72" y="170"/>
                  <a:pt x="88" y="172"/>
                  <a:pt x="89" y="172"/>
                </a:cubicBezTo>
                <a:cubicBezTo>
                  <a:pt x="90" y="172"/>
                  <a:pt x="91" y="172"/>
                  <a:pt x="92" y="172"/>
                </a:cubicBezTo>
                <a:cubicBezTo>
                  <a:pt x="99" y="172"/>
                  <a:pt x="105" y="169"/>
                  <a:pt x="107" y="164"/>
                </a:cubicBezTo>
                <a:cubicBezTo>
                  <a:pt x="108" y="162"/>
                  <a:pt x="108" y="160"/>
                  <a:pt x="108" y="158"/>
                </a:cubicBezTo>
                <a:cubicBezTo>
                  <a:pt x="110" y="158"/>
                  <a:pt x="111" y="157"/>
                  <a:pt x="112" y="157"/>
                </a:cubicBezTo>
                <a:cubicBezTo>
                  <a:pt x="112" y="157"/>
                  <a:pt x="112" y="157"/>
                  <a:pt x="112" y="157"/>
                </a:cubicBezTo>
                <a:cubicBezTo>
                  <a:pt x="121" y="155"/>
                  <a:pt x="126" y="150"/>
                  <a:pt x="126" y="143"/>
                </a:cubicBezTo>
                <a:cubicBezTo>
                  <a:pt x="126" y="137"/>
                  <a:pt x="122" y="131"/>
                  <a:pt x="116" y="129"/>
                </a:cubicBezTo>
                <a:cubicBezTo>
                  <a:pt x="114" y="129"/>
                  <a:pt x="112" y="128"/>
                  <a:pt x="109" y="128"/>
                </a:cubicBezTo>
                <a:cubicBezTo>
                  <a:pt x="100" y="126"/>
                  <a:pt x="84" y="122"/>
                  <a:pt x="75" y="114"/>
                </a:cubicBezTo>
                <a:cubicBezTo>
                  <a:pt x="78" y="114"/>
                  <a:pt x="80" y="114"/>
                  <a:pt x="83" y="114"/>
                </a:cubicBezTo>
                <a:cubicBezTo>
                  <a:pt x="90" y="114"/>
                  <a:pt x="97" y="113"/>
                  <a:pt x="104" y="110"/>
                </a:cubicBezTo>
                <a:cubicBezTo>
                  <a:pt x="109" y="107"/>
                  <a:pt x="112" y="104"/>
                  <a:pt x="115" y="100"/>
                </a:cubicBezTo>
                <a:cubicBezTo>
                  <a:pt x="114" y="101"/>
                  <a:pt x="114" y="104"/>
                  <a:pt x="114" y="106"/>
                </a:cubicBezTo>
                <a:cubicBezTo>
                  <a:pt x="114" y="112"/>
                  <a:pt x="119" y="118"/>
                  <a:pt x="127" y="120"/>
                </a:cubicBezTo>
                <a:cubicBezTo>
                  <a:pt x="127" y="120"/>
                  <a:pt x="128" y="120"/>
                  <a:pt x="128" y="120"/>
                </a:cubicBezTo>
                <a:cubicBezTo>
                  <a:pt x="128" y="120"/>
                  <a:pt x="131" y="121"/>
                  <a:pt x="135" y="121"/>
                </a:cubicBezTo>
                <a:cubicBezTo>
                  <a:pt x="142" y="121"/>
                  <a:pt x="152" y="119"/>
                  <a:pt x="162" y="114"/>
                </a:cubicBezTo>
                <a:cubicBezTo>
                  <a:pt x="161" y="120"/>
                  <a:pt x="160" y="124"/>
                  <a:pt x="160" y="125"/>
                </a:cubicBezTo>
                <a:cubicBezTo>
                  <a:pt x="160" y="125"/>
                  <a:pt x="160" y="126"/>
                  <a:pt x="160" y="126"/>
                </a:cubicBezTo>
                <a:cubicBezTo>
                  <a:pt x="160" y="130"/>
                  <a:pt x="162" y="132"/>
                  <a:pt x="166" y="132"/>
                </a:cubicBezTo>
                <a:cubicBezTo>
                  <a:pt x="169" y="132"/>
                  <a:pt x="171" y="130"/>
                  <a:pt x="172" y="128"/>
                </a:cubicBezTo>
                <a:cubicBezTo>
                  <a:pt x="172" y="127"/>
                  <a:pt x="173" y="123"/>
                  <a:pt x="174" y="118"/>
                </a:cubicBezTo>
                <a:cubicBezTo>
                  <a:pt x="185" y="133"/>
                  <a:pt x="201" y="135"/>
                  <a:pt x="202" y="135"/>
                </a:cubicBezTo>
                <a:cubicBezTo>
                  <a:pt x="203" y="135"/>
                  <a:pt x="204" y="135"/>
                  <a:pt x="205" y="135"/>
                </a:cubicBezTo>
                <a:cubicBezTo>
                  <a:pt x="212" y="135"/>
                  <a:pt x="218" y="132"/>
                  <a:pt x="220" y="127"/>
                </a:cubicBezTo>
                <a:cubicBezTo>
                  <a:pt x="221" y="125"/>
                  <a:pt x="221" y="123"/>
                  <a:pt x="221" y="121"/>
                </a:cubicBezTo>
                <a:cubicBezTo>
                  <a:pt x="223" y="120"/>
                  <a:pt x="224" y="120"/>
                  <a:pt x="225" y="120"/>
                </a:cubicBezTo>
                <a:cubicBezTo>
                  <a:pt x="225" y="120"/>
                  <a:pt x="225" y="120"/>
                  <a:pt x="225" y="120"/>
                </a:cubicBezTo>
                <a:cubicBezTo>
                  <a:pt x="234" y="118"/>
                  <a:pt x="239" y="112"/>
                  <a:pt x="239" y="106"/>
                </a:cubicBezTo>
                <a:cubicBezTo>
                  <a:pt x="239" y="100"/>
                  <a:pt x="235" y="94"/>
                  <a:pt x="229" y="92"/>
                </a:cubicBezTo>
                <a:cubicBezTo>
                  <a:pt x="227" y="92"/>
                  <a:pt x="225" y="91"/>
                  <a:pt x="223" y="91"/>
                </a:cubicBezTo>
                <a:cubicBezTo>
                  <a:pt x="213" y="89"/>
                  <a:pt x="197" y="85"/>
                  <a:pt x="189" y="77"/>
                </a:cubicBezTo>
                <a:cubicBezTo>
                  <a:pt x="191" y="77"/>
                  <a:pt x="194" y="77"/>
                  <a:pt x="196" y="77"/>
                </a:cubicBezTo>
                <a:cubicBezTo>
                  <a:pt x="203" y="77"/>
                  <a:pt x="210" y="76"/>
                  <a:pt x="217" y="73"/>
                </a:cubicBezTo>
                <a:cubicBezTo>
                  <a:pt x="225" y="68"/>
                  <a:pt x="231" y="61"/>
                  <a:pt x="233" y="51"/>
                </a:cubicBezTo>
                <a:cubicBezTo>
                  <a:pt x="234" y="49"/>
                  <a:pt x="233" y="46"/>
                  <a:pt x="231" y="45"/>
                </a:cubicBezTo>
                <a:cubicBezTo>
                  <a:pt x="230" y="44"/>
                  <a:pt x="217" y="34"/>
                  <a:pt x="200" y="38"/>
                </a:cubicBezTo>
                <a:cubicBezTo>
                  <a:pt x="204" y="19"/>
                  <a:pt x="197" y="4"/>
                  <a:pt x="197" y="4"/>
                </a:cubicBezTo>
                <a:cubicBezTo>
                  <a:pt x="196" y="2"/>
                  <a:pt x="193" y="0"/>
                  <a:pt x="190" y="1"/>
                </a:cubicBezTo>
                <a:cubicBezTo>
                  <a:pt x="178" y="4"/>
                  <a:pt x="169" y="15"/>
                  <a:pt x="169" y="16"/>
                </a:cubicBezTo>
                <a:cubicBezTo>
                  <a:pt x="167" y="18"/>
                  <a:pt x="167" y="22"/>
                  <a:pt x="170" y="24"/>
                </a:cubicBezTo>
                <a:cubicBezTo>
                  <a:pt x="172" y="26"/>
                  <a:pt x="176" y="26"/>
                  <a:pt x="178" y="23"/>
                </a:cubicBezTo>
                <a:cubicBezTo>
                  <a:pt x="178" y="23"/>
                  <a:pt x="182" y="18"/>
                  <a:pt x="188" y="15"/>
                </a:cubicBezTo>
                <a:cubicBezTo>
                  <a:pt x="190" y="23"/>
                  <a:pt x="192" y="39"/>
                  <a:pt x="177" y="57"/>
                </a:cubicBezTo>
                <a:cubicBezTo>
                  <a:pt x="172" y="29"/>
                  <a:pt x="159" y="18"/>
                  <a:pt x="147" y="14"/>
                </a:cubicBezTo>
                <a:cubicBezTo>
                  <a:pt x="144" y="13"/>
                  <a:pt x="141" y="15"/>
                  <a:pt x="139" y="17"/>
                </a:cubicBezTo>
                <a:cubicBezTo>
                  <a:pt x="134" y="29"/>
                  <a:pt x="130" y="54"/>
                  <a:pt x="150" y="68"/>
                </a:cubicBezTo>
                <a:cubicBezTo>
                  <a:pt x="152" y="70"/>
                  <a:pt x="156" y="69"/>
                  <a:pt x="158" y="66"/>
                </a:cubicBezTo>
                <a:cubicBezTo>
                  <a:pt x="160" y="64"/>
                  <a:pt x="159" y="60"/>
                  <a:pt x="156" y="58"/>
                </a:cubicBezTo>
                <a:cubicBezTo>
                  <a:pt x="145" y="50"/>
                  <a:pt x="146" y="36"/>
                  <a:pt x="148" y="28"/>
                </a:cubicBezTo>
                <a:cubicBezTo>
                  <a:pt x="159" y="35"/>
                  <a:pt x="165" y="49"/>
                  <a:pt x="166" y="71"/>
                </a:cubicBezTo>
                <a:cubicBezTo>
                  <a:pt x="166" y="71"/>
                  <a:pt x="166" y="71"/>
                  <a:pt x="166" y="71"/>
                </a:cubicBezTo>
                <a:cubicBezTo>
                  <a:pt x="162" y="77"/>
                  <a:pt x="159" y="83"/>
                  <a:pt x="148" y="86"/>
                </a:cubicBezTo>
                <a:cubicBezTo>
                  <a:pt x="142" y="88"/>
                  <a:pt x="136" y="90"/>
                  <a:pt x="131" y="90"/>
                </a:cubicBezTo>
                <a:cubicBezTo>
                  <a:pt x="128" y="91"/>
                  <a:pt x="125" y="92"/>
                  <a:pt x="124" y="92"/>
                </a:cubicBezTo>
                <a:cubicBezTo>
                  <a:pt x="121" y="93"/>
                  <a:pt x="118" y="95"/>
                  <a:pt x="117" y="97"/>
                </a:cubicBezTo>
                <a:cubicBezTo>
                  <a:pt x="118" y="94"/>
                  <a:pt x="119" y="91"/>
                  <a:pt x="120" y="88"/>
                </a:cubicBezTo>
                <a:cubicBezTo>
                  <a:pt x="121" y="86"/>
                  <a:pt x="120" y="83"/>
                  <a:pt x="118" y="82"/>
                </a:cubicBezTo>
                <a:cubicBezTo>
                  <a:pt x="117" y="81"/>
                  <a:pt x="104" y="71"/>
                  <a:pt x="87" y="75"/>
                </a:cubicBezTo>
                <a:cubicBezTo>
                  <a:pt x="91" y="56"/>
                  <a:pt x="84" y="42"/>
                  <a:pt x="84" y="41"/>
                </a:cubicBezTo>
                <a:cubicBezTo>
                  <a:pt x="83" y="39"/>
                  <a:pt x="80" y="38"/>
                  <a:pt x="77" y="38"/>
                </a:cubicBezTo>
                <a:cubicBezTo>
                  <a:pt x="65" y="41"/>
                  <a:pt x="56" y="52"/>
                  <a:pt x="56" y="53"/>
                </a:cubicBezTo>
                <a:cubicBezTo>
                  <a:pt x="54" y="56"/>
                  <a:pt x="54" y="59"/>
                  <a:pt x="57" y="61"/>
                </a:cubicBezTo>
                <a:cubicBezTo>
                  <a:pt x="59" y="63"/>
                  <a:pt x="63" y="63"/>
                  <a:pt x="65" y="60"/>
                </a:cubicBezTo>
                <a:cubicBezTo>
                  <a:pt x="65" y="60"/>
                  <a:pt x="69" y="55"/>
                  <a:pt x="75" y="52"/>
                </a:cubicBezTo>
                <a:cubicBezTo>
                  <a:pt x="77" y="60"/>
                  <a:pt x="79" y="77"/>
                  <a:pt x="64" y="94"/>
                </a:cubicBezTo>
                <a:cubicBezTo>
                  <a:pt x="59" y="66"/>
                  <a:pt x="45" y="55"/>
                  <a:pt x="34" y="51"/>
                </a:cubicBezTo>
                <a:cubicBezTo>
                  <a:pt x="31" y="50"/>
                  <a:pt x="28" y="52"/>
                  <a:pt x="26" y="54"/>
                </a:cubicBezTo>
                <a:cubicBezTo>
                  <a:pt x="21" y="66"/>
                  <a:pt x="16" y="91"/>
                  <a:pt x="37" y="105"/>
                </a:cubicBezTo>
                <a:cubicBezTo>
                  <a:pt x="39" y="107"/>
                  <a:pt x="43" y="106"/>
                  <a:pt x="45" y="103"/>
                </a:cubicBezTo>
                <a:cubicBezTo>
                  <a:pt x="47" y="101"/>
                  <a:pt x="46" y="97"/>
                  <a:pt x="43" y="95"/>
                </a:cubicBezTo>
                <a:cubicBezTo>
                  <a:pt x="31" y="87"/>
                  <a:pt x="33" y="73"/>
                  <a:pt x="35" y="65"/>
                </a:cubicBezTo>
                <a:cubicBezTo>
                  <a:pt x="46" y="72"/>
                  <a:pt x="52" y="86"/>
                  <a:pt x="53" y="108"/>
                </a:cubicBezTo>
                <a:cubicBezTo>
                  <a:pt x="53" y="108"/>
                  <a:pt x="53" y="108"/>
                  <a:pt x="53" y="108"/>
                </a:cubicBezTo>
                <a:cubicBezTo>
                  <a:pt x="49" y="114"/>
                  <a:pt x="46" y="120"/>
                  <a:pt x="35" y="123"/>
                </a:cubicBezTo>
                <a:close/>
                <a:moveTo>
                  <a:pt x="209" y="122"/>
                </a:moveTo>
                <a:cubicBezTo>
                  <a:pt x="209" y="123"/>
                  <a:pt x="207" y="123"/>
                  <a:pt x="204" y="123"/>
                </a:cubicBezTo>
                <a:cubicBezTo>
                  <a:pt x="203" y="123"/>
                  <a:pt x="186" y="121"/>
                  <a:pt x="178" y="101"/>
                </a:cubicBezTo>
                <a:cubicBezTo>
                  <a:pt x="175" y="94"/>
                  <a:pt x="174" y="87"/>
                  <a:pt x="175" y="83"/>
                </a:cubicBezTo>
                <a:cubicBezTo>
                  <a:pt x="178" y="88"/>
                  <a:pt x="181" y="95"/>
                  <a:pt x="187" y="102"/>
                </a:cubicBezTo>
                <a:cubicBezTo>
                  <a:pt x="192" y="107"/>
                  <a:pt x="199" y="112"/>
                  <a:pt x="204" y="116"/>
                </a:cubicBezTo>
                <a:cubicBezTo>
                  <a:pt x="205" y="118"/>
                  <a:pt x="207" y="119"/>
                  <a:pt x="208" y="120"/>
                </a:cubicBezTo>
                <a:cubicBezTo>
                  <a:pt x="209" y="120"/>
                  <a:pt x="209" y="121"/>
                  <a:pt x="209" y="122"/>
                </a:cubicBezTo>
                <a:close/>
                <a:moveTo>
                  <a:pt x="225" y="104"/>
                </a:moveTo>
                <a:cubicBezTo>
                  <a:pt x="226" y="104"/>
                  <a:pt x="227" y="105"/>
                  <a:pt x="227" y="105"/>
                </a:cubicBezTo>
                <a:cubicBezTo>
                  <a:pt x="227" y="106"/>
                  <a:pt x="226" y="107"/>
                  <a:pt x="222" y="108"/>
                </a:cubicBezTo>
                <a:cubicBezTo>
                  <a:pt x="222" y="108"/>
                  <a:pt x="219" y="109"/>
                  <a:pt x="216" y="109"/>
                </a:cubicBezTo>
                <a:cubicBezTo>
                  <a:pt x="215" y="109"/>
                  <a:pt x="214" y="109"/>
                  <a:pt x="214" y="109"/>
                </a:cubicBezTo>
                <a:cubicBezTo>
                  <a:pt x="213" y="108"/>
                  <a:pt x="212" y="108"/>
                  <a:pt x="211" y="107"/>
                </a:cubicBezTo>
                <a:cubicBezTo>
                  <a:pt x="208" y="104"/>
                  <a:pt x="203" y="100"/>
                  <a:pt x="199" y="97"/>
                </a:cubicBezTo>
                <a:cubicBezTo>
                  <a:pt x="207" y="100"/>
                  <a:pt x="215" y="101"/>
                  <a:pt x="220" y="102"/>
                </a:cubicBezTo>
                <a:cubicBezTo>
                  <a:pt x="222" y="103"/>
                  <a:pt x="224" y="103"/>
                  <a:pt x="225" y="104"/>
                </a:cubicBezTo>
                <a:close/>
                <a:moveTo>
                  <a:pt x="220" y="52"/>
                </a:moveTo>
                <a:cubicBezTo>
                  <a:pt x="218" y="57"/>
                  <a:pt x="215" y="60"/>
                  <a:pt x="211" y="62"/>
                </a:cubicBezTo>
                <a:cubicBezTo>
                  <a:pt x="203" y="67"/>
                  <a:pt x="192" y="65"/>
                  <a:pt x="186" y="64"/>
                </a:cubicBezTo>
                <a:cubicBezTo>
                  <a:pt x="189" y="61"/>
                  <a:pt x="192" y="57"/>
                  <a:pt x="194" y="54"/>
                </a:cubicBezTo>
                <a:cubicBezTo>
                  <a:pt x="204" y="47"/>
                  <a:pt x="215" y="50"/>
                  <a:pt x="220" y="52"/>
                </a:cubicBezTo>
                <a:close/>
                <a:moveTo>
                  <a:pt x="127" y="104"/>
                </a:moveTo>
                <a:cubicBezTo>
                  <a:pt x="129" y="103"/>
                  <a:pt x="131" y="103"/>
                  <a:pt x="133" y="102"/>
                </a:cubicBezTo>
                <a:cubicBezTo>
                  <a:pt x="138" y="101"/>
                  <a:pt x="145" y="100"/>
                  <a:pt x="152" y="98"/>
                </a:cubicBezTo>
                <a:cubicBezTo>
                  <a:pt x="156" y="96"/>
                  <a:pt x="160" y="94"/>
                  <a:pt x="163" y="92"/>
                </a:cubicBezTo>
                <a:cubicBezTo>
                  <a:pt x="163" y="94"/>
                  <a:pt x="164" y="96"/>
                  <a:pt x="164" y="98"/>
                </a:cubicBezTo>
                <a:cubicBezTo>
                  <a:pt x="150" y="111"/>
                  <a:pt x="132" y="109"/>
                  <a:pt x="130" y="108"/>
                </a:cubicBezTo>
                <a:cubicBezTo>
                  <a:pt x="127" y="107"/>
                  <a:pt x="126" y="106"/>
                  <a:pt x="126" y="105"/>
                </a:cubicBezTo>
                <a:cubicBezTo>
                  <a:pt x="126" y="105"/>
                  <a:pt x="126" y="104"/>
                  <a:pt x="127" y="104"/>
                </a:cubicBezTo>
                <a:close/>
                <a:moveTo>
                  <a:pt x="17" y="145"/>
                </a:moveTo>
                <a:cubicBezTo>
                  <a:pt x="14" y="145"/>
                  <a:pt x="13" y="143"/>
                  <a:pt x="13" y="142"/>
                </a:cubicBezTo>
                <a:cubicBezTo>
                  <a:pt x="13" y="142"/>
                  <a:pt x="13" y="141"/>
                  <a:pt x="14" y="141"/>
                </a:cubicBezTo>
                <a:cubicBezTo>
                  <a:pt x="15" y="140"/>
                  <a:pt x="18" y="140"/>
                  <a:pt x="20" y="139"/>
                </a:cubicBezTo>
                <a:cubicBezTo>
                  <a:pt x="25" y="138"/>
                  <a:pt x="32" y="137"/>
                  <a:pt x="38" y="135"/>
                </a:cubicBezTo>
                <a:cubicBezTo>
                  <a:pt x="43" y="133"/>
                  <a:pt x="47" y="131"/>
                  <a:pt x="50" y="129"/>
                </a:cubicBezTo>
                <a:cubicBezTo>
                  <a:pt x="50" y="131"/>
                  <a:pt x="51" y="133"/>
                  <a:pt x="51" y="135"/>
                </a:cubicBezTo>
                <a:cubicBezTo>
                  <a:pt x="37" y="148"/>
                  <a:pt x="19" y="146"/>
                  <a:pt x="17" y="145"/>
                </a:cubicBezTo>
                <a:close/>
                <a:moveTo>
                  <a:pt x="96" y="159"/>
                </a:moveTo>
                <a:cubicBezTo>
                  <a:pt x="96" y="160"/>
                  <a:pt x="94" y="161"/>
                  <a:pt x="90" y="160"/>
                </a:cubicBezTo>
                <a:cubicBezTo>
                  <a:pt x="90" y="160"/>
                  <a:pt x="73" y="158"/>
                  <a:pt x="65" y="138"/>
                </a:cubicBezTo>
                <a:cubicBezTo>
                  <a:pt x="62" y="131"/>
                  <a:pt x="61" y="125"/>
                  <a:pt x="62" y="120"/>
                </a:cubicBezTo>
                <a:cubicBezTo>
                  <a:pt x="64" y="126"/>
                  <a:pt x="68" y="132"/>
                  <a:pt x="74" y="139"/>
                </a:cubicBezTo>
                <a:cubicBezTo>
                  <a:pt x="79" y="144"/>
                  <a:pt x="86" y="149"/>
                  <a:pt x="91" y="153"/>
                </a:cubicBezTo>
                <a:cubicBezTo>
                  <a:pt x="92" y="155"/>
                  <a:pt x="94" y="156"/>
                  <a:pt x="95" y="157"/>
                </a:cubicBezTo>
                <a:cubicBezTo>
                  <a:pt x="96" y="158"/>
                  <a:pt x="96" y="159"/>
                  <a:pt x="96" y="159"/>
                </a:cubicBezTo>
                <a:close/>
                <a:moveTo>
                  <a:pt x="112" y="141"/>
                </a:moveTo>
                <a:cubicBezTo>
                  <a:pt x="113" y="141"/>
                  <a:pt x="114" y="142"/>
                  <a:pt x="114" y="142"/>
                </a:cubicBezTo>
                <a:cubicBezTo>
                  <a:pt x="114" y="143"/>
                  <a:pt x="113" y="145"/>
                  <a:pt x="109" y="146"/>
                </a:cubicBezTo>
                <a:cubicBezTo>
                  <a:pt x="109" y="146"/>
                  <a:pt x="106" y="146"/>
                  <a:pt x="102" y="146"/>
                </a:cubicBezTo>
                <a:cubicBezTo>
                  <a:pt x="102" y="146"/>
                  <a:pt x="101" y="146"/>
                  <a:pt x="101" y="146"/>
                </a:cubicBezTo>
                <a:cubicBezTo>
                  <a:pt x="100" y="146"/>
                  <a:pt x="99" y="145"/>
                  <a:pt x="98" y="144"/>
                </a:cubicBezTo>
                <a:cubicBezTo>
                  <a:pt x="94" y="141"/>
                  <a:pt x="90" y="137"/>
                  <a:pt x="86" y="134"/>
                </a:cubicBezTo>
                <a:cubicBezTo>
                  <a:pt x="94" y="137"/>
                  <a:pt x="101" y="138"/>
                  <a:pt x="107" y="140"/>
                </a:cubicBezTo>
                <a:cubicBezTo>
                  <a:pt x="109" y="140"/>
                  <a:pt x="111" y="140"/>
                  <a:pt x="112" y="141"/>
                </a:cubicBezTo>
                <a:close/>
                <a:moveTo>
                  <a:pt x="107" y="89"/>
                </a:moveTo>
                <a:cubicBezTo>
                  <a:pt x="105" y="94"/>
                  <a:pt x="102" y="97"/>
                  <a:pt x="98" y="99"/>
                </a:cubicBezTo>
                <a:cubicBezTo>
                  <a:pt x="90" y="104"/>
                  <a:pt x="79" y="103"/>
                  <a:pt x="73" y="101"/>
                </a:cubicBezTo>
                <a:cubicBezTo>
                  <a:pt x="76" y="98"/>
                  <a:pt x="78" y="95"/>
                  <a:pt x="80" y="91"/>
                </a:cubicBezTo>
                <a:cubicBezTo>
                  <a:pt x="91" y="84"/>
                  <a:pt x="102" y="87"/>
                  <a:pt x="107" y="8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20">
            <a:extLst>
              <a:ext uri="{FF2B5EF4-FFF2-40B4-BE49-F238E27FC236}">
                <a16:creationId xmlns:a16="http://schemas.microsoft.com/office/drawing/2014/main" id="{E9C8D841-D2C6-45D1-BA2A-442156242B6F}"/>
              </a:ext>
            </a:extLst>
          </p:cNvPr>
          <p:cNvSpPr>
            <a:spLocks noEditPoints="1"/>
          </p:cNvSpPr>
          <p:nvPr/>
        </p:nvSpPr>
        <p:spPr bwMode="auto">
          <a:xfrm>
            <a:off x="6919559" y="2947495"/>
            <a:ext cx="752212" cy="543527"/>
          </a:xfrm>
          <a:custGeom>
            <a:avLst/>
            <a:gdLst>
              <a:gd name="T0" fmla="*/ 229 w 239"/>
              <a:gd name="T1" fmla="*/ 92 h 172"/>
              <a:gd name="T2" fmla="*/ 196 w 239"/>
              <a:gd name="T3" fmla="*/ 77 h 172"/>
              <a:gd name="T4" fmla="*/ 231 w 239"/>
              <a:gd name="T5" fmla="*/ 44 h 172"/>
              <a:gd name="T6" fmla="*/ 190 w 239"/>
              <a:gd name="T7" fmla="*/ 1 h 172"/>
              <a:gd name="T8" fmla="*/ 178 w 239"/>
              <a:gd name="T9" fmla="*/ 23 h 172"/>
              <a:gd name="T10" fmla="*/ 147 w 239"/>
              <a:gd name="T11" fmla="*/ 14 h 172"/>
              <a:gd name="T12" fmla="*/ 158 w 239"/>
              <a:gd name="T13" fmla="*/ 66 h 172"/>
              <a:gd name="T14" fmla="*/ 166 w 239"/>
              <a:gd name="T15" fmla="*/ 70 h 172"/>
              <a:gd name="T16" fmla="*/ 131 w 239"/>
              <a:gd name="T17" fmla="*/ 90 h 172"/>
              <a:gd name="T18" fmla="*/ 120 w 239"/>
              <a:gd name="T19" fmla="*/ 88 h 172"/>
              <a:gd name="T20" fmla="*/ 84 w 239"/>
              <a:gd name="T21" fmla="*/ 41 h 172"/>
              <a:gd name="T22" fmla="*/ 56 w 239"/>
              <a:gd name="T23" fmla="*/ 61 h 172"/>
              <a:gd name="T24" fmla="*/ 63 w 239"/>
              <a:gd name="T25" fmla="*/ 94 h 172"/>
              <a:gd name="T26" fmla="*/ 36 w 239"/>
              <a:gd name="T27" fmla="*/ 105 h 172"/>
              <a:gd name="T28" fmla="*/ 35 w 239"/>
              <a:gd name="T29" fmla="*/ 65 h 172"/>
              <a:gd name="T30" fmla="*/ 35 w 239"/>
              <a:gd name="T31" fmla="*/ 123 h 172"/>
              <a:gd name="T32" fmla="*/ 0 w 239"/>
              <a:gd name="T33" fmla="*/ 143 h 172"/>
              <a:gd name="T34" fmla="*/ 22 w 239"/>
              <a:gd name="T35" fmla="*/ 158 h 172"/>
              <a:gd name="T36" fmla="*/ 46 w 239"/>
              <a:gd name="T37" fmla="*/ 164 h 172"/>
              <a:gd name="T38" fmla="*/ 60 w 239"/>
              <a:gd name="T39" fmla="*/ 155 h 172"/>
              <a:gd name="T40" fmla="*/ 107 w 239"/>
              <a:gd name="T41" fmla="*/ 164 h 172"/>
              <a:gd name="T42" fmla="*/ 112 w 239"/>
              <a:gd name="T43" fmla="*/ 157 h 172"/>
              <a:gd name="T44" fmla="*/ 109 w 239"/>
              <a:gd name="T45" fmla="*/ 128 h 172"/>
              <a:gd name="T46" fmla="*/ 104 w 239"/>
              <a:gd name="T47" fmla="*/ 110 h 172"/>
              <a:gd name="T48" fmla="*/ 127 w 239"/>
              <a:gd name="T49" fmla="*/ 119 h 172"/>
              <a:gd name="T50" fmla="*/ 162 w 239"/>
              <a:gd name="T51" fmla="*/ 113 h 172"/>
              <a:gd name="T52" fmla="*/ 166 w 239"/>
              <a:gd name="T53" fmla="*/ 132 h 172"/>
              <a:gd name="T54" fmla="*/ 202 w 239"/>
              <a:gd name="T55" fmla="*/ 134 h 172"/>
              <a:gd name="T56" fmla="*/ 221 w 239"/>
              <a:gd name="T57" fmla="*/ 120 h 172"/>
              <a:gd name="T58" fmla="*/ 17 w 239"/>
              <a:gd name="T59" fmla="*/ 146 h 172"/>
              <a:gd name="T60" fmla="*/ 20 w 239"/>
              <a:gd name="T61" fmla="*/ 139 h 172"/>
              <a:gd name="T62" fmla="*/ 51 w 239"/>
              <a:gd name="T63" fmla="*/ 135 h 172"/>
              <a:gd name="T64" fmla="*/ 90 w 239"/>
              <a:gd name="T65" fmla="*/ 160 h 172"/>
              <a:gd name="T66" fmla="*/ 74 w 239"/>
              <a:gd name="T67" fmla="*/ 139 h 172"/>
              <a:gd name="T68" fmla="*/ 96 w 239"/>
              <a:gd name="T69" fmla="*/ 159 h 172"/>
              <a:gd name="T70" fmla="*/ 109 w 239"/>
              <a:gd name="T71" fmla="*/ 146 h 172"/>
              <a:gd name="T72" fmla="*/ 98 w 239"/>
              <a:gd name="T73" fmla="*/ 144 h 172"/>
              <a:gd name="T74" fmla="*/ 112 w 239"/>
              <a:gd name="T75" fmla="*/ 141 h 172"/>
              <a:gd name="T76" fmla="*/ 80 w 239"/>
              <a:gd name="T77" fmla="*/ 91 h 172"/>
              <a:gd name="T78" fmla="*/ 220 w 239"/>
              <a:gd name="T79" fmla="*/ 52 h 172"/>
              <a:gd name="T80" fmla="*/ 193 w 239"/>
              <a:gd name="T81" fmla="*/ 54 h 172"/>
              <a:gd name="T82" fmla="*/ 125 w 239"/>
              <a:gd name="T83" fmla="*/ 105 h 172"/>
              <a:gd name="T84" fmla="*/ 151 w 239"/>
              <a:gd name="T85" fmla="*/ 97 h 172"/>
              <a:gd name="T86" fmla="*/ 130 w 239"/>
              <a:gd name="T87" fmla="*/ 108 h 172"/>
              <a:gd name="T88" fmla="*/ 177 w 239"/>
              <a:gd name="T89" fmla="*/ 100 h 172"/>
              <a:gd name="T90" fmla="*/ 204 w 239"/>
              <a:gd name="T91" fmla="*/ 116 h 172"/>
              <a:gd name="T92" fmla="*/ 209 w 239"/>
              <a:gd name="T93" fmla="*/ 121 h 172"/>
              <a:gd name="T94" fmla="*/ 211 w 239"/>
              <a:gd name="T95" fmla="*/ 106 h 172"/>
              <a:gd name="T96" fmla="*/ 225 w 239"/>
              <a:gd name="T97" fmla="*/ 103 h 172"/>
              <a:gd name="T98" fmla="*/ 215 w 239"/>
              <a:gd name="T99"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9" h="172">
                <a:moveTo>
                  <a:pt x="225" y="119"/>
                </a:moveTo>
                <a:cubicBezTo>
                  <a:pt x="233" y="117"/>
                  <a:pt x="239" y="112"/>
                  <a:pt x="239" y="105"/>
                </a:cubicBezTo>
                <a:cubicBezTo>
                  <a:pt x="239" y="99"/>
                  <a:pt x="235" y="94"/>
                  <a:pt x="229" y="92"/>
                </a:cubicBezTo>
                <a:cubicBezTo>
                  <a:pt x="227" y="91"/>
                  <a:pt x="225" y="91"/>
                  <a:pt x="222" y="90"/>
                </a:cubicBezTo>
                <a:cubicBezTo>
                  <a:pt x="213" y="88"/>
                  <a:pt x="197" y="85"/>
                  <a:pt x="188" y="76"/>
                </a:cubicBezTo>
                <a:cubicBezTo>
                  <a:pt x="191" y="77"/>
                  <a:pt x="193" y="77"/>
                  <a:pt x="196" y="77"/>
                </a:cubicBezTo>
                <a:cubicBezTo>
                  <a:pt x="203" y="77"/>
                  <a:pt x="210" y="76"/>
                  <a:pt x="217" y="72"/>
                </a:cubicBezTo>
                <a:cubicBezTo>
                  <a:pt x="225" y="68"/>
                  <a:pt x="230" y="60"/>
                  <a:pt x="233" y="50"/>
                </a:cubicBezTo>
                <a:cubicBezTo>
                  <a:pt x="234" y="48"/>
                  <a:pt x="233" y="45"/>
                  <a:pt x="231" y="44"/>
                </a:cubicBezTo>
                <a:cubicBezTo>
                  <a:pt x="230" y="43"/>
                  <a:pt x="217" y="34"/>
                  <a:pt x="200" y="38"/>
                </a:cubicBezTo>
                <a:cubicBezTo>
                  <a:pt x="204" y="19"/>
                  <a:pt x="197" y="4"/>
                  <a:pt x="197" y="4"/>
                </a:cubicBezTo>
                <a:cubicBezTo>
                  <a:pt x="195" y="1"/>
                  <a:pt x="193" y="0"/>
                  <a:pt x="190" y="1"/>
                </a:cubicBezTo>
                <a:cubicBezTo>
                  <a:pt x="178" y="3"/>
                  <a:pt x="169" y="15"/>
                  <a:pt x="168" y="15"/>
                </a:cubicBezTo>
                <a:cubicBezTo>
                  <a:pt x="166" y="18"/>
                  <a:pt x="167" y="22"/>
                  <a:pt x="170" y="24"/>
                </a:cubicBezTo>
                <a:cubicBezTo>
                  <a:pt x="172" y="26"/>
                  <a:pt x="176" y="25"/>
                  <a:pt x="178" y="23"/>
                </a:cubicBezTo>
                <a:cubicBezTo>
                  <a:pt x="178" y="22"/>
                  <a:pt x="182" y="17"/>
                  <a:pt x="188" y="14"/>
                </a:cubicBezTo>
                <a:cubicBezTo>
                  <a:pt x="190" y="22"/>
                  <a:pt x="192" y="39"/>
                  <a:pt x="177" y="56"/>
                </a:cubicBezTo>
                <a:cubicBezTo>
                  <a:pt x="172" y="28"/>
                  <a:pt x="158" y="18"/>
                  <a:pt x="147" y="14"/>
                </a:cubicBezTo>
                <a:cubicBezTo>
                  <a:pt x="144" y="13"/>
                  <a:pt x="140" y="14"/>
                  <a:pt x="139" y="17"/>
                </a:cubicBezTo>
                <a:cubicBezTo>
                  <a:pt x="134" y="28"/>
                  <a:pt x="129" y="53"/>
                  <a:pt x="149" y="67"/>
                </a:cubicBezTo>
                <a:cubicBezTo>
                  <a:pt x="152" y="69"/>
                  <a:pt x="156" y="68"/>
                  <a:pt x="158" y="66"/>
                </a:cubicBezTo>
                <a:cubicBezTo>
                  <a:pt x="160" y="63"/>
                  <a:pt x="159" y="59"/>
                  <a:pt x="156" y="57"/>
                </a:cubicBezTo>
                <a:cubicBezTo>
                  <a:pt x="144" y="49"/>
                  <a:pt x="146" y="35"/>
                  <a:pt x="148" y="28"/>
                </a:cubicBezTo>
                <a:cubicBezTo>
                  <a:pt x="159" y="34"/>
                  <a:pt x="165" y="49"/>
                  <a:pt x="166" y="70"/>
                </a:cubicBezTo>
                <a:cubicBezTo>
                  <a:pt x="166" y="71"/>
                  <a:pt x="166" y="71"/>
                  <a:pt x="166" y="71"/>
                </a:cubicBezTo>
                <a:cubicBezTo>
                  <a:pt x="162" y="77"/>
                  <a:pt x="159" y="82"/>
                  <a:pt x="148" y="86"/>
                </a:cubicBezTo>
                <a:cubicBezTo>
                  <a:pt x="142" y="88"/>
                  <a:pt x="135" y="89"/>
                  <a:pt x="131" y="90"/>
                </a:cubicBezTo>
                <a:cubicBezTo>
                  <a:pt x="127" y="91"/>
                  <a:pt x="125" y="91"/>
                  <a:pt x="123" y="92"/>
                </a:cubicBezTo>
                <a:cubicBezTo>
                  <a:pt x="121" y="92"/>
                  <a:pt x="119" y="94"/>
                  <a:pt x="117" y="96"/>
                </a:cubicBezTo>
                <a:cubicBezTo>
                  <a:pt x="118" y="93"/>
                  <a:pt x="119" y="91"/>
                  <a:pt x="120" y="88"/>
                </a:cubicBezTo>
                <a:cubicBezTo>
                  <a:pt x="121" y="86"/>
                  <a:pt x="120" y="83"/>
                  <a:pt x="118" y="82"/>
                </a:cubicBezTo>
                <a:cubicBezTo>
                  <a:pt x="117" y="81"/>
                  <a:pt x="103" y="72"/>
                  <a:pt x="87" y="76"/>
                </a:cubicBezTo>
                <a:cubicBezTo>
                  <a:pt x="91" y="56"/>
                  <a:pt x="84" y="42"/>
                  <a:pt x="84" y="41"/>
                </a:cubicBezTo>
                <a:cubicBezTo>
                  <a:pt x="82" y="39"/>
                  <a:pt x="80" y="38"/>
                  <a:pt x="77" y="38"/>
                </a:cubicBezTo>
                <a:cubicBezTo>
                  <a:pt x="64" y="41"/>
                  <a:pt x="56" y="53"/>
                  <a:pt x="55" y="53"/>
                </a:cubicBezTo>
                <a:cubicBezTo>
                  <a:pt x="53" y="56"/>
                  <a:pt x="54" y="59"/>
                  <a:pt x="56" y="61"/>
                </a:cubicBezTo>
                <a:cubicBezTo>
                  <a:pt x="59" y="63"/>
                  <a:pt x="63" y="63"/>
                  <a:pt x="65" y="60"/>
                </a:cubicBezTo>
                <a:cubicBezTo>
                  <a:pt x="65" y="60"/>
                  <a:pt x="69" y="55"/>
                  <a:pt x="75" y="52"/>
                </a:cubicBezTo>
                <a:cubicBezTo>
                  <a:pt x="77" y="60"/>
                  <a:pt x="79" y="77"/>
                  <a:pt x="63" y="94"/>
                </a:cubicBezTo>
                <a:cubicBezTo>
                  <a:pt x="59" y="66"/>
                  <a:pt x="45" y="55"/>
                  <a:pt x="33" y="51"/>
                </a:cubicBezTo>
                <a:cubicBezTo>
                  <a:pt x="30" y="50"/>
                  <a:pt x="27" y="52"/>
                  <a:pt x="26" y="55"/>
                </a:cubicBezTo>
                <a:cubicBezTo>
                  <a:pt x="21" y="66"/>
                  <a:pt x="16" y="91"/>
                  <a:pt x="36" y="105"/>
                </a:cubicBezTo>
                <a:cubicBezTo>
                  <a:pt x="39" y="107"/>
                  <a:pt x="43" y="106"/>
                  <a:pt x="45" y="104"/>
                </a:cubicBezTo>
                <a:cubicBezTo>
                  <a:pt x="47" y="101"/>
                  <a:pt x="46" y="97"/>
                  <a:pt x="43" y="95"/>
                </a:cubicBezTo>
                <a:cubicBezTo>
                  <a:pt x="31" y="87"/>
                  <a:pt x="33" y="73"/>
                  <a:pt x="35" y="65"/>
                </a:cubicBezTo>
                <a:cubicBezTo>
                  <a:pt x="46" y="72"/>
                  <a:pt x="52" y="86"/>
                  <a:pt x="53" y="108"/>
                </a:cubicBezTo>
                <a:cubicBezTo>
                  <a:pt x="53" y="108"/>
                  <a:pt x="53" y="108"/>
                  <a:pt x="53" y="108"/>
                </a:cubicBezTo>
                <a:cubicBezTo>
                  <a:pt x="49" y="114"/>
                  <a:pt x="46" y="120"/>
                  <a:pt x="35" y="123"/>
                </a:cubicBezTo>
                <a:cubicBezTo>
                  <a:pt x="28" y="125"/>
                  <a:pt x="22" y="127"/>
                  <a:pt x="18" y="128"/>
                </a:cubicBezTo>
                <a:cubicBezTo>
                  <a:pt x="14" y="128"/>
                  <a:pt x="12" y="129"/>
                  <a:pt x="10" y="129"/>
                </a:cubicBezTo>
                <a:cubicBezTo>
                  <a:pt x="4" y="131"/>
                  <a:pt x="0" y="137"/>
                  <a:pt x="0" y="143"/>
                </a:cubicBezTo>
                <a:cubicBezTo>
                  <a:pt x="1" y="150"/>
                  <a:pt x="6" y="155"/>
                  <a:pt x="14" y="157"/>
                </a:cubicBezTo>
                <a:cubicBezTo>
                  <a:pt x="14" y="157"/>
                  <a:pt x="14" y="157"/>
                  <a:pt x="14" y="157"/>
                </a:cubicBezTo>
                <a:cubicBezTo>
                  <a:pt x="15" y="157"/>
                  <a:pt x="17" y="158"/>
                  <a:pt x="22" y="158"/>
                </a:cubicBezTo>
                <a:cubicBezTo>
                  <a:pt x="28" y="158"/>
                  <a:pt x="39" y="157"/>
                  <a:pt x="49" y="151"/>
                </a:cubicBezTo>
                <a:cubicBezTo>
                  <a:pt x="48" y="157"/>
                  <a:pt x="47" y="161"/>
                  <a:pt x="47" y="162"/>
                </a:cubicBezTo>
                <a:cubicBezTo>
                  <a:pt x="46" y="162"/>
                  <a:pt x="46" y="163"/>
                  <a:pt x="46" y="164"/>
                </a:cubicBezTo>
                <a:cubicBezTo>
                  <a:pt x="46" y="167"/>
                  <a:pt x="49" y="170"/>
                  <a:pt x="52" y="170"/>
                </a:cubicBezTo>
                <a:cubicBezTo>
                  <a:pt x="55" y="170"/>
                  <a:pt x="58" y="168"/>
                  <a:pt x="58" y="165"/>
                </a:cubicBezTo>
                <a:cubicBezTo>
                  <a:pt x="58" y="164"/>
                  <a:pt x="59" y="160"/>
                  <a:pt x="60" y="155"/>
                </a:cubicBezTo>
                <a:cubicBezTo>
                  <a:pt x="72" y="170"/>
                  <a:pt x="88" y="172"/>
                  <a:pt x="89" y="172"/>
                </a:cubicBezTo>
                <a:cubicBezTo>
                  <a:pt x="90" y="172"/>
                  <a:pt x="91" y="172"/>
                  <a:pt x="92" y="172"/>
                </a:cubicBezTo>
                <a:cubicBezTo>
                  <a:pt x="99" y="172"/>
                  <a:pt x="104" y="169"/>
                  <a:pt x="107" y="164"/>
                </a:cubicBezTo>
                <a:cubicBezTo>
                  <a:pt x="107" y="162"/>
                  <a:pt x="108" y="160"/>
                  <a:pt x="108" y="158"/>
                </a:cubicBezTo>
                <a:cubicBezTo>
                  <a:pt x="110" y="158"/>
                  <a:pt x="111" y="157"/>
                  <a:pt x="112" y="157"/>
                </a:cubicBezTo>
                <a:cubicBezTo>
                  <a:pt x="112" y="157"/>
                  <a:pt x="112" y="157"/>
                  <a:pt x="112" y="157"/>
                </a:cubicBezTo>
                <a:cubicBezTo>
                  <a:pt x="120" y="155"/>
                  <a:pt x="125" y="150"/>
                  <a:pt x="126" y="143"/>
                </a:cubicBezTo>
                <a:cubicBezTo>
                  <a:pt x="126" y="137"/>
                  <a:pt x="122" y="131"/>
                  <a:pt x="116" y="129"/>
                </a:cubicBezTo>
                <a:cubicBezTo>
                  <a:pt x="114" y="129"/>
                  <a:pt x="112" y="128"/>
                  <a:pt x="109" y="128"/>
                </a:cubicBezTo>
                <a:cubicBezTo>
                  <a:pt x="100" y="126"/>
                  <a:pt x="84" y="122"/>
                  <a:pt x="75" y="114"/>
                </a:cubicBezTo>
                <a:cubicBezTo>
                  <a:pt x="78" y="114"/>
                  <a:pt x="80" y="115"/>
                  <a:pt x="83" y="115"/>
                </a:cubicBezTo>
                <a:cubicBezTo>
                  <a:pt x="90" y="115"/>
                  <a:pt x="97" y="113"/>
                  <a:pt x="104" y="110"/>
                </a:cubicBezTo>
                <a:cubicBezTo>
                  <a:pt x="108" y="107"/>
                  <a:pt x="111" y="104"/>
                  <a:pt x="114" y="101"/>
                </a:cubicBezTo>
                <a:cubicBezTo>
                  <a:pt x="114" y="102"/>
                  <a:pt x="113" y="104"/>
                  <a:pt x="113" y="105"/>
                </a:cubicBezTo>
                <a:cubicBezTo>
                  <a:pt x="114" y="112"/>
                  <a:pt x="119" y="117"/>
                  <a:pt x="127" y="119"/>
                </a:cubicBezTo>
                <a:cubicBezTo>
                  <a:pt x="127" y="120"/>
                  <a:pt x="127" y="120"/>
                  <a:pt x="128" y="120"/>
                </a:cubicBezTo>
                <a:cubicBezTo>
                  <a:pt x="128" y="120"/>
                  <a:pt x="131" y="120"/>
                  <a:pt x="135" y="120"/>
                </a:cubicBezTo>
                <a:cubicBezTo>
                  <a:pt x="141" y="120"/>
                  <a:pt x="152" y="119"/>
                  <a:pt x="162" y="113"/>
                </a:cubicBezTo>
                <a:cubicBezTo>
                  <a:pt x="161" y="119"/>
                  <a:pt x="160" y="124"/>
                  <a:pt x="160" y="124"/>
                </a:cubicBezTo>
                <a:cubicBezTo>
                  <a:pt x="160" y="125"/>
                  <a:pt x="160" y="125"/>
                  <a:pt x="160" y="126"/>
                </a:cubicBezTo>
                <a:cubicBezTo>
                  <a:pt x="160" y="129"/>
                  <a:pt x="162" y="132"/>
                  <a:pt x="166" y="132"/>
                </a:cubicBezTo>
                <a:cubicBezTo>
                  <a:pt x="168" y="132"/>
                  <a:pt x="171" y="130"/>
                  <a:pt x="171" y="127"/>
                </a:cubicBezTo>
                <a:cubicBezTo>
                  <a:pt x="172" y="126"/>
                  <a:pt x="172" y="123"/>
                  <a:pt x="174" y="117"/>
                </a:cubicBezTo>
                <a:cubicBezTo>
                  <a:pt x="185" y="132"/>
                  <a:pt x="201" y="134"/>
                  <a:pt x="202" y="134"/>
                </a:cubicBezTo>
                <a:cubicBezTo>
                  <a:pt x="203" y="135"/>
                  <a:pt x="204" y="135"/>
                  <a:pt x="205" y="135"/>
                </a:cubicBezTo>
                <a:cubicBezTo>
                  <a:pt x="212" y="135"/>
                  <a:pt x="217" y="132"/>
                  <a:pt x="220" y="126"/>
                </a:cubicBezTo>
                <a:cubicBezTo>
                  <a:pt x="221" y="124"/>
                  <a:pt x="221" y="122"/>
                  <a:pt x="221" y="120"/>
                </a:cubicBezTo>
                <a:cubicBezTo>
                  <a:pt x="223" y="120"/>
                  <a:pt x="224" y="120"/>
                  <a:pt x="225" y="120"/>
                </a:cubicBezTo>
                <a:cubicBezTo>
                  <a:pt x="225" y="120"/>
                  <a:pt x="225" y="119"/>
                  <a:pt x="225" y="119"/>
                </a:cubicBezTo>
                <a:close/>
                <a:moveTo>
                  <a:pt x="17" y="146"/>
                </a:moveTo>
                <a:cubicBezTo>
                  <a:pt x="14" y="145"/>
                  <a:pt x="12" y="143"/>
                  <a:pt x="12" y="143"/>
                </a:cubicBezTo>
                <a:cubicBezTo>
                  <a:pt x="12" y="142"/>
                  <a:pt x="13" y="141"/>
                  <a:pt x="14" y="141"/>
                </a:cubicBezTo>
                <a:cubicBezTo>
                  <a:pt x="15" y="140"/>
                  <a:pt x="17" y="140"/>
                  <a:pt x="20" y="139"/>
                </a:cubicBezTo>
                <a:cubicBezTo>
                  <a:pt x="25" y="138"/>
                  <a:pt x="31" y="137"/>
                  <a:pt x="38" y="135"/>
                </a:cubicBezTo>
                <a:cubicBezTo>
                  <a:pt x="43" y="133"/>
                  <a:pt x="47" y="132"/>
                  <a:pt x="50" y="129"/>
                </a:cubicBezTo>
                <a:cubicBezTo>
                  <a:pt x="50" y="131"/>
                  <a:pt x="50" y="133"/>
                  <a:pt x="51" y="135"/>
                </a:cubicBezTo>
                <a:cubicBezTo>
                  <a:pt x="37" y="148"/>
                  <a:pt x="19" y="146"/>
                  <a:pt x="17" y="146"/>
                </a:cubicBezTo>
                <a:close/>
                <a:moveTo>
                  <a:pt x="96" y="159"/>
                </a:moveTo>
                <a:cubicBezTo>
                  <a:pt x="95" y="160"/>
                  <a:pt x="94" y="161"/>
                  <a:pt x="90" y="160"/>
                </a:cubicBezTo>
                <a:cubicBezTo>
                  <a:pt x="90" y="160"/>
                  <a:pt x="72" y="158"/>
                  <a:pt x="64" y="138"/>
                </a:cubicBezTo>
                <a:cubicBezTo>
                  <a:pt x="61" y="131"/>
                  <a:pt x="61" y="125"/>
                  <a:pt x="62" y="120"/>
                </a:cubicBezTo>
                <a:cubicBezTo>
                  <a:pt x="64" y="126"/>
                  <a:pt x="68" y="132"/>
                  <a:pt x="74" y="139"/>
                </a:cubicBezTo>
                <a:cubicBezTo>
                  <a:pt x="79" y="144"/>
                  <a:pt x="85" y="149"/>
                  <a:pt x="90" y="154"/>
                </a:cubicBezTo>
                <a:cubicBezTo>
                  <a:pt x="92" y="155"/>
                  <a:pt x="93" y="156"/>
                  <a:pt x="95" y="157"/>
                </a:cubicBezTo>
                <a:cubicBezTo>
                  <a:pt x="96" y="158"/>
                  <a:pt x="96" y="159"/>
                  <a:pt x="96" y="159"/>
                </a:cubicBezTo>
                <a:close/>
                <a:moveTo>
                  <a:pt x="112" y="141"/>
                </a:moveTo>
                <a:cubicBezTo>
                  <a:pt x="113" y="141"/>
                  <a:pt x="114" y="142"/>
                  <a:pt x="114" y="143"/>
                </a:cubicBezTo>
                <a:cubicBezTo>
                  <a:pt x="114" y="143"/>
                  <a:pt x="112" y="145"/>
                  <a:pt x="109" y="146"/>
                </a:cubicBezTo>
                <a:cubicBezTo>
                  <a:pt x="108" y="146"/>
                  <a:pt x="106" y="146"/>
                  <a:pt x="102" y="146"/>
                </a:cubicBezTo>
                <a:cubicBezTo>
                  <a:pt x="102" y="146"/>
                  <a:pt x="101" y="146"/>
                  <a:pt x="101" y="146"/>
                </a:cubicBezTo>
                <a:cubicBezTo>
                  <a:pt x="100" y="146"/>
                  <a:pt x="99" y="145"/>
                  <a:pt x="98" y="144"/>
                </a:cubicBezTo>
                <a:cubicBezTo>
                  <a:pt x="94" y="141"/>
                  <a:pt x="90" y="138"/>
                  <a:pt x="86" y="134"/>
                </a:cubicBezTo>
                <a:cubicBezTo>
                  <a:pt x="94" y="137"/>
                  <a:pt x="101" y="138"/>
                  <a:pt x="107" y="140"/>
                </a:cubicBezTo>
                <a:cubicBezTo>
                  <a:pt x="109" y="140"/>
                  <a:pt x="111" y="141"/>
                  <a:pt x="112" y="141"/>
                </a:cubicBezTo>
                <a:close/>
                <a:moveTo>
                  <a:pt x="98" y="99"/>
                </a:moveTo>
                <a:cubicBezTo>
                  <a:pt x="90" y="104"/>
                  <a:pt x="79" y="103"/>
                  <a:pt x="73" y="102"/>
                </a:cubicBezTo>
                <a:cubicBezTo>
                  <a:pt x="76" y="98"/>
                  <a:pt x="78" y="95"/>
                  <a:pt x="80" y="91"/>
                </a:cubicBezTo>
                <a:cubicBezTo>
                  <a:pt x="91" y="84"/>
                  <a:pt x="102" y="87"/>
                  <a:pt x="107" y="89"/>
                </a:cubicBezTo>
                <a:cubicBezTo>
                  <a:pt x="105" y="94"/>
                  <a:pt x="102" y="97"/>
                  <a:pt x="98" y="99"/>
                </a:cubicBezTo>
                <a:close/>
                <a:moveTo>
                  <a:pt x="220" y="52"/>
                </a:moveTo>
                <a:cubicBezTo>
                  <a:pt x="218" y="56"/>
                  <a:pt x="215" y="59"/>
                  <a:pt x="211" y="61"/>
                </a:cubicBezTo>
                <a:cubicBezTo>
                  <a:pt x="203" y="66"/>
                  <a:pt x="192" y="65"/>
                  <a:pt x="186" y="64"/>
                </a:cubicBezTo>
                <a:cubicBezTo>
                  <a:pt x="189" y="60"/>
                  <a:pt x="191" y="57"/>
                  <a:pt x="193" y="54"/>
                </a:cubicBezTo>
                <a:cubicBezTo>
                  <a:pt x="204" y="46"/>
                  <a:pt x="215" y="49"/>
                  <a:pt x="220" y="52"/>
                </a:cubicBezTo>
                <a:close/>
                <a:moveTo>
                  <a:pt x="130" y="108"/>
                </a:moveTo>
                <a:cubicBezTo>
                  <a:pt x="127" y="107"/>
                  <a:pt x="126" y="106"/>
                  <a:pt x="125" y="105"/>
                </a:cubicBezTo>
                <a:cubicBezTo>
                  <a:pt x="125" y="104"/>
                  <a:pt x="126" y="103"/>
                  <a:pt x="127" y="103"/>
                </a:cubicBezTo>
                <a:cubicBezTo>
                  <a:pt x="128" y="103"/>
                  <a:pt x="131" y="102"/>
                  <a:pt x="133" y="102"/>
                </a:cubicBezTo>
                <a:cubicBezTo>
                  <a:pt x="138" y="101"/>
                  <a:pt x="145" y="99"/>
                  <a:pt x="151" y="97"/>
                </a:cubicBezTo>
                <a:cubicBezTo>
                  <a:pt x="156" y="96"/>
                  <a:pt x="160" y="94"/>
                  <a:pt x="163" y="92"/>
                </a:cubicBezTo>
                <a:cubicBezTo>
                  <a:pt x="163" y="94"/>
                  <a:pt x="163" y="95"/>
                  <a:pt x="164" y="97"/>
                </a:cubicBezTo>
                <a:cubicBezTo>
                  <a:pt x="150" y="110"/>
                  <a:pt x="132" y="108"/>
                  <a:pt x="130" y="108"/>
                </a:cubicBezTo>
                <a:close/>
                <a:moveTo>
                  <a:pt x="209" y="121"/>
                </a:moveTo>
                <a:cubicBezTo>
                  <a:pt x="208" y="122"/>
                  <a:pt x="207" y="123"/>
                  <a:pt x="203" y="123"/>
                </a:cubicBezTo>
                <a:cubicBezTo>
                  <a:pt x="203" y="123"/>
                  <a:pt x="185" y="120"/>
                  <a:pt x="177" y="100"/>
                </a:cubicBezTo>
                <a:cubicBezTo>
                  <a:pt x="174" y="93"/>
                  <a:pt x="174" y="87"/>
                  <a:pt x="175" y="82"/>
                </a:cubicBezTo>
                <a:cubicBezTo>
                  <a:pt x="177" y="88"/>
                  <a:pt x="181" y="94"/>
                  <a:pt x="187" y="101"/>
                </a:cubicBezTo>
                <a:cubicBezTo>
                  <a:pt x="192" y="106"/>
                  <a:pt x="198" y="112"/>
                  <a:pt x="204" y="116"/>
                </a:cubicBezTo>
                <a:cubicBezTo>
                  <a:pt x="205" y="117"/>
                  <a:pt x="207" y="118"/>
                  <a:pt x="208" y="119"/>
                </a:cubicBezTo>
                <a:cubicBezTo>
                  <a:pt x="208" y="119"/>
                  <a:pt x="208" y="119"/>
                  <a:pt x="208" y="119"/>
                </a:cubicBezTo>
                <a:cubicBezTo>
                  <a:pt x="209" y="120"/>
                  <a:pt x="209" y="121"/>
                  <a:pt x="209" y="121"/>
                </a:cubicBezTo>
                <a:close/>
                <a:moveTo>
                  <a:pt x="215" y="108"/>
                </a:moveTo>
                <a:cubicBezTo>
                  <a:pt x="215" y="108"/>
                  <a:pt x="214" y="108"/>
                  <a:pt x="214" y="109"/>
                </a:cubicBezTo>
                <a:cubicBezTo>
                  <a:pt x="213" y="108"/>
                  <a:pt x="212" y="107"/>
                  <a:pt x="211" y="106"/>
                </a:cubicBezTo>
                <a:cubicBezTo>
                  <a:pt x="207" y="103"/>
                  <a:pt x="203" y="100"/>
                  <a:pt x="199" y="96"/>
                </a:cubicBezTo>
                <a:cubicBezTo>
                  <a:pt x="207" y="99"/>
                  <a:pt x="214" y="101"/>
                  <a:pt x="220" y="102"/>
                </a:cubicBezTo>
                <a:cubicBezTo>
                  <a:pt x="222" y="102"/>
                  <a:pt x="224" y="103"/>
                  <a:pt x="225" y="103"/>
                </a:cubicBezTo>
                <a:cubicBezTo>
                  <a:pt x="226" y="103"/>
                  <a:pt x="227" y="104"/>
                  <a:pt x="227" y="105"/>
                </a:cubicBezTo>
                <a:cubicBezTo>
                  <a:pt x="227" y="106"/>
                  <a:pt x="225" y="107"/>
                  <a:pt x="222" y="108"/>
                </a:cubicBezTo>
                <a:cubicBezTo>
                  <a:pt x="222" y="108"/>
                  <a:pt x="219" y="108"/>
                  <a:pt x="215"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DCFB7274-AC74-40DC-B7AD-331FDEB854E3}"/>
              </a:ext>
            </a:extLst>
          </p:cNvPr>
          <p:cNvSpPr>
            <a:spLocks noEditPoints="1"/>
          </p:cNvSpPr>
          <p:nvPr/>
        </p:nvSpPr>
        <p:spPr bwMode="auto">
          <a:xfrm>
            <a:off x="6919559" y="3376657"/>
            <a:ext cx="752212" cy="547063"/>
          </a:xfrm>
          <a:custGeom>
            <a:avLst/>
            <a:gdLst>
              <a:gd name="T0" fmla="*/ 222 w 239"/>
              <a:gd name="T1" fmla="*/ 90 h 173"/>
              <a:gd name="T2" fmla="*/ 217 w 239"/>
              <a:gd name="T3" fmla="*/ 72 h 173"/>
              <a:gd name="T4" fmla="*/ 200 w 239"/>
              <a:gd name="T5" fmla="*/ 38 h 173"/>
              <a:gd name="T6" fmla="*/ 168 w 239"/>
              <a:gd name="T7" fmla="*/ 15 h 173"/>
              <a:gd name="T8" fmla="*/ 188 w 239"/>
              <a:gd name="T9" fmla="*/ 14 h 173"/>
              <a:gd name="T10" fmla="*/ 139 w 239"/>
              <a:gd name="T11" fmla="*/ 17 h 173"/>
              <a:gd name="T12" fmla="*/ 156 w 239"/>
              <a:gd name="T13" fmla="*/ 58 h 173"/>
              <a:gd name="T14" fmla="*/ 166 w 239"/>
              <a:gd name="T15" fmla="*/ 71 h 173"/>
              <a:gd name="T16" fmla="*/ 123 w 239"/>
              <a:gd name="T17" fmla="*/ 92 h 173"/>
              <a:gd name="T18" fmla="*/ 118 w 239"/>
              <a:gd name="T19" fmla="*/ 82 h 173"/>
              <a:gd name="T20" fmla="*/ 77 w 239"/>
              <a:gd name="T21" fmla="*/ 38 h 173"/>
              <a:gd name="T22" fmla="*/ 65 w 239"/>
              <a:gd name="T23" fmla="*/ 60 h 173"/>
              <a:gd name="T24" fmla="*/ 33 w 239"/>
              <a:gd name="T25" fmla="*/ 52 h 173"/>
              <a:gd name="T26" fmla="*/ 45 w 239"/>
              <a:gd name="T27" fmla="*/ 104 h 173"/>
              <a:gd name="T28" fmla="*/ 53 w 239"/>
              <a:gd name="T29" fmla="*/ 108 h 173"/>
              <a:gd name="T30" fmla="*/ 18 w 239"/>
              <a:gd name="T31" fmla="*/ 128 h 173"/>
              <a:gd name="T32" fmla="*/ 14 w 239"/>
              <a:gd name="T33" fmla="*/ 157 h 173"/>
              <a:gd name="T34" fmla="*/ 49 w 239"/>
              <a:gd name="T35" fmla="*/ 151 h 173"/>
              <a:gd name="T36" fmla="*/ 52 w 239"/>
              <a:gd name="T37" fmla="*/ 170 h 173"/>
              <a:gd name="T38" fmla="*/ 60 w 239"/>
              <a:gd name="T39" fmla="*/ 155 h 173"/>
              <a:gd name="T40" fmla="*/ 107 w 239"/>
              <a:gd name="T41" fmla="*/ 164 h 173"/>
              <a:gd name="T42" fmla="*/ 112 w 239"/>
              <a:gd name="T43" fmla="*/ 157 h 173"/>
              <a:gd name="T44" fmla="*/ 109 w 239"/>
              <a:gd name="T45" fmla="*/ 128 h 173"/>
              <a:gd name="T46" fmla="*/ 104 w 239"/>
              <a:gd name="T47" fmla="*/ 110 h 173"/>
              <a:gd name="T48" fmla="*/ 127 w 239"/>
              <a:gd name="T49" fmla="*/ 120 h 173"/>
              <a:gd name="T50" fmla="*/ 162 w 239"/>
              <a:gd name="T51" fmla="*/ 113 h 173"/>
              <a:gd name="T52" fmla="*/ 165 w 239"/>
              <a:gd name="T53" fmla="*/ 132 h 173"/>
              <a:gd name="T54" fmla="*/ 174 w 239"/>
              <a:gd name="T55" fmla="*/ 118 h 173"/>
              <a:gd name="T56" fmla="*/ 220 w 239"/>
              <a:gd name="T57" fmla="*/ 126 h 173"/>
              <a:gd name="T58" fmla="*/ 225 w 239"/>
              <a:gd name="T59" fmla="*/ 120 h 173"/>
              <a:gd name="T60" fmla="*/ 12 w 239"/>
              <a:gd name="T61" fmla="*/ 143 h 173"/>
              <a:gd name="T62" fmla="*/ 38 w 239"/>
              <a:gd name="T63" fmla="*/ 135 h 173"/>
              <a:gd name="T64" fmla="*/ 17 w 239"/>
              <a:gd name="T65" fmla="*/ 146 h 173"/>
              <a:gd name="T66" fmla="*/ 64 w 239"/>
              <a:gd name="T67" fmla="*/ 138 h 173"/>
              <a:gd name="T68" fmla="*/ 90 w 239"/>
              <a:gd name="T69" fmla="*/ 154 h 173"/>
              <a:gd name="T70" fmla="*/ 112 w 239"/>
              <a:gd name="T71" fmla="*/ 141 h 173"/>
              <a:gd name="T72" fmla="*/ 102 w 239"/>
              <a:gd name="T73" fmla="*/ 146 h 173"/>
              <a:gd name="T74" fmla="*/ 86 w 239"/>
              <a:gd name="T75" fmla="*/ 134 h 173"/>
              <a:gd name="T76" fmla="*/ 98 w 239"/>
              <a:gd name="T77" fmla="*/ 99 h 173"/>
              <a:gd name="T78" fmla="*/ 107 w 239"/>
              <a:gd name="T79" fmla="*/ 89 h 173"/>
              <a:gd name="T80" fmla="*/ 211 w 239"/>
              <a:gd name="T81" fmla="*/ 62 h 173"/>
              <a:gd name="T82" fmla="*/ 220 w 239"/>
              <a:gd name="T83" fmla="*/ 52 h 173"/>
              <a:gd name="T84" fmla="*/ 127 w 239"/>
              <a:gd name="T85" fmla="*/ 103 h 173"/>
              <a:gd name="T86" fmla="*/ 163 w 239"/>
              <a:gd name="T87" fmla="*/ 92 h 173"/>
              <a:gd name="T88" fmla="*/ 209 w 239"/>
              <a:gd name="T89" fmla="*/ 122 h 173"/>
              <a:gd name="T90" fmla="*/ 175 w 239"/>
              <a:gd name="T91" fmla="*/ 82 h 173"/>
              <a:gd name="T92" fmla="*/ 208 w 239"/>
              <a:gd name="T93" fmla="*/ 119 h 173"/>
              <a:gd name="T94" fmla="*/ 215 w 239"/>
              <a:gd name="T95" fmla="*/ 108 h 173"/>
              <a:gd name="T96" fmla="*/ 199 w 239"/>
              <a:gd name="T97" fmla="*/ 96 h 173"/>
              <a:gd name="T98" fmla="*/ 227 w 239"/>
              <a:gd name="T99"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9" h="173">
                <a:moveTo>
                  <a:pt x="239" y="105"/>
                </a:moveTo>
                <a:cubicBezTo>
                  <a:pt x="239" y="99"/>
                  <a:pt x="235" y="94"/>
                  <a:pt x="229" y="92"/>
                </a:cubicBezTo>
                <a:cubicBezTo>
                  <a:pt x="227" y="91"/>
                  <a:pt x="225" y="91"/>
                  <a:pt x="222" y="90"/>
                </a:cubicBezTo>
                <a:cubicBezTo>
                  <a:pt x="213" y="88"/>
                  <a:pt x="197" y="85"/>
                  <a:pt x="188" y="76"/>
                </a:cubicBezTo>
                <a:cubicBezTo>
                  <a:pt x="191" y="77"/>
                  <a:pt x="193" y="77"/>
                  <a:pt x="196" y="77"/>
                </a:cubicBezTo>
                <a:cubicBezTo>
                  <a:pt x="203" y="77"/>
                  <a:pt x="210" y="76"/>
                  <a:pt x="217" y="72"/>
                </a:cubicBezTo>
                <a:cubicBezTo>
                  <a:pt x="225" y="68"/>
                  <a:pt x="230" y="60"/>
                  <a:pt x="233" y="51"/>
                </a:cubicBezTo>
                <a:cubicBezTo>
                  <a:pt x="234" y="48"/>
                  <a:pt x="233" y="46"/>
                  <a:pt x="231" y="44"/>
                </a:cubicBezTo>
                <a:cubicBezTo>
                  <a:pt x="230" y="44"/>
                  <a:pt x="217" y="34"/>
                  <a:pt x="200" y="38"/>
                </a:cubicBezTo>
                <a:cubicBezTo>
                  <a:pt x="204" y="19"/>
                  <a:pt x="197" y="4"/>
                  <a:pt x="197" y="4"/>
                </a:cubicBezTo>
                <a:cubicBezTo>
                  <a:pt x="195" y="1"/>
                  <a:pt x="193" y="0"/>
                  <a:pt x="190" y="1"/>
                </a:cubicBezTo>
                <a:cubicBezTo>
                  <a:pt x="178" y="3"/>
                  <a:pt x="169" y="15"/>
                  <a:pt x="168" y="15"/>
                </a:cubicBezTo>
                <a:cubicBezTo>
                  <a:pt x="166" y="18"/>
                  <a:pt x="167" y="22"/>
                  <a:pt x="170" y="24"/>
                </a:cubicBezTo>
                <a:cubicBezTo>
                  <a:pt x="172" y="26"/>
                  <a:pt x="176" y="25"/>
                  <a:pt x="178" y="23"/>
                </a:cubicBezTo>
                <a:cubicBezTo>
                  <a:pt x="178" y="23"/>
                  <a:pt x="182" y="17"/>
                  <a:pt x="188" y="14"/>
                </a:cubicBezTo>
                <a:cubicBezTo>
                  <a:pt x="190" y="22"/>
                  <a:pt x="192" y="39"/>
                  <a:pt x="177" y="56"/>
                </a:cubicBezTo>
                <a:cubicBezTo>
                  <a:pt x="172" y="29"/>
                  <a:pt x="158" y="18"/>
                  <a:pt x="147" y="14"/>
                </a:cubicBezTo>
                <a:cubicBezTo>
                  <a:pt x="144" y="13"/>
                  <a:pt x="140" y="14"/>
                  <a:pt x="139" y="17"/>
                </a:cubicBezTo>
                <a:cubicBezTo>
                  <a:pt x="134" y="28"/>
                  <a:pt x="129" y="54"/>
                  <a:pt x="149" y="67"/>
                </a:cubicBezTo>
                <a:cubicBezTo>
                  <a:pt x="152" y="69"/>
                  <a:pt x="156" y="69"/>
                  <a:pt x="158" y="66"/>
                </a:cubicBezTo>
                <a:cubicBezTo>
                  <a:pt x="160" y="63"/>
                  <a:pt x="159" y="59"/>
                  <a:pt x="156" y="58"/>
                </a:cubicBezTo>
                <a:cubicBezTo>
                  <a:pt x="144" y="49"/>
                  <a:pt x="146" y="35"/>
                  <a:pt x="148" y="28"/>
                </a:cubicBezTo>
                <a:cubicBezTo>
                  <a:pt x="159" y="34"/>
                  <a:pt x="165" y="49"/>
                  <a:pt x="166" y="71"/>
                </a:cubicBezTo>
                <a:cubicBezTo>
                  <a:pt x="166" y="71"/>
                  <a:pt x="166" y="71"/>
                  <a:pt x="166" y="71"/>
                </a:cubicBezTo>
                <a:cubicBezTo>
                  <a:pt x="162" y="77"/>
                  <a:pt x="159" y="82"/>
                  <a:pt x="148" y="86"/>
                </a:cubicBezTo>
                <a:cubicBezTo>
                  <a:pt x="142" y="88"/>
                  <a:pt x="135" y="89"/>
                  <a:pt x="131" y="90"/>
                </a:cubicBezTo>
                <a:cubicBezTo>
                  <a:pt x="127" y="91"/>
                  <a:pt x="125" y="91"/>
                  <a:pt x="123" y="92"/>
                </a:cubicBezTo>
                <a:cubicBezTo>
                  <a:pt x="121" y="93"/>
                  <a:pt x="119" y="94"/>
                  <a:pt x="117" y="96"/>
                </a:cubicBezTo>
                <a:cubicBezTo>
                  <a:pt x="118" y="93"/>
                  <a:pt x="119" y="91"/>
                  <a:pt x="120" y="88"/>
                </a:cubicBezTo>
                <a:cubicBezTo>
                  <a:pt x="121" y="86"/>
                  <a:pt x="120" y="83"/>
                  <a:pt x="118" y="82"/>
                </a:cubicBezTo>
                <a:cubicBezTo>
                  <a:pt x="117" y="81"/>
                  <a:pt x="103" y="72"/>
                  <a:pt x="87" y="76"/>
                </a:cubicBezTo>
                <a:cubicBezTo>
                  <a:pt x="91" y="57"/>
                  <a:pt x="84" y="42"/>
                  <a:pt x="84" y="42"/>
                </a:cubicBezTo>
                <a:cubicBezTo>
                  <a:pt x="82" y="39"/>
                  <a:pt x="80" y="38"/>
                  <a:pt x="77" y="38"/>
                </a:cubicBezTo>
                <a:cubicBezTo>
                  <a:pt x="64" y="41"/>
                  <a:pt x="56" y="53"/>
                  <a:pt x="55" y="53"/>
                </a:cubicBezTo>
                <a:cubicBezTo>
                  <a:pt x="53" y="56"/>
                  <a:pt x="54" y="60"/>
                  <a:pt x="56" y="62"/>
                </a:cubicBezTo>
                <a:cubicBezTo>
                  <a:pt x="59" y="64"/>
                  <a:pt x="63" y="63"/>
                  <a:pt x="65" y="60"/>
                </a:cubicBezTo>
                <a:cubicBezTo>
                  <a:pt x="65" y="60"/>
                  <a:pt x="69" y="55"/>
                  <a:pt x="75" y="52"/>
                </a:cubicBezTo>
                <a:cubicBezTo>
                  <a:pt x="77" y="60"/>
                  <a:pt x="79" y="77"/>
                  <a:pt x="63" y="94"/>
                </a:cubicBezTo>
                <a:cubicBezTo>
                  <a:pt x="59" y="66"/>
                  <a:pt x="45" y="55"/>
                  <a:pt x="33" y="52"/>
                </a:cubicBezTo>
                <a:cubicBezTo>
                  <a:pt x="30" y="51"/>
                  <a:pt x="27" y="52"/>
                  <a:pt x="26" y="55"/>
                </a:cubicBezTo>
                <a:cubicBezTo>
                  <a:pt x="21" y="66"/>
                  <a:pt x="16" y="91"/>
                  <a:pt x="36" y="105"/>
                </a:cubicBezTo>
                <a:cubicBezTo>
                  <a:pt x="39" y="107"/>
                  <a:pt x="43" y="106"/>
                  <a:pt x="45" y="104"/>
                </a:cubicBezTo>
                <a:cubicBezTo>
                  <a:pt x="47" y="101"/>
                  <a:pt x="46" y="97"/>
                  <a:pt x="43" y="95"/>
                </a:cubicBezTo>
                <a:cubicBezTo>
                  <a:pt x="31" y="87"/>
                  <a:pt x="33" y="73"/>
                  <a:pt x="35" y="65"/>
                </a:cubicBezTo>
                <a:cubicBezTo>
                  <a:pt x="46" y="72"/>
                  <a:pt x="52" y="86"/>
                  <a:pt x="53" y="108"/>
                </a:cubicBezTo>
                <a:cubicBezTo>
                  <a:pt x="53" y="108"/>
                  <a:pt x="53" y="108"/>
                  <a:pt x="53" y="109"/>
                </a:cubicBezTo>
                <a:cubicBezTo>
                  <a:pt x="49" y="114"/>
                  <a:pt x="46" y="120"/>
                  <a:pt x="35" y="124"/>
                </a:cubicBezTo>
                <a:cubicBezTo>
                  <a:pt x="28" y="126"/>
                  <a:pt x="22" y="127"/>
                  <a:pt x="18" y="128"/>
                </a:cubicBezTo>
                <a:cubicBezTo>
                  <a:pt x="14" y="128"/>
                  <a:pt x="12" y="129"/>
                  <a:pt x="10" y="130"/>
                </a:cubicBezTo>
                <a:cubicBezTo>
                  <a:pt x="4" y="132"/>
                  <a:pt x="0" y="137"/>
                  <a:pt x="0" y="143"/>
                </a:cubicBezTo>
                <a:cubicBezTo>
                  <a:pt x="1" y="150"/>
                  <a:pt x="6" y="155"/>
                  <a:pt x="14" y="157"/>
                </a:cubicBezTo>
                <a:cubicBezTo>
                  <a:pt x="14" y="157"/>
                  <a:pt x="14" y="157"/>
                  <a:pt x="14" y="157"/>
                </a:cubicBezTo>
                <a:cubicBezTo>
                  <a:pt x="15" y="157"/>
                  <a:pt x="17" y="158"/>
                  <a:pt x="22" y="158"/>
                </a:cubicBezTo>
                <a:cubicBezTo>
                  <a:pt x="28" y="158"/>
                  <a:pt x="39" y="157"/>
                  <a:pt x="49" y="151"/>
                </a:cubicBezTo>
                <a:cubicBezTo>
                  <a:pt x="48" y="157"/>
                  <a:pt x="47" y="161"/>
                  <a:pt x="47" y="162"/>
                </a:cubicBezTo>
                <a:cubicBezTo>
                  <a:pt x="46" y="163"/>
                  <a:pt x="46" y="163"/>
                  <a:pt x="46" y="164"/>
                </a:cubicBezTo>
                <a:cubicBezTo>
                  <a:pt x="46" y="167"/>
                  <a:pt x="49" y="169"/>
                  <a:pt x="52" y="170"/>
                </a:cubicBezTo>
                <a:cubicBezTo>
                  <a:pt x="52" y="170"/>
                  <a:pt x="52" y="170"/>
                  <a:pt x="52" y="170"/>
                </a:cubicBezTo>
                <a:cubicBezTo>
                  <a:pt x="55" y="170"/>
                  <a:pt x="58" y="168"/>
                  <a:pt x="58" y="165"/>
                </a:cubicBezTo>
                <a:cubicBezTo>
                  <a:pt x="58" y="165"/>
                  <a:pt x="59" y="161"/>
                  <a:pt x="60" y="155"/>
                </a:cubicBezTo>
                <a:cubicBezTo>
                  <a:pt x="72" y="170"/>
                  <a:pt x="88" y="172"/>
                  <a:pt x="89" y="172"/>
                </a:cubicBezTo>
                <a:cubicBezTo>
                  <a:pt x="90" y="172"/>
                  <a:pt x="91" y="173"/>
                  <a:pt x="92" y="173"/>
                </a:cubicBezTo>
                <a:cubicBezTo>
                  <a:pt x="99" y="173"/>
                  <a:pt x="104" y="169"/>
                  <a:pt x="107" y="164"/>
                </a:cubicBezTo>
                <a:cubicBezTo>
                  <a:pt x="107" y="162"/>
                  <a:pt x="108" y="160"/>
                  <a:pt x="108" y="158"/>
                </a:cubicBezTo>
                <a:cubicBezTo>
                  <a:pt x="110" y="158"/>
                  <a:pt x="111" y="158"/>
                  <a:pt x="112" y="157"/>
                </a:cubicBezTo>
                <a:cubicBezTo>
                  <a:pt x="112" y="157"/>
                  <a:pt x="112" y="157"/>
                  <a:pt x="112" y="157"/>
                </a:cubicBezTo>
                <a:cubicBezTo>
                  <a:pt x="120" y="155"/>
                  <a:pt x="125" y="150"/>
                  <a:pt x="126" y="143"/>
                </a:cubicBezTo>
                <a:cubicBezTo>
                  <a:pt x="126" y="137"/>
                  <a:pt x="122" y="132"/>
                  <a:pt x="116" y="130"/>
                </a:cubicBezTo>
                <a:cubicBezTo>
                  <a:pt x="114" y="129"/>
                  <a:pt x="112" y="129"/>
                  <a:pt x="109" y="128"/>
                </a:cubicBezTo>
                <a:cubicBezTo>
                  <a:pt x="100" y="126"/>
                  <a:pt x="84" y="123"/>
                  <a:pt x="75" y="114"/>
                </a:cubicBezTo>
                <a:cubicBezTo>
                  <a:pt x="78" y="114"/>
                  <a:pt x="80" y="115"/>
                  <a:pt x="83" y="115"/>
                </a:cubicBezTo>
                <a:cubicBezTo>
                  <a:pt x="90" y="115"/>
                  <a:pt x="97" y="114"/>
                  <a:pt x="104" y="110"/>
                </a:cubicBezTo>
                <a:cubicBezTo>
                  <a:pt x="108" y="108"/>
                  <a:pt x="111" y="105"/>
                  <a:pt x="114" y="101"/>
                </a:cubicBezTo>
                <a:cubicBezTo>
                  <a:pt x="114" y="102"/>
                  <a:pt x="113" y="104"/>
                  <a:pt x="113" y="105"/>
                </a:cubicBezTo>
                <a:cubicBezTo>
                  <a:pt x="114" y="112"/>
                  <a:pt x="119" y="117"/>
                  <a:pt x="127" y="120"/>
                </a:cubicBezTo>
                <a:cubicBezTo>
                  <a:pt x="127" y="120"/>
                  <a:pt x="127" y="120"/>
                  <a:pt x="128" y="120"/>
                </a:cubicBezTo>
                <a:cubicBezTo>
                  <a:pt x="128" y="120"/>
                  <a:pt x="131" y="120"/>
                  <a:pt x="135" y="120"/>
                </a:cubicBezTo>
                <a:cubicBezTo>
                  <a:pt x="141" y="120"/>
                  <a:pt x="152" y="119"/>
                  <a:pt x="162" y="113"/>
                </a:cubicBezTo>
                <a:cubicBezTo>
                  <a:pt x="161" y="120"/>
                  <a:pt x="160" y="124"/>
                  <a:pt x="160" y="124"/>
                </a:cubicBezTo>
                <a:cubicBezTo>
                  <a:pt x="160" y="125"/>
                  <a:pt x="160" y="125"/>
                  <a:pt x="160" y="126"/>
                </a:cubicBezTo>
                <a:cubicBezTo>
                  <a:pt x="160" y="129"/>
                  <a:pt x="162" y="131"/>
                  <a:pt x="165" y="132"/>
                </a:cubicBezTo>
                <a:cubicBezTo>
                  <a:pt x="165" y="132"/>
                  <a:pt x="165" y="132"/>
                  <a:pt x="166" y="132"/>
                </a:cubicBezTo>
                <a:cubicBezTo>
                  <a:pt x="168" y="132"/>
                  <a:pt x="171" y="130"/>
                  <a:pt x="171" y="127"/>
                </a:cubicBezTo>
                <a:cubicBezTo>
                  <a:pt x="172" y="127"/>
                  <a:pt x="172" y="123"/>
                  <a:pt x="174" y="118"/>
                </a:cubicBezTo>
                <a:cubicBezTo>
                  <a:pt x="185" y="132"/>
                  <a:pt x="201" y="134"/>
                  <a:pt x="202" y="135"/>
                </a:cubicBezTo>
                <a:cubicBezTo>
                  <a:pt x="203" y="135"/>
                  <a:pt x="204" y="135"/>
                  <a:pt x="205" y="135"/>
                </a:cubicBezTo>
                <a:cubicBezTo>
                  <a:pt x="212" y="135"/>
                  <a:pt x="217" y="132"/>
                  <a:pt x="220" y="126"/>
                </a:cubicBezTo>
                <a:cubicBezTo>
                  <a:pt x="221" y="124"/>
                  <a:pt x="221" y="122"/>
                  <a:pt x="221" y="120"/>
                </a:cubicBezTo>
                <a:cubicBezTo>
                  <a:pt x="223" y="120"/>
                  <a:pt x="224" y="120"/>
                  <a:pt x="225" y="120"/>
                </a:cubicBezTo>
                <a:cubicBezTo>
                  <a:pt x="225" y="120"/>
                  <a:pt x="225" y="120"/>
                  <a:pt x="225" y="120"/>
                </a:cubicBezTo>
                <a:cubicBezTo>
                  <a:pt x="233" y="117"/>
                  <a:pt x="239" y="112"/>
                  <a:pt x="239" y="105"/>
                </a:cubicBezTo>
                <a:close/>
                <a:moveTo>
                  <a:pt x="17" y="146"/>
                </a:moveTo>
                <a:cubicBezTo>
                  <a:pt x="14" y="145"/>
                  <a:pt x="12" y="143"/>
                  <a:pt x="12" y="143"/>
                </a:cubicBezTo>
                <a:cubicBezTo>
                  <a:pt x="12" y="142"/>
                  <a:pt x="13" y="141"/>
                  <a:pt x="14" y="141"/>
                </a:cubicBezTo>
                <a:cubicBezTo>
                  <a:pt x="15" y="141"/>
                  <a:pt x="17" y="140"/>
                  <a:pt x="20" y="140"/>
                </a:cubicBezTo>
                <a:cubicBezTo>
                  <a:pt x="25" y="139"/>
                  <a:pt x="31" y="137"/>
                  <a:pt x="38" y="135"/>
                </a:cubicBezTo>
                <a:cubicBezTo>
                  <a:pt x="43" y="133"/>
                  <a:pt x="47" y="132"/>
                  <a:pt x="50" y="130"/>
                </a:cubicBezTo>
                <a:cubicBezTo>
                  <a:pt x="50" y="131"/>
                  <a:pt x="50" y="133"/>
                  <a:pt x="51" y="135"/>
                </a:cubicBezTo>
                <a:cubicBezTo>
                  <a:pt x="37" y="148"/>
                  <a:pt x="19" y="146"/>
                  <a:pt x="17" y="146"/>
                </a:cubicBezTo>
                <a:close/>
                <a:moveTo>
                  <a:pt x="96" y="159"/>
                </a:moveTo>
                <a:cubicBezTo>
                  <a:pt x="95" y="160"/>
                  <a:pt x="94" y="161"/>
                  <a:pt x="90" y="160"/>
                </a:cubicBezTo>
                <a:cubicBezTo>
                  <a:pt x="90" y="160"/>
                  <a:pt x="72" y="158"/>
                  <a:pt x="64" y="138"/>
                </a:cubicBezTo>
                <a:cubicBezTo>
                  <a:pt x="61" y="131"/>
                  <a:pt x="61" y="125"/>
                  <a:pt x="62" y="120"/>
                </a:cubicBezTo>
                <a:cubicBezTo>
                  <a:pt x="64" y="126"/>
                  <a:pt x="68" y="132"/>
                  <a:pt x="74" y="139"/>
                </a:cubicBezTo>
                <a:cubicBezTo>
                  <a:pt x="79" y="144"/>
                  <a:pt x="85" y="149"/>
                  <a:pt x="90" y="154"/>
                </a:cubicBezTo>
                <a:cubicBezTo>
                  <a:pt x="92" y="155"/>
                  <a:pt x="93" y="156"/>
                  <a:pt x="95" y="157"/>
                </a:cubicBezTo>
                <a:cubicBezTo>
                  <a:pt x="96" y="158"/>
                  <a:pt x="96" y="159"/>
                  <a:pt x="96" y="159"/>
                </a:cubicBezTo>
                <a:close/>
                <a:moveTo>
                  <a:pt x="112" y="141"/>
                </a:moveTo>
                <a:cubicBezTo>
                  <a:pt x="113" y="141"/>
                  <a:pt x="114" y="142"/>
                  <a:pt x="114" y="143"/>
                </a:cubicBezTo>
                <a:cubicBezTo>
                  <a:pt x="114" y="143"/>
                  <a:pt x="112" y="145"/>
                  <a:pt x="109" y="146"/>
                </a:cubicBezTo>
                <a:cubicBezTo>
                  <a:pt x="108" y="146"/>
                  <a:pt x="106" y="146"/>
                  <a:pt x="102" y="146"/>
                </a:cubicBezTo>
                <a:cubicBezTo>
                  <a:pt x="102" y="146"/>
                  <a:pt x="101" y="146"/>
                  <a:pt x="101" y="146"/>
                </a:cubicBezTo>
                <a:cubicBezTo>
                  <a:pt x="100" y="146"/>
                  <a:pt x="99" y="145"/>
                  <a:pt x="98" y="144"/>
                </a:cubicBezTo>
                <a:cubicBezTo>
                  <a:pt x="94" y="141"/>
                  <a:pt x="90" y="138"/>
                  <a:pt x="86" y="134"/>
                </a:cubicBezTo>
                <a:cubicBezTo>
                  <a:pt x="94" y="137"/>
                  <a:pt x="101" y="139"/>
                  <a:pt x="107" y="140"/>
                </a:cubicBezTo>
                <a:cubicBezTo>
                  <a:pt x="109" y="140"/>
                  <a:pt x="111" y="141"/>
                  <a:pt x="112" y="141"/>
                </a:cubicBezTo>
                <a:close/>
                <a:moveTo>
                  <a:pt x="98" y="99"/>
                </a:moveTo>
                <a:cubicBezTo>
                  <a:pt x="90" y="104"/>
                  <a:pt x="79" y="103"/>
                  <a:pt x="73" y="102"/>
                </a:cubicBezTo>
                <a:cubicBezTo>
                  <a:pt x="76" y="98"/>
                  <a:pt x="78" y="95"/>
                  <a:pt x="80" y="91"/>
                </a:cubicBezTo>
                <a:cubicBezTo>
                  <a:pt x="91" y="84"/>
                  <a:pt x="102" y="87"/>
                  <a:pt x="107" y="89"/>
                </a:cubicBezTo>
                <a:cubicBezTo>
                  <a:pt x="105" y="94"/>
                  <a:pt x="102" y="97"/>
                  <a:pt x="98" y="99"/>
                </a:cubicBezTo>
                <a:close/>
                <a:moveTo>
                  <a:pt x="220" y="52"/>
                </a:moveTo>
                <a:cubicBezTo>
                  <a:pt x="218" y="56"/>
                  <a:pt x="215" y="59"/>
                  <a:pt x="211" y="62"/>
                </a:cubicBezTo>
                <a:cubicBezTo>
                  <a:pt x="203" y="66"/>
                  <a:pt x="192" y="65"/>
                  <a:pt x="186" y="64"/>
                </a:cubicBezTo>
                <a:cubicBezTo>
                  <a:pt x="189" y="60"/>
                  <a:pt x="191" y="57"/>
                  <a:pt x="193" y="54"/>
                </a:cubicBezTo>
                <a:cubicBezTo>
                  <a:pt x="204" y="46"/>
                  <a:pt x="215" y="49"/>
                  <a:pt x="220" y="52"/>
                </a:cubicBezTo>
                <a:close/>
                <a:moveTo>
                  <a:pt x="130" y="108"/>
                </a:moveTo>
                <a:cubicBezTo>
                  <a:pt x="127" y="107"/>
                  <a:pt x="126" y="106"/>
                  <a:pt x="125" y="105"/>
                </a:cubicBezTo>
                <a:cubicBezTo>
                  <a:pt x="125" y="104"/>
                  <a:pt x="126" y="104"/>
                  <a:pt x="127" y="103"/>
                </a:cubicBezTo>
                <a:cubicBezTo>
                  <a:pt x="128" y="103"/>
                  <a:pt x="131" y="102"/>
                  <a:pt x="133" y="102"/>
                </a:cubicBezTo>
                <a:cubicBezTo>
                  <a:pt x="138" y="101"/>
                  <a:pt x="145" y="99"/>
                  <a:pt x="151" y="97"/>
                </a:cubicBezTo>
                <a:cubicBezTo>
                  <a:pt x="156" y="96"/>
                  <a:pt x="160" y="94"/>
                  <a:pt x="163" y="92"/>
                </a:cubicBezTo>
                <a:cubicBezTo>
                  <a:pt x="163" y="94"/>
                  <a:pt x="163" y="95"/>
                  <a:pt x="164" y="97"/>
                </a:cubicBezTo>
                <a:cubicBezTo>
                  <a:pt x="150" y="110"/>
                  <a:pt x="132" y="108"/>
                  <a:pt x="130" y="108"/>
                </a:cubicBezTo>
                <a:close/>
                <a:moveTo>
                  <a:pt x="209" y="122"/>
                </a:moveTo>
                <a:cubicBezTo>
                  <a:pt x="208" y="122"/>
                  <a:pt x="207" y="123"/>
                  <a:pt x="203" y="123"/>
                </a:cubicBezTo>
                <a:cubicBezTo>
                  <a:pt x="203" y="123"/>
                  <a:pt x="185" y="120"/>
                  <a:pt x="177" y="100"/>
                </a:cubicBezTo>
                <a:cubicBezTo>
                  <a:pt x="174" y="93"/>
                  <a:pt x="174" y="87"/>
                  <a:pt x="175" y="82"/>
                </a:cubicBezTo>
                <a:cubicBezTo>
                  <a:pt x="177" y="88"/>
                  <a:pt x="181" y="95"/>
                  <a:pt x="187" y="101"/>
                </a:cubicBezTo>
                <a:cubicBezTo>
                  <a:pt x="192" y="106"/>
                  <a:pt x="198" y="112"/>
                  <a:pt x="204" y="116"/>
                </a:cubicBezTo>
                <a:cubicBezTo>
                  <a:pt x="205" y="117"/>
                  <a:pt x="207" y="118"/>
                  <a:pt x="208" y="119"/>
                </a:cubicBezTo>
                <a:cubicBezTo>
                  <a:pt x="209" y="120"/>
                  <a:pt x="209" y="121"/>
                  <a:pt x="209" y="122"/>
                </a:cubicBezTo>
                <a:close/>
                <a:moveTo>
                  <a:pt x="222" y="108"/>
                </a:moveTo>
                <a:cubicBezTo>
                  <a:pt x="222" y="108"/>
                  <a:pt x="219" y="109"/>
                  <a:pt x="215" y="108"/>
                </a:cubicBezTo>
                <a:cubicBezTo>
                  <a:pt x="215" y="108"/>
                  <a:pt x="214" y="109"/>
                  <a:pt x="214" y="109"/>
                </a:cubicBezTo>
                <a:cubicBezTo>
                  <a:pt x="213" y="108"/>
                  <a:pt x="212" y="107"/>
                  <a:pt x="211" y="107"/>
                </a:cubicBezTo>
                <a:cubicBezTo>
                  <a:pt x="207" y="103"/>
                  <a:pt x="203" y="100"/>
                  <a:pt x="199" y="96"/>
                </a:cubicBezTo>
                <a:cubicBezTo>
                  <a:pt x="207" y="99"/>
                  <a:pt x="214" y="101"/>
                  <a:pt x="220" y="102"/>
                </a:cubicBezTo>
                <a:cubicBezTo>
                  <a:pt x="222" y="102"/>
                  <a:pt x="224" y="103"/>
                  <a:pt x="225" y="103"/>
                </a:cubicBezTo>
                <a:cubicBezTo>
                  <a:pt x="226" y="104"/>
                  <a:pt x="227" y="104"/>
                  <a:pt x="227" y="105"/>
                </a:cubicBezTo>
                <a:cubicBezTo>
                  <a:pt x="227" y="106"/>
                  <a:pt x="225" y="107"/>
                  <a:pt x="222"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22">
            <a:extLst>
              <a:ext uri="{FF2B5EF4-FFF2-40B4-BE49-F238E27FC236}">
                <a16:creationId xmlns:a16="http://schemas.microsoft.com/office/drawing/2014/main" id="{37BB8775-AF70-47C1-981E-6F44B74859E2}"/>
              </a:ext>
            </a:extLst>
          </p:cNvPr>
          <p:cNvSpPr>
            <a:spLocks noEditPoints="1"/>
          </p:cNvSpPr>
          <p:nvPr/>
        </p:nvSpPr>
        <p:spPr bwMode="auto">
          <a:xfrm>
            <a:off x="6563497" y="2947495"/>
            <a:ext cx="396149" cy="426804"/>
          </a:xfrm>
          <a:custGeom>
            <a:avLst/>
            <a:gdLst>
              <a:gd name="T0" fmla="*/ 14 w 126"/>
              <a:gd name="T1" fmla="*/ 120 h 135"/>
              <a:gd name="T2" fmla="*/ 49 w 126"/>
              <a:gd name="T3" fmla="*/ 113 h 135"/>
              <a:gd name="T4" fmla="*/ 46 w 126"/>
              <a:gd name="T5" fmla="*/ 126 h 135"/>
              <a:gd name="T6" fmla="*/ 58 w 126"/>
              <a:gd name="T7" fmla="*/ 127 h 135"/>
              <a:gd name="T8" fmla="*/ 89 w 126"/>
              <a:gd name="T9" fmla="*/ 134 h 135"/>
              <a:gd name="T10" fmla="*/ 107 w 126"/>
              <a:gd name="T11" fmla="*/ 126 h 135"/>
              <a:gd name="T12" fmla="*/ 112 w 126"/>
              <a:gd name="T13" fmla="*/ 120 h 135"/>
              <a:gd name="T14" fmla="*/ 125 w 126"/>
              <a:gd name="T15" fmla="*/ 105 h 135"/>
              <a:gd name="T16" fmla="*/ 109 w 126"/>
              <a:gd name="T17" fmla="*/ 90 h 135"/>
              <a:gd name="T18" fmla="*/ 83 w 126"/>
              <a:gd name="T19" fmla="*/ 77 h 135"/>
              <a:gd name="T20" fmla="*/ 120 w 126"/>
              <a:gd name="T21" fmla="*/ 50 h 135"/>
              <a:gd name="T22" fmla="*/ 86 w 126"/>
              <a:gd name="T23" fmla="*/ 38 h 135"/>
              <a:gd name="T24" fmla="*/ 77 w 126"/>
              <a:gd name="T25" fmla="*/ 1 h 135"/>
              <a:gd name="T26" fmla="*/ 56 w 126"/>
              <a:gd name="T27" fmla="*/ 24 h 135"/>
              <a:gd name="T28" fmla="*/ 75 w 126"/>
              <a:gd name="T29" fmla="*/ 14 h 135"/>
              <a:gd name="T30" fmla="*/ 33 w 126"/>
              <a:gd name="T31" fmla="*/ 14 h 135"/>
              <a:gd name="T32" fmla="*/ 36 w 126"/>
              <a:gd name="T33" fmla="*/ 67 h 135"/>
              <a:gd name="T34" fmla="*/ 43 w 126"/>
              <a:gd name="T35" fmla="*/ 57 h 135"/>
              <a:gd name="T36" fmla="*/ 53 w 126"/>
              <a:gd name="T37" fmla="*/ 70 h 135"/>
              <a:gd name="T38" fmla="*/ 34 w 126"/>
              <a:gd name="T39" fmla="*/ 86 h 135"/>
              <a:gd name="T40" fmla="*/ 10 w 126"/>
              <a:gd name="T41" fmla="*/ 92 h 135"/>
              <a:gd name="T42" fmla="*/ 14 w 126"/>
              <a:gd name="T43" fmla="*/ 119 h 135"/>
              <a:gd name="T44" fmla="*/ 90 w 126"/>
              <a:gd name="T45" fmla="*/ 123 h 135"/>
              <a:gd name="T46" fmla="*/ 62 w 126"/>
              <a:gd name="T47" fmla="*/ 82 h 135"/>
              <a:gd name="T48" fmla="*/ 90 w 126"/>
              <a:gd name="T49" fmla="*/ 116 h 135"/>
              <a:gd name="T50" fmla="*/ 95 w 126"/>
              <a:gd name="T51" fmla="*/ 121 h 135"/>
              <a:gd name="T52" fmla="*/ 113 w 126"/>
              <a:gd name="T53" fmla="*/ 105 h 135"/>
              <a:gd name="T54" fmla="*/ 102 w 126"/>
              <a:gd name="T55" fmla="*/ 108 h 135"/>
              <a:gd name="T56" fmla="*/ 98 w 126"/>
              <a:gd name="T57" fmla="*/ 106 h 135"/>
              <a:gd name="T58" fmla="*/ 107 w 126"/>
              <a:gd name="T59" fmla="*/ 102 h 135"/>
              <a:gd name="T60" fmla="*/ 107 w 126"/>
              <a:gd name="T61" fmla="*/ 52 h 135"/>
              <a:gd name="T62" fmla="*/ 73 w 126"/>
              <a:gd name="T63" fmla="*/ 64 h 135"/>
              <a:gd name="T64" fmla="*/ 107 w 126"/>
              <a:gd name="T65" fmla="*/ 52 h 135"/>
              <a:gd name="T66" fmla="*/ 20 w 126"/>
              <a:gd name="T67" fmla="*/ 102 h 135"/>
              <a:gd name="T68" fmla="*/ 50 w 126"/>
              <a:gd name="T69" fmla="*/ 92 h 135"/>
              <a:gd name="T70" fmla="*/ 17 w 126"/>
              <a:gd name="T71" fmla="*/ 108 h 135"/>
              <a:gd name="T72" fmla="*/ 14 w 126"/>
              <a:gd name="T73" fmla="*/ 10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4" y="119"/>
                </a:moveTo>
                <a:cubicBezTo>
                  <a:pt x="14" y="120"/>
                  <a:pt x="14" y="120"/>
                  <a:pt x="14" y="120"/>
                </a:cubicBezTo>
                <a:cubicBezTo>
                  <a:pt x="15" y="120"/>
                  <a:pt x="17" y="120"/>
                  <a:pt x="21" y="120"/>
                </a:cubicBezTo>
                <a:cubicBezTo>
                  <a:pt x="28" y="120"/>
                  <a:pt x="39" y="119"/>
                  <a:pt x="49" y="113"/>
                </a:cubicBezTo>
                <a:cubicBezTo>
                  <a:pt x="48" y="119"/>
                  <a:pt x="47" y="124"/>
                  <a:pt x="46" y="124"/>
                </a:cubicBezTo>
                <a:cubicBezTo>
                  <a:pt x="46" y="125"/>
                  <a:pt x="46" y="125"/>
                  <a:pt x="46" y="126"/>
                </a:cubicBezTo>
                <a:cubicBezTo>
                  <a:pt x="46" y="129"/>
                  <a:pt x="49" y="132"/>
                  <a:pt x="52" y="132"/>
                </a:cubicBezTo>
                <a:cubicBezTo>
                  <a:pt x="55" y="132"/>
                  <a:pt x="57" y="130"/>
                  <a:pt x="58" y="127"/>
                </a:cubicBezTo>
                <a:cubicBezTo>
                  <a:pt x="58" y="126"/>
                  <a:pt x="59" y="123"/>
                  <a:pt x="60" y="117"/>
                </a:cubicBezTo>
                <a:cubicBezTo>
                  <a:pt x="72" y="132"/>
                  <a:pt x="88" y="134"/>
                  <a:pt x="89" y="134"/>
                </a:cubicBezTo>
                <a:cubicBezTo>
                  <a:pt x="90" y="135"/>
                  <a:pt x="91" y="135"/>
                  <a:pt x="92" y="135"/>
                </a:cubicBezTo>
                <a:cubicBezTo>
                  <a:pt x="99" y="135"/>
                  <a:pt x="104" y="132"/>
                  <a:pt x="107" y="126"/>
                </a:cubicBezTo>
                <a:cubicBezTo>
                  <a:pt x="107" y="124"/>
                  <a:pt x="108" y="122"/>
                  <a:pt x="108" y="120"/>
                </a:cubicBezTo>
                <a:cubicBezTo>
                  <a:pt x="110" y="120"/>
                  <a:pt x="111" y="120"/>
                  <a:pt x="112" y="120"/>
                </a:cubicBezTo>
                <a:cubicBezTo>
                  <a:pt x="112" y="120"/>
                  <a:pt x="112" y="119"/>
                  <a:pt x="112" y="119"/>
                </a:cubicBezTo>
                <a:cubicBezTo>
                  <a:pt x="120" y="117"/>
                  <a:pt x="125" y="112"/>
                  <a:pt x="125" y="105"/>
                </a:cubicBezTo>
                <a:cubicBezTo>
                  <a:pt x="126" y="99"/>
                  <a:pt x="122" y="94"/>
                  <a:pt x="115" y="92"/>
                </a:cubicBezTo>
                <a:cubicBezTo>
                  <a:pt x="114" y="91"/>
                  <a:pt x="112" y="91"/>
                  <a:pt x="109" y="90"/>
                </a:cubicBezTo>
                <a:cubicBezTo>
                  <a:pt x="100" y="88"/>
                  <a:pt x="84" y="85"/>
                  <a:pt x="75" y="76"/>
                </a:cubicBezTo>
                <a:cubicBezTo>
                  <a:pt x="77" y="77"/>
                  <a:pt x="80" y="77"/>
                  <a:pt x="83" y="77"/>
                </a:cubicBezTo>
                <a:cubicBezTo>
                  <a:pt x="89" y="77"/>
                  <a:pt x="97" y="76"/>
                  <a:pt x="104" y="72"/>
                </a:cubicBezTo>
                <a:cubicBezTo>
                  <a:pt x="112" y="68"/>
                  <a:pt x="117" y="60"/>
                  <a:pt x="120" y="50"/>
                </a:cubicBezTo>
                <a:cubicBezTo>
                  <a:pt x="121" y="48"/>
                  <a:pt x="120" y="45"/>
                  <a:pt x="118" y="44"/>
                </a:cubicBezTo>
                <a:cubicBezTo>
                  <a:pt x="117" y="43"/>
                  <a:pt x="103" y="34"/>
                  <a:pt x="86" y="38"/>
                </a:cubicBezTo>
                <a:cubicBezTo>
                  <a:pt x="91" y="19"/>
                  <a:pt x="84" y="4"/>
                  <a:pt x="83" y="4"/>
                </a:cubicBezTo>
                <a:cubicBezTo>
                  <a:pt x="82" y="1"/>
                  <a:pt x="79" y="0"/>
                  <a:pt x="77" y="1"/>
                </a:cubicBezTo>
                <a:cubicBezTo>
                  <a:pt x="64" y="3"/>
                  <a:pt x="55" y="15"/>
                  <a:pt x="55" y="15"/>
                </a:cubicBezTo>
                <a:cubicBezTo>
                  <a:pt x="53" y="18"/>
                  <a:pt x="54" y="22"/>
                  <a:pt x="56" y="24"/>
                </a:cubicBezTo>
                <a:cubicBezTo>
                  <a:pt x="59" y="26"/>
                  <a:pt x="63" y="25"/>
                  <a:pt x="65" y="23"/>
                </a:cubicBezTo>
                <a:cubicBezTo>
                  <a:pt x="65" y="22"/>
                  <a:pt x="69" y="17"/>
                  <a:pt x="75" y="14"/>
                </a:cubicBezTo>
                <a:cubicBezTo>
                  <a:pt x="77" y="22"/>
                  <a:pt x="79" y="39"/>
                  <a:pt x="63" y="56"/>
                </a:cubicBezTo>
                <a:cubicBezTo>
                  <a:pt x="59" y="28"/>
                  <a:pt x="45" y="18"/>
                  <a:pt x="33" y="14"/>
                </a:cubicBezTo>
                <a:cubicBezTo>
                  <a:pt x="30" y="13"/>
                  <a:pt x="27" y="14"/>
                  <a:pt x="26" y="17"/>
                </a:cubicBezTo>
                <a:cubicBezTo>
                  <a:pt x="21" y="28"/>
                  <a:pt x="16" y="53"/>
                  <a:pt x="36" y="67"/>
                </a:cubicBezTo>
                <a:cubicBezTo>
                  <a:pt x="39" y="69"/>
                  <a:pt x="43" y="68"/>
                  <a:pt x="45" y="66"/>
                </a:cubicBezTo>
                <a:cubicBezTo>
                  <a:pt x="46" y="63"/>
                  <a:pt x="46" y="59"/>
                  <a:pt x="43" y="57"/>
                </a:cubicBezTo>
                <a:cubicBezTo>
                  <a:pt x="31" y="49"/>
                  <a:pt x="33" y="35"/>
                  <a:pt x="35" y="28"/>
                </a:cubicBezTo>
                <a:cubicBezTo>
                  <a:pt x="46" y="34"/>
                  <a:pt x="52" y="49"/>
                  <a:pt x="53" y="70"/>
                </a:cubicBezTo>
                <a:cubicBezTo>
                  <a:pt x="53" y="71"/>
                  <a:pt x="53"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7"/>
                  <a:pt x="14" y="119"/>
                </a:cubicBezTo>
                <a:close/>
                <a:moveTo>
                  <a:pt x="95" y="121"/>
                </a:moveTo>
                <a:cubicBezTo>
                  <a:pt x="95" y="122"/>
                  <a:pt x="93" y="123"/>
                  <a:pt x="90" y="123"/>
                </a:cubicBezTo>
                <a:cubicBezTo>
                  <a:pt x="90" y="123"/>
                  <a:pt x="72" y="120"/>
                  <a:pt x="64" y="100"/>
                </a:cubicBezTo>
                <a:cubicBezTo>
                  <a:pt x="61" y="93"/>
                  <a:pt x="61" y="87"/>
                  <a:pt x="62" y="82"/>
                </a:cubicBezTo>
                <a:cubicBezTo>
                  <a:pt x="64" y="88"/>
                  <a:pt x="68" y="94"/>
                  <a:pt x="74" y="101"/>
                </a:cubicBezTo>
                <a:cubicBezTo>
                  <a:pt x="79" y="106"/>
                  <a:pt x="85" y="112"/>
                  <a:pt x="90" y="116"/>
                </a:cubicBezTo>
                <a:cubicBezTo>
                  <a:pt x="92" y="117"/>
                  <a:pt x="93" y="118"/>
                  <a:pt x="95" y="119"/>
                </a:cubicBezTo>
                <a:cubicBezTo>
                  <a:pt x="95" y="120"/>
                  <a:pt x="96" y="121"/>
                  <a:pt x="95" y="121"/>
                </a:cubicBezTo>
                <a:close/>
                <a:moveTo>
                  <a:pt x="112" y="103"/>
                </a:moveTo>
                <a:cubicBezTo>
                  <a:pt x="113" y="103"/>
                  <a:pt x="113" y="104"/>
                  <a:pt x="113" y="105"/>
                </a:cubicBezTo>
                <a:cubicBezTo>
                  <a:pt x="113" y="106"/>
                  <a:pt x="112" y="107"/>
                  <a:pt x="109" y="108"/>
                </a:cubicBezTo>
                <a:cubicBezTo>
                  <a:pt x="108" y="108"/>
                  <a:pt x="106" y="108"/>
                  <a:pt x="102" y="108"/>
                </a:cubicBezTo>
                <a:cubicBezTo>
                  <a:pt x="102" y="108"/>
                  <a:pt x="101" y="108"/>
                  <a:pt x="100" y="109"/>
                </a:cubicBezTo>
                <a:cubicBezTo>
                  <a:pt x="100" y="108"/>
                  <a:pt x="99" y="107"/>
                  <a:pt x="98" y="106"/>
                </a:cubicBezTo>
                <a:cubicBezTo>
                  <a:pt x="94" y="103"/>
                  <a:pt x="90" y="100"/>
                  <a:pt x="86" y="96"/>
                </a:cubicBezTo>
                <a:cubicBezTo>
                  <a:pt x="93" y="99"/>
                  <a:pt x="101" y="101"/>
                  <a:pt x="107" y="102"/>
                </a:cubicBezTo>
                <a:cubicBezTo>
                  <a:pt x="109" y="102"/>
                  <a:pt x="111" y="103"/>
                  <a:pt x="112" y="103"/>
                </a:cubicBezTo>
                <a:close/>
                <a:moveTo>
                  <a:pt x="107" y="52"/>
                </a:moveTo>
                <a:cubicBezTo>
                  <a:pt x="105" y="56"/>
                  <a:pt x="102" y="59"/>
                  <a:pt x="98" y="61"/>
                </a:cubicBezTo>
                <a:cubicBezTo>
                  <a:pt x="90" y="66"/>
                  <a:pt x="79" y="65"/>
                  <a:pt x="73" y="64"/>
                </a:cubicBezTo>
                <a:cubicBezTo>
                  <a:pt x="76" y="60"/>
                  <a:pt x="78" y="57"/>
                  <a:pt x="80" y="54"/>
                </a:cubicBezTo>
                <a:cubicBezTo>
                  <a:pt x="91" y="46"/>
                  <a:pt x="101" y="49"/>
                  <a:pt x="107" y="52"/>
                </a:cubicBezTo>
                <a:close/>
                <a:moveTo>
                  <a:pt x="14" y="103"/>
                </a:moveTo>
                <a:cubicBezTo>
                  <a:pt x="15" y="103"/>
                  <a:pt x="17" y="102"/>
                  <a:pt x="20" y="102"/>
                </a:cubicBezTo>
                <a:cubicBezTo>
                  <a:pt x="25" y="101"/>
                  <a:pt x="31" y="99"/>
                  <a:pt x="38" y="97"/>
                </a:cubicBezTo>
                <a:cubicBezTo>
                  <a:pt x="43" y="96"/>
                  <a:pt x="47" y="94"/>
                  <a:pt x="50" y="92"/>
                </a:cubicBezTo>
                <a:cubicBezTo>
                  <a:pt x="50" y="94"/>
                  <a:pt x="50" y="95"/>
                  <a:pt x="51" y="97"/>
                </a:cubicBezTo>
                <a:cubicBezTo>
                  <a:pt x="36" y="110"/>
                  <a:pt x="19" y="108"/>
                  <a:pt x="17" y="108"/>
                </a:cubicBezTo>
                <a:cubicBezTo>
                  <a:pt x="13" y="107"/>
                  <a:pt x="12" y="106"/>
                  <a:pt x="12" y="105"/>
                </a:cubicBezTo>
                <a:cubicBezTo>
                  <a:pt x="12" y="104"/>
                  <a:pt x="13" y="103"/>
                  <a:pt x="14" y="10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3">
            <a:extLst>
              <a:ext uri="{FF2B5EF4-FFF2-40B4-BE49-F238E27FC236}">
                <a16:creationId xmlns:a16="http://schemas.microsoft.com/office/drawing/2014/main" id="{B59FCD1B-4FFD-43AD-ACA7-AC697EEC4A03}"/>
              </a:ext>
            </a:extLst>
          </p:cNvPr>
          <p:cNvSpPr>
            <a:spLocks noEditPoints="1"/>
          </p:cNvSpPr>
          <p:nvPr/>
        </p:nvSpPr>
        <p:spPr bwMode="auto">
          <a:xfrm>
            <a:off x="6563497" y="3376657"/>
            <a:ext cx="396149" cy="426804"/>
          </a:xfrm>
          <a:custGeom>
            <a:avLst/>
            <a:gdLst>
              <a:gd name="T0" fmla="*/ 115 w 126"/>
              <a:gd name="T1" fmla="*/ 92 h 135"/>
              <a:gd name="T2" fmla="*/ 75 w 126"/>
              <a:gd name="T3" fmla="*/ 76 h 135"/>
              <a:gd name="T4" fmla="*/ 104 w 126"/>
              <a:gd name="T5" fmla="*/ 72 h 135"/>
              <a:gd name="T6" fmla="*/ 118 w 126"/>
              <a:gd name="T7" fmla="*/ 44 h 135"/>
              <a:gd name="T8" fmla="*/ 83 w 126"/>
              <a:gd name="T9" fmla="*/ 4 h 135"/>
              <a:gd name="T10" fmla="*/ 55 w 126"/>
              <a:gd name="T11" fmla="*/ 15 h 135"/>
              <a:gd name="T12" fmla="*/ 65 w 126"/>
              <a:gd name="T13" fmla="*/ 23 h 135"/>
              <a:gd name="T14" fmla="*/ 63 w 126"/>
              <a:gd name="T15" fmla="*/ 56 h 135"/>
              <a:gd name="T16" fmla="*/ 26 w 126"/>
              <a:gd name="T17" fmla="*/ 17 h 135"/>
              <a:gd name="T18" fmla="*/ 45 w 126"/>
              <a:gd name="T19" fmla="*/ 66 h 135"/>
              <a:gd name="T20" fmla="*/ 35 w 126"/>
              <a:gd name="T21" fmla="*/ 28 h 135"/>
              <a:gd name="T22" fmla="*/ 52 w 126"/>
              <a:gd name="T23" fmla="*/ 71 h 135"/>
              <a:gd name="T24" fmla="*/ 17 w 126"/>
              <a:gd name="T25" fmla="*/ 90 h 135"/>
              <a:gd name="T26" fmla="*/ 0 w 126"/>
              <a:gd name="T27" fmla="*/ 105 h 135"/>
              <a:gd name="T28" fmla="*/ 14 w 126"/>
              <a:gd name="T29" fmla="*/ 120 h 135"/>
              <a:gd name="T30" fmla="*/ 49 w 126"/>
              <a:gd name="T31" fmla="*/ 113 h 135"/>
              <a:gd name="T32" fmla="*/ 46 w 126"/>
              <a:gd name="T33" fmla="*/ 126 h 135"/>
              <a:gd name="T34" fmla="*/ 52 w 126"/>
              <a:gd name="T35" fmla="*/ 132 h 135"/>
              <a:gd name="T36" fmla="*/ 60 w 126"/>
              <a:gd name="T37" fmla="*/ 118 h 135"/>
              <a:gd name="T38" fmla="*/ 92 w 126"/>
              <a:gd name="T39" fmla="*/ 135 h 135"/>
              <a:gd name="T40" fmla="*/ 108 w 126"/>
              <a:gd name="T41" fmla="*/ 120 h 135"/>
              <a:gd name="T42" fmla="*/ 112 w 126"/>
              <a:gd name="T43" fmla="*/ 120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5 w 126"/>
              <a:gd name="T65" fmla="*/ 122 h 135"/>
              <a:gd name="T66" fmla="*/ 102 w 126"/>
              <a:gd name="T67" fmla="*/ 108 h 135"/>
              <a:gd name="T68" fmla="*/ 98 w 126"/>
              <a:gd name="T69" fmla="*/ 107 h 135"/>
              <a:gd name="T70" fmla="*/ 107 w 126"/>
              <a:gd name="T71" fmla="*/ 102 h 135"/>
              <a:gd name="T72" fmla="*/ 1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25" y="105"/>
                </a:moveTo>
                <a:cubicBezTo>
                  <a:pt x="126" y="99"/>
                  <a:pt x="122" y="94"/>
                  <a:pt x="115" y="92"/>
                </a:cubicBezTo>
                <a:cubicBezTo>
                  <a:pt x="114" y="91"/>
                  <a:pt x="112" y="91"/>
                  <a:pt x="109" y="90"/>
                </a:cubicBezTo>
                <a:cubicBezTo>
                  <a:pt x="100" y="88"/>
                  <a:pt x="84" y="85"/>
                  <a:pt x="75" y="76"/>
                </a:cubicBezTo>
                <a:cubicBezTo>
                  <a:pt x="77" y="77"/>
                  <a:pt x="80" y="77"/>
                  <a:pt x="83" y="77"/>
                </a:cubicBezTo>
                <a:cubicBezTo>
                  <a:pt x="89" y="77"/>
                  <a:pt x="97" y="76"/>
                  <a:pt x="104" y="72"/>
                </a:cubicBezTo>
                <a:cubicBezTo>
                  <a:pt x="112" y="68"/>
                  <a:pt x="117" y="60"/>
                  <a:pt x="120" y="51"/>
                </a:cubicBezTo>
                <a:cubicBezTo>
                  <a:pt x="121" y="48"/>
                  <a:pt x="120" y="46"/>
                  <a:pt x="118" y="44"/>
                </a:cubicBezTo>
                <a:cubicBezTo>
                  <a:pt x="117" y="44"/>
                  <a:pt x="103" y="34"/>
                  <a:pt x="86" y="38"/>
                </a:cubicBezTo>
                <a:cubicBezTo>
                  <a:pt x="91" y="19"/>
                  <a:pt x="84" y="4"/>
                  <a:pt x="83" y="4"/>
                </a:cubicBezTo>
                <a:cubicBezTo>
                  <a:pt x="82" y="1"/>
                  <a:pt x="79" y="0"/>
                  <a:pt x="77" y="1"/>
                </a:cubicBezTo>
                <a:cubicBezTo>
                  <a:pt x="64" y="3"/>
                  <a:pt x="55" y="15"/>
                  <a:pt x="55" y="15"/>
                </a:cubicBezTo>
                <a:cubicBezTo>
                  <a:pt x="53" y="18"/>
                  <a:pt x="54" y="22"/>
                  <a:pt x="56" y="24"/>
                </a:cubicBezTo>
                <a:cubicBezTo>
                  <a:pt x="59" y="26"/>
                  <a:pt x="63" y="25"/>
                  <a:pt x="65" y="23"/>
                </a:cubicBezTo>
                <a:cubicBezTo>
                  <a:pt x="65" y="23"/>
                  <a:pt x="69" y="17"/>
                  <a:pt x="75" y="14"/>
                </a:cubicBezTo>
                <a:cubicBezTo>
                  <a:pt x="77" y="22"/>
                  <a:pt x="79" y="39"/>
                  <a:pt x="63" y="56"/>
                </a:cubicBezTo>
                <a:cubicBezTo>
                  <a:pt x="59" y="29"/>
                  <a:pt x="45" y="18"/>
                  <a:pt x="33" y="14"/>
                </a:cubicBezTo>
                <a:cubicBezTo>
                  <a:pt x="30" y="13"/>
                  <a:pt x="27" y="14"/>
                  <a:pt x="26" y="17"/>
                </a:cubicBezTo>
                <a:cubicBezTo>
                  <a:pt x="21" y="28"/>
                  <a:pt x="16" y="54"/>
                  <a:pt x="36" y="67"/>
                </a:cubicBezTo>
                <a:cubicBezTo>
                  <a:pt x="39" y="69"/>
                  <a:pt x="43" y="69"/>
                  <a:pt x="45" y="66"/>
                </a:cubicBezTo>
                <a:cubicBezTo>
                  <a:pt x="46" y="63"/>
                  <a:pt x="46" y="59"/>
                  <a:pt x="43" y="58"/>
                </a:cubicBezTo>
                <a:cubicBezTo>
                  <a:pt x="31" y="49"/>
                  <a:pt x="33" y="35"/>
                  <a:pt x="35" y="28"/>
                </a:cubicBezTo>
                <a:cubicBezTo>
                  <a:pt x="46" y="34"/>
                  <a:pt x="52" y="49"/>
                  <a:pt x="53" y="71"/>
                </a:cubicBezTo>
                <a:cubicBezTo>
                  <a:pt x="53" y="71"/>
                  <a:pt x="53"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7"/>
                  <a:pt x="14" y="120"/>
                </a:cubicBezTo>
                <a:cubicBezTo>
                  <a:pt x="14" y="120"/>
                  <a:pt x="14" y="120"/>
                  <a:pt x="14" y="120"/>
                </a:cubicBezTo>
                <a:cubicBezTo>
                  <a:pt x="15" y="120"/>
                  <a:pt x="17" y="120"/>
                  <a:pt x="21" y="120"/>
                </a:cubicBezTo>
                <a:cubicBezTo>
                  <a:pt x="28" y="120"/>
                  <a:pt x="39" y="119"/>
                  <a:pt x="49" y="113"/>
                </a:cubicBezTo>
                <a:cubicBezTo>
                  <a:pt x="48" y="120"/>
                  <a:pt x="47" y="124"/>
                  <a:pt x="46" y="124"/>
                </a:cubicBezTo>
                <a:cubicBezTo>
                  <a:pt x="46" y="125"/>
                  <a:pt x="46" y="125"/>
                  <a:pt x="46" y="126"/>
                </a:cubicBezTo>
                <a:cubicBezTo>
                  <a:pt x="46" y="129"/>
                  <a:pt x="49" y="131"/>
                  <a:pt x="52" y="132"/>
                </a:cubicBezTo>
                <a:cubicBezTo>
                  <a:pt x="52" y="132"/>
                  <a:pt x="52" y="132"/>
                  <a:pt x="52" y="132"/>
                </a:cubicBezTo>
                <a:cubicBezTo>
                  <a:pt x="55" y="132"/>
                  <a:pt x="57" y="130"/>
                  <a:pt x="58" y="127"/>
                </a:cubicBezTo>
                <a:cubicBezTo>
                  <a:pt x="58" y="127"/>
                  <a:pt x="59" y="123"/>
                  <a:pt x="60" y="118"/>
                </a:cubicBezTo>
                <a:cubicBezTo>
                  <a:pt x="72" y="132"/>
                  <a:pt x="88" y="134"/>
                  <a:pt x="89" y="135"/>
                </a:cubicBezTo>
                <a:cubicBezTo>
                  <a:pt x="90" y="135"/>
                  <a:pt x="91" y="135"/>
                  <a:pt x="92" y="135"/>
                </a:cubicBezTo>
                <a:cubicBezTo>
                  <a:pt x="99" y="135"/>
                  <a:pt x="104" y="132"/>
                  <a:pt x="107" y="126"/>
                </a:cubicBezTo>
                <a:cubicBezTo>
                  <a:pt x="107" y="124"/>
                  <a:pt x="108" y="122"/>
                  <a:pt x="108" y="120"/>
                </a:cubicBezTo>
                <a:cubicBezTo>
                  <a:pt x="109" y="120"/>
                  <a:pt x="111" y="120"/>
                  <a:pt x="112" y="120"/>
                </a:cubicBezTo>
                <a:cubicBezTo>
                  <a:pt x="112" y="120"/>
                  <a:pt x="112" y="120"/>
                  <a:pt x="112" y="120"/>
                </a:cubicBezTo>
                <a:cubicBezTo>
                  <a:pt x="120" y="117"/>
                  <a:pt x="125" y="112"/>
                  <a:pt x="125" y="105"/>
                </a:cubicBezTo>
                <a:close/>
                <a:moveTo>
                  <a:pt x="107" y="52"/>
                </a:moveTo>
                <a:cubicBezTo>
                  <a:pt x="105" y="56"/>
                  <a:pt x="102" y="59"/>
                  <a:pt x="98" y="62"/>
                </a:cubicBezTo>
                <a:cubicBezTo>
                  <a:pt x="90" y="66"/>
                  <a:pt x="79" y="65"/>
                  <a:pt x="73" y="64"/>
                </a:cubicBezTo>
                <a:cubicBezTo>
                  <a:pt x="76" y="60"/>
                  <a:pt x="78" y="57"/>
                  <a:pt x="80" y="54"/>
                </a:cubicBezTo>
                <a:cubicBezTo>
                  <a:pt x="91" y="46"/>
                  <a:pt x="101" y="49"/>
                  <a:pt x="107" y="52"/>
                </a:cubicBezTo>
                <a:close/>
                <a:moveTo>
                  <a:pt x="17" y="108"/>
                </a:moveTo>
                <a:cubicBezTo>
                  <a:pt x="13" y="107"/>
                  <a:pt x="12" y="106"/>
                  <a:pt x="12" y="105"/>
                </a:cubicBezTo>
                <a:cubicBezTo>
                  <a:pt x="12" y="104"/>
                  <a:pt x="13" y="104"/>
                  <a:pt x="14" y="103"/>
                </a:cubicBezTo>
                <a:cubicBezTo>
                  <a:pt x="15" y="103"/>
                  <a:pt x="17" y="102"/>
                  <a:pt x="20" y="102"/>
                </a:cubicBezTo>
                <a:cubicBezTo>
                  <a:pt x="25" y="101"/>
                  <a:pt x="31" y="99"/>
                  <a:pt x="38" y="97"/>
                </a:cubicBezTo>
                <a:cubicBezTo>
                  <a:pt x="43" y="96"/>
                  <a:pt x="47" y="94"/>
                  <a:pt x="50" y="92"/>
                </a:cubicBezTo>
                <a:cubicBezTo>
                  <a:pt x="50" y="94"/>
                  <a:pt x="50" y="95"/>
                  <a:pt x="51" y="97"/>
                </a:cubicBezTo>
                <a:cubicBezTo>
                  <a:pt x="36" y="110"/>
                  <a:pt x="19" y="108"/>
                  <a:pt x="17" y="108"/>
                </a:cubicBezTo>
                <a:close/>
                <a:moveTo>
                  <a:pt x="95" y="122"/>
                </a:moveTo>
                <a:cubicBezTo>
                  <a:pt x="95" y="122"/>
                  <a:pt x="93" y="123"/>
                  <a:pt x="90" y="123"/>
                </a:cubicBezTo>
                <a:cubicBezTo>
                  <a:pt x="90" y="123"/>
                  <a:pt x="72" y="120"/>
                  <a:pt x="64" y="100"/>
                </a:cubicBezTo>
                <a:cubicBezTo>
                  <a:pt x="61" y="93"/>
                  <a:pt x="61" y="87"/>
                  <a:pt x="62" y="82"/>
                </a:cubicBezTo>
                <a:cubicBezTo>
                  <a:pt x="64" y="88"/>
                  <a:pt x="68" y="95"/>
                  <a:pt x="74" y="101"/>
                </a:cubicBezTo>
                <a:cubicBezTo>
                  <a:pt x="79" y="107"/>
                  <a:pt x="85" y="112"/>
                  <a:pt x="90" y="116"/>
                </a:cubicBezTo>
                <a:cubicBezTo>
                  <a:pt x="92" y="117"/>
                  <a:pt x="93" y="118"/>
                  <a:pt x="95" y="119"/>
                </a:cubicBezTo>
                <a:cubicBezTo>
                  <a:pt x="95" y="120"/>
                  <a:pt x="96" y="121"/>
                  <a:pt x="95" y="122"/>
                </a:cubicBezTo>
                <a:close/>
                <a:moveTo>
                  <a:pt x="109" y="108"/>
                </a:moveTo>
                <a:cubicBezTo>
                  <a:pt x="108" y="108"/>
                  <a:pt x="106" y="109"/>
                  <a:pt x="102" y="108"/>
                </a:cubicBezTo>
                <a:cubicBezTo>
                  <a:pt x="102" y="108"/>
                  <a:pt x="101" y="109"/>
                  <a:pt x="100" y="109"/>
                </a:cubicBezTo>
                <a:cubicBezTo>
                  <a:pt x="100" y="108"/>
                  <a:pt x="99" y="107"/>
                  <a:pt x="98" y="107"/>
                </a:cubicBezTo>
                <a:cubicBezTo>
                  <a:pt x="94" y="103"/>
                  <a:pt x="90" y="100"/>
                  <a:pt x="86" y="96"/>
                </a:cubicBezTo>
                <a:cubicBezTo>
                  <a:pt x="93" y="99"/>
                  <a:pt x="101" y="101"/>
                  <a:pt x="107" y="102"/>
                </a:cubicBezTo>
                <a:cubicBezTo>
                  <a:pt x="109" y="102"/>
                  <a:pt x="111" y="103"/>
                  <a:pt x="112" y="103"/>
                </a:cubicBezTo>
                <a:cubicBezTo>
                  <a:pt x="113" y="104"/>
                  <a:pt x="113" y="104"/>
                  <a:pt x="113" y="105"/>
                </a:cubicBezTo>
                <a:cubicBezTo>
                  <a:pt x="113" y="106"/>
                  <a:pt x="112" y="107"/>
                  <a:pt x="109"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24">
            <a:extLst>
              <a:ext uri="{FF2B5EF4-FFF2-40B4-BE49-F238E27FC236}">
                <a16:creationId xmlns:a16="http://schemas.microsoft.com/office/drawing/2014/main" id="{D28B9670-258A-483B-B53C-2CAADE3291A4}"/>
              </a:ext>
            </a:extLst>
          </p:cNvPr>
          <p:cNvSpPr>
            <a:spLocks noEditPoints="1"/>
          </p:cNvSpPr>
          <p:nvPr/>
        </p:nvSpPr>
        <p:spPr bwMode="auto">
          <a:xfrm>
            <a:off x="6563497" y="2518334"/>
            <a:ext cx="396149" cy="425625"/>
          </a:xfrm>
          <a:custGeom>
            <a:avLst/>
            <a:gdLst>
              <a:gd name="T0" fmla="*/ 14 w 126"/>
              <a:gd name="T1" fmla="*/ 120 h 135"/>
              <a:gd name="T2" fmla="*/ 49 w 126"/>
              <a:gd name="T3" fmla="*/ 114 h 135"/>
              <a:gd name="T4" fmla="*/ 46 w 126"/>
              <a:gd name="T5" fmla="*/ 126 h 135"/>
              <a:gd name="T6" fmla="*/ 58 w 126"/>
              <a:gd name="T7" fmla="*/ 128 h 135"/>
              <a:gd name="T8" fmla="*/ 89 w 126"/>
              <a:gd name="T9" fmla="*/ 135 h 135"/>
              <a:gd name="T10" fmla="*/ 107 w 126"/>
              <a:gd name="T11" fmla="*/ 127 h 135"/>
              <a:gd name="T12" fmla="*/ 112 w 126"/>
              <a:gd name="T13" fmla="*/ 120 h 135"/>
              <a:gd name="T14" fmla="*/ 125 w 126"/>
              <a:gd name="T15" fmla="*/ 106 h 135"/>
              <a:gd name="T16" fmla="*/ 109 w 126"/>
              <a:gd name="T17" fmla="*/ 91 h 135"/>
              <a:gd name="T18" fmla="*/ 83 w 126"/>
              <a:gd name="T19" fmla="*/ 77 h 135"/>
              <a:gd name="T20" fmla="*/ 120 w 126"/>
              <a:gd name="T21" fmla="*/ 51 h 135"/>
              <a:gd name="T22" fmla="*/ 86 w 126"/>
              <a:gd name="T23" fmla="*/ 38 h 135"/>
              <a:gd name="T24" fmla="*/ 77 w 126"/>
              <a:gd name="T25" fmla="*/ 1 h 135"/>
              <a:gd name="T26" fmla="*/ 56 w 126"/>
              <a:gd name="T27" fmla="*/ 24 h 135"/>
              <a:gd name="T28" fmla="*/ 75 w 126"/>
              <a:gd name="T29" fmla="*/ 15 h 135"/>
              <a:gd name="T30" fmla="*/ 33 w 126"/>
              <a:gd name="T31" fmla="*/ 14 h 135"/>
              <a:gd name="T32" fmla="*/ 36 w 126"/>
              <a:gd name="T33" fmla="*/ 68 h 135"/>
              <a:gd name="T34" fmla="*/ 43 w 126"/>
              <a:gd name="T35" fmla="*/ 58 h 135"/>
              <a:gd name="T36" fmla="*/ 53 w 126"/>
              <a:gd name="T37" fmla="*/ 71 h 135"/>
              <a:gd name="T38" fmla="*/ 34 w 126"/>
              <a:gd name="T39" fmla="*/ 86 h 135"/>
              <a:gd name="T40" fmla="*/ 10 w 126"/>
              <a:gd name="T41" fmla="*/ 92 h 135"/>
              <a:gd name="T42" fmla="*/ 14 w 126"/>
              <a:gd name="T43" fmla="*/ 120 h 135"/>
              <a:gd name="T44" fmla="*/ 90 w 126"/>
              <a:gd name="T45" fmla="*/ 123 h 135"/>
              <a:gd name="T46" fmla="*/ 62 w 126"/>
              <a:gd name="T47" fmla="*/ 83 h 135"/>
              <a:gd name="T48" fmla="*/ 90 w 126"/>
              <a:gd name="T49" fmla="*/ 116 h 135"/>
              <a:gd name="T50" fmla="*/ 95 w 126"/>
              <a:gd name="T51" fmla="*/ 122 h 135"/>
              <a:gd name="T52" fmla="*/ 113 w 126"/>
              <a:gd name="T53" fmla="*/ 105 h 135"/>
              <a:gd name="T54" fmla="*/ 102 w 126"/>
              <a:gd name="T55" fmla="*/ 109 h 135"/>
              <a:gd name="T56" fmla="*/ 98 w 126"/>
              <a:gd name="T57" fmla="*/ 107 h 135"/>
              <a:gd name="T58" fmla="*/ 107 w 126"/>
              <a:gd name="T59" fmla="*/ 102 h 135"/>
              <a:gd name="T60" fmla="*/ 107 w 126"/>
              <a:gd name="T61" fmla="*/ 52 h 135"/>
              <a:gd name="T62" fmla="*/ 73 w 126"/>
              <a:gd name="T63" fmla="*/ 64 h 135"/>
              <a:gd name="T64" fmla="*/ 107 w 126"/>
              <a:gd name="T65" fmla="*/ 52 h 135"/>
              <a:gd name="T66" fmla="*/ 20 w 126"/>
              <a:gd name="T67" fmla="*/ 102 h 135"/>
              <a:gd name="T68" fmla="*/ 50 w 126"/>
              <a:gd name="T69" fmla="*/ 92 h 135"/>
              <a:gd name="T70" fmla="*/ 17 w 126"/>
              <a:gd name="T71" fmla="*/ 108 h 135"/>
              <a:gd name="T72" fmla="*/ 14 w 126"/>
              <a:gd name="T73" fmla="*/ 10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4" y="120"/>
                </a:moveTo>
                <a:cubicBezTo>
                  <a:pt x="14" y="120"/>
                  <a:pt x="14" y="120"/>
                  <a:pt x="14" y="120"/>
                </a:cubicBezTo>
                <a:cubicBezTo>
                  <a:pt x="15" y="120"/>
                  <a:pt x="17" y="121"/>
                  <a:pt x="21" y="121"/>
                </a:cubicBezTo>
                <a:cubicBezTo>
                  <a:pt x="28" y="121"/>
                  <a:pt x="39" y="119"/>
                  <a:pt x="49" y="114"/>
                </a:cubicBezTo>
                <a:cubicBezTo>
                  <a:pt x="48" y="120"/>
                  <a:pt x="47" y="124"/>
                  <a:pt x="46" y="125"/>
                </a:cubicBezTo>
                <a:cubicBezTo>
                  <a:pt x="46" y="125"/>
                  <a:pt x="46" y="126"/>
                  <a:pt x="46" y="126"/>
                </a:cubicBezTo>
                <a:cubicBezTo>
                  <a:pt x="46" y="130"/>
                  <a:pt x="49" y="132"/>
                  <a:pt x="52" y="132"/>
                </a:cubicBezTo>
                <a:cubicBezTo>
                  <a:pt x="55" y="132"/>
                  <a:pt x="57" y="130"/>
                  <a:pt x="58" y="128"/>
                </a:cubicBezTo>
                <a:cubicBezTo>
                  <a:pt x="58" y="127"/>
                  <a:pt x="59" y="123"/>
                  <a:pt x="60" y="118"/>
                </a:cubicBezTo>
                <a:cubicBezTo>
                  <a:pt x="72" y="133"/>
                  <a:pt x="88" y="135"/>
                  <a:pt x="89" y="135"/>
                </a:cubicBezTo>
                <a:cubicBezTo>
                  <a:pt x="90" y="135"/>
                  <a:pt x="91" y="135"/>
                  <a:pt x="92" y="135"/>
                </a:cubicBezTo>
                <a:cubicBezTo>
                  <a:pt x="99" y="135"/>
                  <a:pt x="104" y="132"/>
                  <a:pt x="107" y="127"/>
                </a:cubicBezTo>
                <a:cubicBezTo>
                  <a:pt x="107" y="125"/>
                  <a:pt x="108" y="123"/>
                  <a:pt x="108" y="121"/>
                </a:cubicBezTo>
                <a:cubicBezTo>
                  <a:pt x="109" y="120"/>
                  <a:pt x="111" y="120"/>
                  <a:pt x="112" y="120"/>
                </a:cubicBezTo>
                <a:cubicBezTo>
                  <a:pt x="112" y="120"/>
                  <a:pt x="112" y="120"/>
                  <a:pt x="112" y="120"/>
                </a:cubicBezTo>
                <a:cubicBezTo>
                  <a:pt x="120" y="118"/>
                  <a:pt x="125" y="112"/>
                  <a:pt x="125" y="106"/>
                </a:cubicBezTo>
                <a:cubicBezTo>
                  <a:pt x="126" y="100"/>
                  <a:pt x="122" y="94"/>
                  <a:pt x="115" y="92"/>
                </a:cubicBezTo>
                <a:cubicBezTo>
                  <a:pt x="114" y="92"/>
                  <a:pt x="112" y="91"/>
                  <a:pt x="109" y="91"/>
                </a:cubicBezTo>
                <a:cubicBezTo>
                  <a:pt x="100" y="89"/>
                  <a:pt x="84" y="85"/>
                  <a:pt x="75" y="77"/>
                </a:cubicBezTo>
                <a:cubicBezTo>
                  <a:pt x="77" y="77"/>
                  <a:pt x="80" y="77"/>
                  <a:pt x="83" y="77"/>
                </a:cubicBezTo>
                <a:cubicBezTo>
                  <a:pt x="89" y="77"/>
                  <a:pt x="97" y="76"/>
                  <a:pt x="104" y="73"/>
                </a:cubicBezTo>
                <a:cubicBezTo>
                  <a:pt x="112" y="68"/>
                  <a:pt x="117" y="61"/>
                  <a:pt x="120" y="51"/>
                </a:cubicBezTo>
                <a:cubicBezTo>
                  <a:pt x="121" y="49"/>
                  <a:pt x="120" y="46"/>
                  <a:pt x="118" y="45"/>
                </a:cubicBezTo>
                <a:cubicBezTo>
                  <a:pt x="117" y="44"/>
                  <a:pt x="103" y="34"/>
                  <a:pt x="86" y="38"/>
                </a:cubicBezTo>
                <a:cubicBezTo>
                  <a:pt x="91" y="19"/>
                  <a:pt x="84" y="4"/>
                  <a:pt x="83" y="4"/>
                </a:cubicBezTo>
                <a:cubicBezTo>
                  <a:pt x="82" y="2"/>
                  <a:pt x="79" y="0"/>
                  <a:pt x="77" y="1"/>
                </a:cubicBezTo>
                <a:cubicBezTo>
                  <a:pt x="64" y="4"/>
                  <a:pt x="55" y="15"/>
                  <a:pt x="55" y="16"/>
                </a:cubicBezTo>
                <a:cubicBezTo>
                  <a:pt x="53" y="18"/>
                  <a:pt x="54" y="22"/>
                  <a:pt x="56" y="24"/>
                </a:cubicBezTo>
                <a:cubicBezTo>
                  <a:pt x="59" y="26"/>
                  <a:pt x="63" y="26"/>
                  <a:pt x="65" y="23"/>
                </a:cubicBezTo>
                <a:cubicBezTo>
                  <a:pt x="65" y="23"/>
                  <a:pt x="69" y="18"/>
                  <a:pt x="75" y="15"/>
                </a:cubicBezTo>
                <a:cubicBezTo>
                  <a:pt x="77" y="23"/>
                  <a:pt x="79" y="39"/>
                  <a:pt x="63" y="57"/>
                </a:cubicBezTo>
                <a:cubicBezTo>
                  <a:pt x="59" y="29"/>
                  <a:pt x="45" y="18"/>
                  <a:pt x="33" y="14"/>
                </a:cubicBezTo>
                <a:cubicBezTo>
                  <a:pt x="30" y="13"/>
                  <a:pt x="27" y="15"/>
                  <a:pt x="26" y="17"/>
                </a:cubicBezTo>
                <a:cubicBezTo>
                  <a:pt x="21" y="29"/>
                  <a:pt x="16" y="54"/>
                  <a:pt x="36" y="68"/>
                </a:cubicBezTo>
                <a:cubicBezTo>
                  <a:pt x="39" y="70"/>
                  <a:pt x="43" y="69"/>
                  <a:pt x="45" y="66"/>
                </a:cubicBezTo>
                <a:cubicBezTo>
                  <a:pt x="46" y="64"/>
                  <a:pt x="46" y="60"/>
                  <a:pt x="43" y="58"/>
                </a:cubicBezTo>
                <a:cubicBezTo>
                  <a:pt x="31" y="50"/>
                  <a:pt x="33" y="36"/>
                  <a:pt x="35" y="28"/>
                </a:cubicBezTo>
                <a:cubicBezTo>
                  <a:pt x="46" y="35"/>
                  <a:pt x="52" y="49"/>
                  <a:pt x="53" y="71"/>
                </a:cubicBezTo>
                <a:cubicBezTo>
                  <a:pt x="53" y="71"/>
                  <a:pt x="53" y="71"/>
                  <a:pt x="52" y="71"/>
                </a:cubicBezTo>
                <a:cubicBezTo>
                  <a:pt x="49" y="77"/>
                  <a:pt x="46" y="83"/>
                  <a:pt x="34" y="86"/>
                </a:cubicBezTo>
                <a:cubicBezTo>
                  <a:pt x="28" y="88"/>
                  <a:pt x="22" y="90"/>
                  <a:pt x="17" y="90"/>
                </a:cubicBezTo>
                <a:cubicBezTo>
                  <a:pt x="14" y="91"/>
                  <a:pt x="12" y="92"/>
                  <a:pt x="10" y="92"/>
                </a:cubicBezTo>
                <a:cubicBezTo>
                  <a:pt x="4" y="94"/>
                  <a:pt x="0" y="100"/>
                  <a:pt x="0" y="106"/>
                </a:cubicBezTo>
                <a:cubicBezTo>
                  <a:pt x="0" y="112"/>
                  <a:pt x="5" y="118"/>
                  <a:pt x="14" y="120"/>
                </a:cubicBezTo>
                <a:close/>
                <a:moveTo>
                  <a:pt x="95" y="122"/>
                </a:moveTo>
                <a:cubicBezTo>
                  <a:pt x="95" y="123"/>
                  <a:pt x="93" y="123"/>
                  <a:pt x="90" y="123"/>
                </a:cubicBezTo>
                <a:cubicBezTo>
                  <a:pt x="90" y="123"/>
                  <a:pt x="72" y="121"/>
                  <a:pt x="64" y="101"/>
                </a:cubicBezTo>
                <a:cubicBezTo>
                  <a:pt x="61" y="94"/>
                  <a:pt x="61" y="87"/>
                  <a:pt x="62" y="83"/>
                </a:cubicBezTo>
                <a:cubicBezTo>
                  <a:pt x="64" y="88"/>
                  <a:pt x="68" y="95"/>
                  <a:pt x="74" y="102"/>
                </a:cubicBezTo>
                <a:cubicBezTo>
                  <a:pt x="79" y="107"/>
                  <a:pt x="85" y="112"/>
                  <a:pt x="90" y="116"/>
                </a:cubicBezTo>
                <a:cubicBezTo>
                  <a:pt x="92" y="118"/>
                  <a:pt x="93" y="119"/>
                  <a:pt x="95" y="120"/>
                </a:cubicBezTo>
                <a:cubicBezTo>
                  <a:pt x="95" y="120"/>
                  <a:pt x="96" y="121"/>
                  <a:pt x="95" y="122"/>
                </a:cubicBezTo>
                <a:close/>
                <a:moveTo>
                  <a:pt x="112" y="104"/>
                </a:moveTo>
                <a:cubicBezTo>
                  <a:pt x="113" y="104"/>
                  <a:pt x="113" y="105"/>
                  <a:pt x="113" y="105"/>
                </a:cubicBezTo>
                <a:cubicBezTo>
                  <a:pt x="113" y="106"/>
                  <a:pt x="112" y="107"/>
                  <a:pt x="109" y="108"/>
                </a:cubicBezTo>
                <a:cubicBezTo>
                  <a:pt x="108" y="108"/>
                  <a:pt x="106" y="109"/>
                  <a:pt x="102" y="109"/>
                </a:cubicBezTo>
                <a:cubicBezTo>
                  <a:pt x="102" y="109"/>
                  <a:pt x="101" y="109"/>
                  <a:pt x="100" y="109"/>
                </a:cubicBezTo>
                <a:cubicBezTo>
                  <a:pt x="100" y="108"/>
                  <a:pt x="99" y="108"/>
                  <a:pt x="98" y="107"/>
                </a:cubicBezTo>
                <a:cubicBezTo>
                  <a:pt x="94" y="104"/>
                  <a:pt x="90" y="100"/>
                  <a:pt x="86" y="97"/>
                </a:cubicBezTo>
                <a:cubicBezTo>
                  <a:pt x="93" y="100"/>
                  <a:pt x="101" y="101"/>
                  <a:pt x="107" y="102"/>
                </a:cubicBezTo>
                <a:cubicBezTo>
                  <a:pt x="109" y="103"/>
                  <a:pt x="111" y="103"/>
                  <a:pt x="112" y="104"/>
                </a:cubicBezTo>
                <a:close/>
                <a:moveTo>
                  <a:pt x="107" y="52"/>
                </a:moveTo>
                <a:cubicBezTo>
                  <a:pt x="105" y="57"/>
                  <a:pt x="102" y="60"/>
                  <a:pt x="98" y="62"/>
                </a:cubicBezTo>
                <a:cubicBezTo>
                  <a:pt x="90" y="67"/>
                  <a:pt x="79" y="65"/>
                  <a:pt x="73" y="64"/>
                </a:cubicBezTo>
                <a:cubicBezTo>
                  <a:pt x="76" y="61"/>
                  <a:pt x="78" y="57"/>
                  <a:pt x="80" y="54"/>
                </a:cubicBezTo>
                <a:cubicBezTo>
                  <a:pt x="91" y="47"/>
                  <a:pt x="101" y="50"/>
                  <a:pt x="107" y="52"/>
                </a:cubicBezTo>
                <a:close/>
                <a:moveTo>
                  <a:pt x="14" y="104"/>
                </a:moveTo>
                <a:cubicBezTo>
                  <a:pt x="15" y="103"/>
                  <a:pt x="17" y="103"/>
                  <a:pt x="20" y="102"/>
                </a:cubicBezTo>
                <a:cubicBezTo>
                  <a:pt x="25" y="101"/>
                  <a:pt x="31" y="100"/>
                  <a:pt x="38" y="98"/>
                </a:cubicBezTo>
                <a:cubicBezTo>
                  <a:pt x="43" y="96"/>
                  <a:pt x="47" y="94"/>
                  <a:pt x="50" y="92"/>
                </a:cubicBezTo>
                <a:cubicBezTo>
                  <a:pt x="50" y="94"/>
                  <a:pt x="50" y="96"/>
                  <a:pt x="51" y="98"/>
                </a:cubicBezTo>
                <a:cubicBezTo>
                  <a:pt x="36" y="111"/>
                  <a:pt x="19" y="109"/>
                  <a:pt x="17" y="108"/>
                </a:cubicBezTo>
                <a:cubicBezTo>
                  <a:pt x="13" y="107"/>
                  <a:pt x="12" y="106"/>
                  <a:pt x="12" y="105"/>
                </a:cubicBezTo>
                <a:cubicBezTo>
                  <a:pt x="12" y="105"/>
                  <a:pt x="13" y="104"/>
                  <a:pt x="14" y="10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25">
            <a:extLst>
              <a:ext uri="{FF2B5EF4-FFF2-40B4-BE49-F238E27FC236}">
                <a16:creationId xmlns:a16="http://schemas.microsoft.com/office/drawing/2014/main" id="{BC16E919-ECBF-4F18-856A-EC08901B9EDC}"/>
              </a:ext>
            </a:extLst>
          </p:cNvPr>
          <p:cNvSpPr>
            <a:spLocks noEditPoints="1"/>
          </p:cNvSpPr>
          <p:nvPr/>
        </p:nvSpPr>
        <p:spPr bwMode="auto">
          <a:xfrm>
            <a:off x="8344989" y="2637415"/>
            <a:ext cx="393791" cy="423267"/>
          </a:xfrm>
          <a:custGeom>
            <a:avLst/>
            <a:gdLst>
              <a:gd name="T0" fmla="*/ 17 w 125"/>
              <a:gd name="T1" fmla="*/ 90 h 134"/>
              <a:gd name="T2" fmla="*/ 0 w 125"/>
              <a:gd name="T3" fmla="*/ 105 h 134"/>
              <a:gd name="T4" fmla="*/ 14 w 125"/>
              <a:gd name="T5" fmla="*/ 119 h 134"/>
              <a:gd name="T6" fmla="*/ 49 w 125"/>
              <a:gd name="T7" fmla="*/ 113 h 134"/>
              <a:gd name="T8" fmla="*/ 46 w 125"/>
              <a:gd name="T9" fmla="*/ 125 h 134"/>
              <a:gd name="T10" fmla="*/ 58 w 125"/>
              <a:gd name="T11" fmla="*/ 127 h 134"/>
              <a:gd name="T12" fmla="*/ 88 w 125"/>
              <a:gd name="T13" fmla="*/ 134 h 134"/>
              <a:gd name="T14" fmla="*/ 106 w 125"/>
              <a:gd name="T15" fmla="*/ 126 h 134"/>
              <a:gd name="T16" fmla="*/ 111 w 125"/>
              <a:gd name="T17" fmla="*/ 119 h 134"/>
              <a:gd name="T18" fmla="*/ 125 w 125"/>
              <a:gd name="T19" fmla="*/ 105 h 134"/>
              <a:gd name="T20" fmla="*/ 109 w 125"/>
              <a:gd name="T21" fmla="*/ 90 h 134"/>
              <a:gd name="T22" fmla="*/ 83 w 125"/>
              <a:gd name="T23" fmla="*/ 76 h 134"/>
              <a:gd name="T24" fmla="*/ 120 w 125"/>
              <a:gd name="T25" fmla="*/ 50 h 134"/>
              <a:gd name="T26" fmla="*/ 86 w 125"/>
              <a:gd name="T27" fmla="*/ 37 h 134"/>
              <a:gd name="T28" fmla="*/ 76 w 125"/>
              <a:gd name="T29" fmla="*/ 0 h 134"/>
              <a:gd name="T30" fmla="*/ 56 w 125"/>
              <a:gd name="T31" fmla="*/ 23 h 134"/>
              <a:gd name="T32" fmla="*/ 74 w 125"/>
              <a:gd name="T33" fmla="*/ 14 h 134"/>
              <a:gd name="T34" fmla="*/ 33 w 125"/>
              <a:gd name="T35" fmla="*/ 13 h 134"/>
              <a:gd name="T36" fmla="*/ 36 w 125"/>
              <a:gd name="T37" fmla="*/ 67 h 134"/>
              <a:gd name="T38" fmla="*/ 43 w 125"/>
              <a:gd name="T39" fmla="*/ 57 h 134"/>
              <a:gd name="T40" fmla="*/ 52 w 125"/>
              <a:gd name="T41" fmla="*/ 70 h 134"/>
              <a:gd name="T42" fmla="*/ 34 w 125"/>
              <a:gd name="T43" fmla="*/ 85 h 134"/>
              <a:gd name="T44" fmla="*/ 12 w 125"/>
              <a:gd name="T45" fmla="*/ 104 h 134"/>
              <a:gd name="T46" fmla="*/ 19 w 125"/>
              <a:gd name="T47" fmla="*/ 101 h 134"/>
              <a:gd name="T48" fmla="*/ 49 w 125"/>
              <a:gd name="T49" fmla="*/ 91 h 134"/>
              <a:gd name="T50" fmla="*/ 16 w 125"/>
              <a:gd name="T51" fmla="*/ 107 h 134"/>
              <a:gd name="T52" fmla="*/ 90 w 125"/>
              <a:gd name="T53" fmla="*/ 122 h 134"/>
              <a:gd name="T54" fmla="*/ 61 w 125"/>
              <a:gd name="T55" fmla="*/ 82 h 134"/>
              <a:gd name="T56" fmla="*/ 90 w 125"/>
              <a:gd name="T57" fmla="*/ 115 h 134"/>
              <a:gd name="T58" fmla="*/ 95 w 125"/>
              <a:gd name="T59" fmla="*/ 121 h 134"/>
              <a:gd name="T60" fmla="*/ 113 w 125"/>
              <a:gd name="T61" fmla="*/ 104 h 134"/>
              <a:gd name="T62" fmla="*/ 102 w 125"/>
              <a:gd name="T63" fmla="*/ 108 h 134"/>
              <a:gd name="T64" fmla="*/ 97 w 125"/>
              <a:gd name="T65" fmla="*/ 106 h 134"/>
              <a:gd name="T66" fmla="*/ 106 w 125"/>
              <a:gd name="T67" fmla="*/ 102 h 134"/>
              <a:gd name="T68" fmla="*/ 106 w 125"/>
              <a:gd name="T69" fmla="*/ 51 h 134"/>
              <a:gd name="T70" fmla="*/ 72 w 125"/>
              <a:gd name="T71" fmla="*/ 63 h 134"/>
              <a:gd name="T72" fmla="*/ 106 w 125"/>
              <a:gd name="T73" fmla="*/ 5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134">
                <a:moveTo>
                  <a:pt x="34" y="85"/>
                </a:moveTo>
                <a:cubicBezTo>
                  <a:pt x="28" y="87"/>
                  <a:pt x="22" y="89"/>
                  <a:pt x="17" y="90"/>
                </a:cubicBezTo>
                <a:cubicBezTo>
                  <a:pt x="14" y="90"/>
                  <a:pt x="12" y="91"/>
                  <a:pt x="10" y="91"/>
                </a:cubicBezTo>
                <a:cubicBezTo>
                  <a:pt x="4" y="93"/>
                  <a:pt x="0" y="99"/>
                  <a:pt x="0" y="105"/>
                </a:cubicBezTo>
                <a:cubicBezTo>
                  <a:pt x="0" y="112"/>
                  <a:pt x="5" y="117"/>
                  <a:pt x="13" y="119"/>
                </a:cubicBezTo>
                <a:cubicBezTo>
                  <a:pt x="14" y="119"/>
                  <a:pt x="14" y="119"/>
                  <a:pt x="14" y="119"/>
                </a:cubicBezTo>
                <a:cubicBezTo>
                  <a:pt x="14" y="119"/>
                  <a:pt x="17" y="120"/>
                  <a:pt x="21" y="120"/>
                </a:cubicBezTo>
                <a:cubicBezTo>
                  <a:pt x="28" y="120"/>
                  <a:pt x="38" y="119"/>
                  <a:pt x="49" y="113"/>
                </a:cubicBezTo>
                <a:cubicBezTo>
                  <a:pt x="47" y="119"/>
                  <a:pt x="46" y="123"/>
                  <a:pt x="46" y="124"/>
                </a:cubicBezTo>
                <a:cubicBezTo>
                  <a:pt x="46" y="124"/>
                  <a:pt x="46" y="125"/>
                  <a:pt x="46" y="125"/>
                </a:cubicBezTo>
                <a:cubicBezTo>
                  <a:pt x="46" y="129"/>
                  <a:pt x="49" y="131"/>
                  <a:pt x="52" y="131"/>
                </a:cubicBezTo>
                <a:cubicBezTo>
                  <a:pt x="55" y="131"/>
                  <a:pt x="57" y="129"/>
                  <a:pt x="58" y="127"/>
                </a:cubicBezTo>
                <a:cubicBezTo>
                  <a:pt x="58" y="126"/>
                  <a:pt x="59" y="122"/>
                  <a:pt x="60" y="117"/>
                </a:cubicBezTo>
                <a:cubicBezTo>
                  <a:pt x="72" y="132"/>
                  <a:pt x="87" y="134"/>
                  <a:pt x="88" y="134"/>
                </a:cubicBezTo>
                <a:cubicBezTo>
                  <a:pt x="89" y="134"/>
                  <a:pt x="90" y="134"/>
                  <a:pt x="91" y="134"/>
                </a:cubicBezTo>
                <a:cubicBezTo>
                  <a:pt x="98" y="134"/>
                  <a:pt x="104" y="131"/>
                  <a:pt x="106" y="126"/>
                </a:cubicBezTo>
                <a:cubicBezTo>
                  <a:pt x="107" y="124"/>
                  <a:pt x="107" y="122"/>
                  <a:pt x="107" y="120"/>
                </a:cubicBezTo>
                <a:cubicBezTo>
                  <a:pt x="109" y="120"/>
                  <a:pt x="111" y="119"/>
                  <a:pt x="111" y="119"/>
                </a:cubicBezTo>
                <a:cubicBezTo>
                  <a:pt x="111" y="119"/>
                  <a:pt x="111" y="119"/>
                  <a:pt x="112" y="119"/>
                </a:cubicBezTo>
                <a:cubicBezTo>
                  <a:pt x="120" y="117"/>
                  <a:pt x="125" y="112"/>
                  <a:pt x="125" y="105"/>
                </a:cubicBezTo>
                <a:cubicBezTo>
                  <a:pt x="125" y="99"/>
                  <a:pt x="121" y="93"/>
                  <a:pt x="115" y="91"/>
                </a:cubicBezTo>
                <a:cubicBezTo>
                  <a:pt x="114" y="91"/>
                  <a:pt x="111" y="90"/>
                  <a:pt x="109" y="90"/>
                </a:cubicBezTo>
                <a:cubicBezTo>
                  <a:pt x="100" y="88"/>
                  <a:pt x="84" y="84"/>
                  <a:pt x="75" y="76"/>
                </a:cubicBezTo>
                <a:cubicBezTo>
                  <a:pt x="77" y="76"/>
                  <a:pt x="80" y="76"/>
                  <a:pt x="83" y="76"/>
                </a:cubicBezTo>
                <a:cubicBezTo>
                  <a:pt x="89" y="76"/>
                  <a:pt x="97" y="75"/>
                  <a:pt x="103" y="72"/>
                </a:cubicBezTo>
                <a:cubicBezTo>
                  <a:pt x="111" y="67"/>
                  <a:pt x="117" y="60"/>
                  <a:pt x="120" y="50"/>
                </a:cubicBezTo>
                <a:cubicBezTo>
                  <a:pt x="120" y="48"/>
                  <a:pt x="119" y="45"/>
                  <a:pt x="117" y="44"/>
                </a:cubicBezTo>
                <a:cubicBezTo>
                  <a:pt x="117" y="43"/>
                  <a:pt x="103" y="33"/>
                  <a:pt x="86" y="37"/>
                </a:cubicBezTo>
                <a:cubicBezTo>
                  <a:pt x="91" y="18"/>
                  <a:pt x="83" y="4"/>
                  <a:pt x="83" y="3"/>
                </a:cubicBezTo>
                <a:cubicBezTo>
                  <a:pt x="82" y="1"/>
                  <a:pt x="79" y="0"/>
                  <a:pt x="76" y="0"/>
                </a:cubicBezTo>
                <a:cubicBezTo>
                  <a:pt x="64" y="3"/>
                  <a:pt x="55" y="14"/>
                  <a:pt x="55" y="15"/>
                </a:cubicBezTo>
                <a:cubicBezTo>
                  <a:pt x="53" y="18"/>
                  <a:pt x="53" y="21"/>
                  <a:pt x="56" y="23"/>
                </a:cubicBezTo>
                <a:cubicBezTo>
                  <a:pt x="59" y="25"/>
                  <a:pt x="62" y="25"/>
                  <a:pt x="64" y="22"/>
                </a:cubicBezTo>
                <a:cubicBezTo>
                  <a:pt x="64" y="22"/>
                  <a:pt x="68" y="17"/>
                  <a:pt x="74" y="14"/>
                </a:cubicBezTo>
                <a:cubicBezTo>
                  <a:pt x="76" y="22"/>
                  <a:pt x="78" y="39"/>
                  <a:pt x="63" y="56"/>
                </a:cubicBezTo>
                <a:cubicBezTo>
                  <a:pt x="59" y="28"/>
                  <a:pt x="45" y="17"/>
                  <a:pt x="33" y="13"/>
                </a:cubicBezTo>
                <a:cubicBezTo>
                  <a:pt x="30" y="12"/>
                  <a:pt x="27" y="14"/>
                  <a:pt x="26" y="16"/>
                </a:cubicBezTo>
                <a:cubicBezTo>
                  <a:pt x="20" y="28"/>
                  <a:pt x="16" y="53"/>
                  <a:pt x="36" y="67"/>
                </a:cubicBezTo>
                <a:cubicBezTo>
                  <a:pt x="39" y="69"/>
                  <a:pt x="42" y="68"/>
                  <a:pt x="44" y="65"/>
                </a:cubicBezTo>
                <a:cubicBezTo>
                  <a:pt x="46" y="63"/>
                  <a:pt x="45" y="59"/>
                  <a:pt x="43" y="57"/>
                </a:cubicBezTo>
                <a:cubicBezTo>
                  <a:pt x="31" y="49"/>
                  <a:pt x="32" y="35"/>
                  <a:pt x="34" y="27"/>
                </a:cubicBezTo>
                <a:cubicBezTo>
                  <a:pt x="45" y="34"/>
                  <a:pt x="51" y="48"/>
                  <a:pt x="52" y="70"/>
                </a:cubicBezTo>
                <a:cubicBezTo>
                  <a:pt x="52" y="70"/>
                  <a:pt x="52" y="70"/>
                  <a:pt x="52" y="70"/>
                </a:cubicBezTo>
                <a:cubicBezTo>
                  <a:pt x="49" y="76"/>
                  <a:pt x="45" y="82"/>
                  <a:pt x="34" y="85"/>
                </a:cubicBezTo>
                <a:close/>
                <a:moveTo>
                  <a:pt x="16" y="107"/>
                </a:moveTo>
                <a:cubicBezTo>
                  <a:pt x="13" y="107"/>
                  <a:pt x="12" y="105"/>
                  <a:pt x="12" y="104"/>
                </a:cubicBezTo>
                <a:cubicBezTo>
                  <a:pt x="12" y="104"/>
                  <a:pt x="12" y="103"/>
                  <a:pt x="14" y="103"/>
                </a:cubicBezTo>
                <a:cubicBezTo>
                  <a:pt x="15" y="102"/>
                  <a:pt x="17" y="102"/>
                  <a:pt x="19" y="101"/>
                </a:cubicBezTo>
                <a:cubicBezTo>
                  <a:pt x="24" y="100"/>
                  <a:pt x="31" y="99"/>
                  <a:pt x="38" y="97"/>
                </a:cubicBezTo>
                <a:cubicBezTo>
                  <a:pt x="42" y="95"/>
                  <a:pt x="46" y="93"/>
                  <a:pt x="49" y="91"/>
                </a:cubicBezTo>
                <a:cubicBezTo>
                  <a:pt x="49" y="93"/>
                  <a:pt x="50" y="95"/>
                  <a:pt x="50" y="97"/>
                </a:cubicBezTo>
                <a:cubicBezTo>
                  <a:pt x="36" y="110"/>
                  <a:pt x="19" y="108"/>
                  <a:pt x="16" y="107"/>
                </a:cubicBezTo>
                <a:close/>
                <a:moveTo>
                  <a:pt x="95" y="121"/>
                </a:moveTo>
                <a:cubicBezTo>
                  <a:pt x="95" y="122"/>
                  <a:pt x="93" y="123"/>
                  <a:pt x="90" y="122"/>
                </a:cubicBezTo>
                <a:cubicBezTo>
                  <a:pt x="90" y="122"/>
                  <a:pt x="72" y="120"/>
                  <a:pt x="64" y="100"/>
                </a:cubicBezTo>
                <a:cubicBezTo>
                  <a:pt x="61" y="93"/>
                  <a:pt x="61" y="87"/>
                  <a:pt x="61" y="82"/>
                </a:cubicBezTo>
                <a:cubicBezTo>
                  <a:pt x="64" y="88"/>
                  <a:pt x="67" y="94"/>
                  <a:pt x="73" y="101"/>
                </a:cubicBezTo>
                <a:cubicBezTo>
                  <a:pt x="78" y="106"/>
                  <a:pt x="85" y="111"/>
                  <a:pt x="90" y="115"/>
                </a:cubicBezTo>
                <a:cubicBezTo>
                  <a:pt x="91" y="117"/>
                  <a:pt x="93" y="118"/>
                  <a:pt x="94" y="119"/>
                </a:cubicBezTo>
                <a:cubicBezTo>
                  <a:pt x="95" y="120"/>
                  <a:pt x="95" y="121"/>
                  <a:pt x="95" y="121"/>
                </a:cubicBezTo>
                <a:close/>
                <a:moveTo>
                  <a:pt x="111" y="103"/>
                </a:moveTo>
                <a:cubicBezTo>
                  <a:pt x="113" y="103"/>
                  <a:pt x="113" y="104"/>
                  <a:pt x="113" y="104"/>
                </a:cubicBezTo>
                <a:cubicBezTo>
                  <a:pt x="113" y="105"/>
                  <a:pt x="112" y="107"/>
                  <a:pt x="109" y="108"/>
                </a:cubicBezTo>
                <a:cubicBezTo>
                  <a:pt x="108" y="108"/>
                  <a:pt x="105" y="108"/>
                  <a:pt x="102" y="108"/>
                </a:cubicBezTo>
                <a:cubicBezTo>
                  <a:pt x="101" y="108"/>
                  <a:pt x="101" y="108"/>
                  <a:pt x="100" y="108"/>
                </a:cubicBezTo>
                <a:cubicBezTo>
                  <a:pt x="99" y="108"/>
                  <a:pt x="98" y="107"/>
                  <a:pt x="97" y="106"/>
                </a:cubicBezTo>
                <a:cubicBezTo>
                  <a:pt x="94" y="103"/>
                  <a:pt x="89" y="99"/>
                  <a:pt x="85" y="96"/>
                </a:cubicBezTo>
                <a:cubicBezTo>
                  <a:pt x="93" y="99"/>
                  <a:pt x="101" y="100"/>
                  <a:pt x="106" y="102"/>
                </a:cubicBezTo>
                <a:cubicBezTo>
                  <a:pt x="108" y="102"/>
                  <a:pt x="110" y="102"/>
                  <a:pt x="111" y="103"/>
                </a:cubicBezTo>
                <a:close/>
                <a:moveTo>
                  <a:pt x="106" y="51"/>
                </a:moveTo>
                <a:cubicBezTo>
                  <a:pt x="104" y="56"/>
                  <a:pt x="102" y="59"/>
                  <a:pt x="98" y="61"/>
                </a:cubicBezTo>
                <a:cubicBezTo>
                  <a:pt x="89" y="66"/>
                  <a:pt x="78" y="65"/>
                  <a:pt x="72" y="63"/>
                </a:cubicBezTo>
                <a:cubicBezTo>
                  <a:pt x="75" y="60"/>
                  <a:pt x="78" y="57"/>
                  <a:pt x="80" y="53"/>
                </a:cubicBezTo>
                <a:cubicBezTo>
                  <a:pt x="91" y="46"/>
                  <a:pt x="101" y="49"/>
                  <a:pt x="106" y="5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26">
            <a:extLst>
              <a:ext uri="{FF2B5EF4-FFF2-40B4-BE49-F238E27FC236}">
                <a16:creationId xmlns:a16="http://schemas.microsoft.com/office/drawing/2014/main" id="{E9953117-B646-4BCD-B89D-DE3BFE75BE39}"/>
              </a:ext>
            </a:extLst>
          </p:cNvPr>
          <p:cNvSpPr>
            <a:spLocks noEditPoints="1"/>
          </p:cNvSpPr>
          <p:nvPr/>
        </p:nvSpPr>
        <p:spPr bwMode="auto">
          <a:xfrm>
            <a:off x="8344989" y="3496917"/>
            <a:ext cx="393791" cy="426804"/>
          </a:xfrm>
          <a:custGeom>
            <a:avLst/>
            <a:gdLst>
              <a:gd name="T0" fmla="*/ 109 w 125"/>
              <a:gd name="T1" fmla="*/ 90 h 135"/>
              <a:gd name="T2" fmla="*/ 83 w 125"/>
              <a:gd name="T3" fmla="*/ 77 h 135"/>
              <a:gd name="T4" fmla="*/ 120 w 125"/>
              <a:gd name="T5" fmla="*/ 50 h 135"/>
              <a:gd name="T6" fmla="*/ 86 w 125"/>
              <a:gd name="T7" fmla="*/ 38 h 135"/>
              <a:gd name="T8" fmla="*/ 76 w 125"/>
              <a:gd name="T9" fmla="*/ 0 h 135"/>
              <a:gd name="T10" fmla="*/ 56 w 125"/>
              <a:gd name="T11" fmla="*/ 24 h 135"/>
              <a:gd name="T12" fmla="*/ 74 w 125"/>
              <a:gd name="T13" fmla="*/ 14 h 135"/>
              <a:gd name="T14" fmla="*/ 33 w 125"/>
              <a:gd name="T15" fmla="*/ 14 h 135"/>
              <a:gd name="T16" fmla="*/ 36 w 125"/>
              <a:gd name="T17" fmla="*/ 67 h 135"/>
              <a:gd name="T18" fmla="*/ 43 w 125"/>
              <a:gd name="T19" fmla="*/ 57 h 135"/>
              <a:gd name="T20" fmla="*/ 52 w 125"/>
              <a:gd name="T21" fmla="*/ 70 h 135"/>
              <a:gd name="T22" fmla="*/ 34 w 125"/>
              <a:gd name="T23" fmla="*/ 86 h 135"/>
              <a:gd name="T24" fmla="*/ 10 w 125"/>
              <a:gd name="T25" fmla="*/ 92 h 135"/>
              <a:gd name="T26" fmla="*/ 13 w 125"/>
              <a:gd name="T27" fmla="*/ 119 h 135"/>
              <a:gd name="T28" fmla="*/ 21 w 125"/>
              <a:gd name="T29" fmla="*/ 120 h 135"/>
              <a:gd name="T30" fmla="*/ 46 w 125"/>
              <a:gd name="T31" fmla="*/ 124 h 135"/>
              <a:gd name="T32" fmla="*/ 51 w 125"/>
              <a:gd name="T33" fmla="*/ 132 h 135"/>
              <a:gd name="T34" fmla="*/ 58 w 125"/>
              <a:gd name="T35" fmla="*/ 127 h 135"/>
              <a:gd name="T36" fmla="*/ 88 w 125"/>
              <a:gd name="T37" fmla="*/ 134 h 135"/>
              <a:gd name="T38" fmla="*/ 106 w 125"/>
              <a:gd name="T39" fmla="*/ 126 h 135"/>
              <a:gd name="T40" fmla="*/ 111 w 125"/>
              <a:gd name="T41" fmla="*/ 119 h 135"/>
              <a:gd name="T42" fmla="*/ 125 w 125"/>
              <a:gd name="T43" fmla="*/ 105 h 135"/>
              <a:gd name="T44" fmla="*/ 106 w 125"/>
              <a:gd name="T45" fmla="*/ 51 h 135"/>
              <a:gd name="T46" fmla="*/ 72 w 125"/>
              <a:gd name="T47" fmla="*/ 64 h 135"/>
              <a:gd name="T48" fmla="*/ 106 w 125"/>
              <a:gd name="T49" fmla="*/ 51 h 135"/>
              <a:gd name="T50" fmla="*/ 12 w 125"/>
              <a:gd name="T51" fmla="*/ 105 h 135"/>
              <a:gd name="T52" fmla="*/ 20 w 125"/>
              <a:gd name="T53" fmla="*/ 102 h 135"/>
              <a:gd name="T54" fmla="*/ 49 w 125"/>
              <a:gd name="T55" fmla="*/ 92 h 135"/>
              <a:gd name="T56" fmla="*/ 16 w 125"/>
              <a:gd name="T57" fmla="*/ 108 h 135"/>
              <a:gd name="T58" fmla="*/ 90 w 125"/>
              <a:gd name="T59" fmla="*/ 122 h 135"/>
              <a:gd name="T60" fmla="*/ 61 w 125"/>
              <a:gd name="T61" fmla="*/ 82 h 135"/>
              <a:gd name="T62" fmla="*/ 90 w 125"/>
              <a:gd name="T63" fmla="*/ 116 h 135"/>
              <a:gd name="T64" fmla="*/ 95 w 125"/>
              <a:gd name="T65" fmla="*/ 121 h 135"/>
              <a:gd name="T66" fmla="*/ 102 w 125"/>
              <a:gd name="T67" fmla="*/ 108 h 135"/>
              <a:gd name="T68" fmla="*/ 97 w 125"/>
              <a:gd name="T69" fmla="*/ 106 h 135"/>
              <a:gd name="T70" fmla="*/ 106 w 125"/>
              <a:gd name="T71" fmla="*/ 102 h 135"/>
              <a:gd name="T72" fmla="*/ 113 w 125"/>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135">
                <a:moveTo>
                  <a:pt x="115" y="92"/>
                </a:moveTo>
                <a:cubicBezTo>
                  <a:pt x="114" y="91"/>
                  <a:pt x="111" y="91"/>
                  <a:pt x="109" y="90"/>
                </a:cubicBezTo>
                <a:cubicBezTo>
                  <a:pt x="100" y="88"/>
                  <a:pt x="84" y="85"/>
                  <a:pt x="75" y="76"/>
                </a:cubicBezTo>
                <a:cubicBezTo>
                  <a:pt x="77" y="76"/>
                  <a:pt x="80" y="77"/>
                  <a:pt x="83" y="77"/>
                </a:cubicBezTo>
                <a:cubicBezTo>
                  <a:pt x="89" y="77"/>
                  <a:pt x="97" y="76"/>
                  <a:pt x="103" y="72"/>
                </a:cubicBezTo>
                <a:cubicBezTo>
                  <a:pt x="111" y="67"/>
                  <a:pt x="117" y="60"/>
                  <a:pt x="120" y="50"/>
                </a:cubicBezTo>
                <a:cubicBezTo>
                  <a:pt x="120" y="48"/>
                  <a:pt x="119" y="45"/>
                  <a:pt x="117" y="44"/>
                </a:cubicBezTo>
                <a:cubicBezTo>
                  <a:pt x="117" y="43"/>
                  <a:pt x="103" y="34"/>
                  <a:pt x="86" y="38"/>
                </a:cubicBezTo>
                <a:cubicBezTo>
                  <a:pt x="91" y="19"/>
                  <a:pt x="83" y="4"/>
                  <a:pt x="83" y="4"/>
                </a:cubicBezTo>
                <a:cubicBezTo>
                  <a:pt x="82" y="1"/>
                  <a:pt x="79" y="0"/>
                  <a:pt x="76" y="0"/>
                </a:cubicBezTo>
                <a:cubicBezTo>
                  <a:pt x="64" y="3"/>
                  <a:pt x="55" y="15"/>
                  <a:pt x="55" y="15"/>
                </a:cubicBezTo>
                <a:cubicBezTo>
                  <a:pt x="53" y="18"/>
                  <a:pt x="53" y="22"/>
                  <a:pt x="56" y="24"/>
                </a:cubicBezTo>
                <a:cubicBezTo>
                  <a:pt x="59" y="26"/>
                  <a:pt x="62" y="25"/>
                  <a:pt x="64" y="22"/>
                </a:cubicBezTo>
                <a:cubicBezTo>
                  <a:pt x="64" y="22"/>
                  <a:pt x="68" y="17"/>
                  <a:pt x="74" y="14"/>
                </a:cubicBezTo>
                <a:cubicBezTo>
                  <a:pt x="76" y="22"/>
                  <a:pt x="78" y="39"/>
                  <a:pt x="63" y="56"/>
                </a:cubicBezTo>
                <a:cubicBezTo>
                  <a:pt x="59" y="28"/>
                  <a:pt x="45" y="17"/>
                  <a:pt x="33" y="14"/>
                </a:cubicBezTo>
                <a:cubicBezTo>
                  <a:pt x="30" y="13"/>
                  <a:pt x="27" y="14"/>
                  <a:pt x="26" y="17"/>
                </a:cubicBezTo>
                <a:cubicBezTo>
                  <a:pt x="20" y="28"/>
                  <a:pt x="16" y="53"/>
                  <a:pt x="36" y="67"/>
                </a:cubicBezTo>
                <a:cubicBezTo>
                  <a:pt x="39" y="69"/>
                  <a:pt x="42" y="68"/>
                  <a:pt x="44" y="66"/>
                </a:cubicBezTo>
                <a:cubicBezTo>
                  <a:pt x="46" y="63"/>
                  <a:pt x="45" y="59"/>
                  <a:pt x="43" y="57"/>
                </a:cubicBezTo>
                <a:cubicBezTo>
                  <a:pt x="31" y="49"/>
                  <a:pt x="32" y="35"/>
                  <a:pt x="34" y="27"/>
                </a:cubicBezTo>
                <a:cubicBezTo>
                  <a:pt x="45" y="34"/>
                  <a:pt x="51" y="48"/>
                  <a:pt x="52" y="70"/>
                </a:cubicBezTo>
                <a:cubicBezTo>
                  <a:pt x="52" y="70"/>
                  <a:pt x="52" y="70"/>
                  <a:pt x="52" y="71"/>
                </a:cubicBezTo>
                <a:cubicBezTo>
                  <a:pt x="49" y="76"/>
                  <a:pt x="45" y="82"/>
                  <a:pt x="34" y="86"/>
                </a:cubicBezTo>
                <a:cubicBezTo>
                  <a:pt x="28" y="88"/>
                  <a:pt x="22" y="89"/>
                  <a:pt x="17" y="90"/>
                </a:cubicBezTo>
                <a:cubicBezTo>
                  <a:pt x="14" y="90"/>
                  <a:pt x="12" y="91"/>
                  <a:pt x="10" y="92"/>
                </a:cubicBezTo>
                <a:cubicBezTo>
                  <a:pt x="4" y="94"/>
                  <a:pt x="0" y="99"/>
                  <a:pt x="0" y="105"/>
                </a:cubicBezTo>
                <a:cubicBezTo>
                  <a:pt x="0" y="112"/>
                  <a:pt x="5" y="117"/>
                  <a:pt x="13" y="119"/>
                </a:cubicBezTo>
                <a:cubicBezTo>
                  <a:pt x="14" y="119"/>
                  <a:pt x="14" y="119"/>
                  <a:pt x="14" y="119"/>
                </a:cubicBezTo>
                <a:cubicBezTo>
                  <a:pt x="14" y="119"/>
                  <a:pt x="17" y="120"/>
                  <a:pt x="21" y="120"/>
                </a:cubicBezTo>
                <a:cubicBezTo>
                  <a:pt x="28" y="120"/>
                  <a:pt x="38" y="119"/>
                  <a:pt x="49" y="113"/>
                </a:cubicBezTo>
                <a:cubicBezTo>
                  <a:pt x="47" y="119"/>
                  <a:pt x="46" y="123"/>
                  <a:pt x="46" y="124"/>
                </a:cubicBezTo>
                <a:cubicBezTo>
                  <a:pt x="46" y="125"/>
                  <a:pt x="46" y="125"/>
                  <a:pt x="46" y="126"/>
                </a:cubicBezTo>
                <a:cubicBezTo>
                  <a:pt x="46" y="129"/>
                  <a:pt x="48" y="131"/>
                  <a:pt x="51" y="132"/>
                </a:cubicBezTo>
                <a:cubicBezTo>
                  <a:pt x="51" y="132"/>
                  <a:pt x="52" y="132"/>
                  <a:pt x="52" y="132"/>
                </a:cubicBezTo>
                <a:cubicBezTo>
                  <a:pt x="55" y="132"/>
                  <a:pt x="57" y="130"/>
                  <a:pt x="58" y="127"/>
                </a:cubicBezTo>
                <a:cubicBezTo>
                  <a:pt x="58" y="127"/>
                  <a:pt x="59" y="123"/>
                  <a:pt x="60" y="117"/>
                </a:cubicBezTo>
                <a:cubicBezTo>
                  <a:pt x="72" y="132"/>
                  <a:pt x="87" y="134"/>
                  <a:pt x="88" y="134"/>
                </a:cubicBezTo>
                <a:cubicBezTo>
                  <a:pt x="89" y="134"/>
                  <a:pt x="90" y="135"/>
                  <a:pt x="91" y="135"/>
                </a:cubicBezTo>
                <a:cubicBezTo>
                  <a:pt x="98" y="135"/>
                  <a:pt x="104" y="131"/>
                  <a:pt x="106" y="126"/>
                </a:cubicBezTo>
                <a:cubicBezTo>
                  <a:pt x="107" y="124"/>
                  <a:pt x="107" y="122"/>
                  <a:pt x="107" y="120"/>
                </a:cubicBezTo>
                <a:cubicBezTo>
                  <a:pt x="109" y="120"/>
                  <a:pt x="110" y="120"/>
                  <a:pt x="111" y="119"/>
                </a:cubicBezTo>
                <a:cubicBezTo>
                  <a:pt x="111" y="119"/>
                  <a:pt x="111" y="119"/>
                  <a:pt x="112" y="119"/>
                </a:cubicBezTo>
                <a:cubicBezTo>
                  <a:pt x="120" y="117"/>
                  <a:pt x="125" y="112"/>
                  <a:pt x="125" y="105"/>
                </a:cubicBezTo>
                <a:cubicBezTo>
                  <a:pt x="125" y="99"/>
                  <a:pt x="121" y="94"/>
                  <a:pt x="115" y="92"/>
                </a:cubicBezTo>
                <a:close/>
                <a:moveTo>
                  <a:pt x="106" y="51"/>
                </a:moveTo>
                <a:cubicBezTo>
                  <a:pt x="104" y="56"/>
                  <a:pt x="102" y="59"/>
                  <a:pt x="98" y="61"/>
                </a:cubicBezTo>
                <a:cubicBezTo>
                  <a:pt x="89" y="66"/>
                  <a:pt x="78" y="65"/>
                  <a:pt x="72" y="64"/>
                </a:cubicBezTo>
                <a:cubicBezTo>
                  <a:pt x="75" y="60"/>
                  <a:pt x="78" y="57"/>
                  <a:pt x="80" y="53"/>
                </a:cubicBezTo>
                <a:cubicBezTo>
                  <a:pt x="91" y="46"/>
                  <a:pt x="101" y="49"/>
                  <a:pt x="106" y="51"/>
                </a:cubicBezTo>
                <a:close/>
                <a:moveTo>
                  <a:pt x="16" y="108"/>
                </a:moveTo>
                <a:cubicBezTo>
                  <a:pt x="13" y="107"/>
                  <a:pt x="12" y="105"/>
                  <a:pt x="12" y="105"/>
                </a:cubicBezTo>
                <a:cubicBezTo>
                  <a:pt x="12" y="104"/>
                  <a:pt x="12" y="103"/>
                  <a:pt x="14" y="103"/>
                </a:cubicBezTo>
                <a:cubicBezTo>
                  <a:pt x="15" y="103"/>
                  <a:pt x="17" y="102"/>
                  <a:pt x="20" y="102"/>
                </a:cubicBezTo>
                <a:cubicBezTo>
                  <a:pt x="24" y="101"/>
                  <a:pt x="31" y="99"/>
                  <a:pt x="38" y="97"/>
                </a:cubicBezTo>
                <a:cubicBezTo>
                  <a:pt x="42" y="95"/>
                  <a:pt x="46" y="94"/>
                  <a:pt x="49" y="92"/>
                </a:cubicBezTo>
                <a:cubicBezTo>
                  <a:pt x="49" y="93"/>
                  <a:pt x="50" y="95"/>
                  <a:pt x="50" y="97"/>
                </a:cubicBezTo>
                <a:cubicBezTo>
                  <a:pt x="36" y="110"/>
                  <a:pt x="19" y="108"/>
                  <a:pt x="16" y="108"/>
                </a:cubicBezTo>
                <a:close/>
                <a:moveTo>
                  <a:pt x="95" y="121"/>
                </a:moveTo>
                <a:cubicBezTo>
                  <a:pt x="95" y="122"/>
                  <a:pt x="93" y="123"/>
                  <a:pt x="90" y="122"/>
                </a:cubicBezTo>
                <a:cubicBezTo>
                  <a:pt x="90" y="122"/>
                  <a:pt x="72" y="120"/>
                  <a:pt x="64" y="100"/>
                </a:cubicBezTo>
                <a:cubicBezTo>
                  <a:pt x="61" y="93"/>
                  <a:pt x="61" y="87"/>
                  <a:pt x="61" y="82"/>
                </a:cubicBezTo>
                <a:cubicBezTo>
                  <a:pt x="64" y="88"/>
                  <a:pt x="67" y="94"/>
                  <a:pt x="73" y="101"/>
                </a:cubicBezTo>
                <a:cubicBezTo>
                  <a:pt x="78" y="106"/>
                  <a:pt x="85" y="111"/>
                  <a:pt x="90" y="116"/>
                </a:cubicBezTo>
                <a:cubicBezTo>
                  <a:pt x="91" y="117"/>
                  <a:pt x="93" y="118"/>
                  <a:pt x="94" y="119"/>
                </a:cubicBezTo>
                <a:cubicBezTo>
                  <a:pt x="95" y="120"/>
                  <a:pt x="95" y="121"/>
                  <a:pt x="95" y="121"/>
                </a:cubicBezTo>
                <a:close/>
                <a:moveTo>
                  <a:pt x="109" y="108"/>
                </a:moveTo>
                <a:cubicBezTo>
                  <a:pt x="108" y="108"/>
                  <a:pt x="105" y="108"/>
                  <a:pt x="102" y="108"/>
                </a:cubicBezTo>
                <a:cubicBezTo>
                  <a:pt x="101" y="108"/>
                  <a:pt x="101" y="108"/>
                  <a:pt x="100" y="108"/>
                </a:cubicBezTo>
                <a:cubicBezTo>
                  <a:pt x="99" y="108"/>
                  <a:pt x="98" y="107"/>
                  <a:pt x="97" y="106"/>
                </a:cubicBezTo>
                <a:cubicBezTo>
                  <a:pt x="94" y="103"/>
                  <a:pt x="89" y="100"/>
                  <a:pt x="85" y="96"/>
                </a:cubicBezTo>
                <a:cubicBezTo>
                  <a:pt x="93" y="99"/>
                  <a:pt x="101" y="101"/>
                  <a:pt x="106" y="102"/>
                </a:cubicBezTo>
                <a:cubicBezTo>
                  <a:pt x="108" y="102"/>
                  <a:pt x="110" y="103"/>
                  <a:pt x="111" y="103"/>
                </a:cubicBezTo>
                <a:cubicBezTo>
                  <a:pt x="113" y="103"/>
                  <a:pt x="113" y="104"/>
                  <a:pt x="113" y="105"/>
                </a:cubicBezTo>
                <a:cubicBezTo>
                  <a:pt x="113" y="105"/>
                  <a:pt x="112" y="107"/>
                  <a:pt x="109"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27">
            <a:extLst>
              <a:ext uri="{FF2B5EF4-FFF2-40B4-BE49-F238E27FC236}">
                <a16:creationId xmlns:a16="http://schemas.microsoft.com/office/drawing/2014/main" id="{4090BF44-D48B-416D-B1C2-C0ADF2A37F8E}"/>
              </a:ext>
            </a:extLst>
          </p:cNvPr>
          <p:cNvSpPr>
            <a:spLocks noEditPoints="1"/>
          </p:cNvSpPr>
          <p:nvPr/>
        </p:nvSpPr>
        <p:spPr bwMode="auto">
          <a:xfrm>
            <a:off x="8344989" y="3067755"/>
            <a:ext cx="393791" cy="423267"/>
          </a:xfrm>
          <a:custGeom>
            <a:avLst/>
            <a:gdLst>
              <a:gd name="T0" fmla="*/ 109 w 125"/>
              <a:gd name="T1" fmla="*/ 90 h 134"/>
              <a:gd name="T2" fmla="*/ 83 w 125"/>
              <a:gd name="T3" fmla="*/ 77 h 134"/>
              <a:gd name="T4" fmla="*/ 120 w 125"/>
              <a:gd name="T5" fmla="*/ 50 h 134"/>
              <a:gd name="T6" fmla="*/ 86 w 125"/>
              <a:gd name="T7" fmla="*/ 38 h 134"/>
              <a:gd name="T8" fmla="*/ 76 w 125"/>
              <a:gd name="T9" fmla="*/ 0 h 134"/>
              <a:gd name="T10" fmla="*/ 56 w 125"/>
              <a:gd name="T11" fmla="*/ 23 h 134"/>
              <a:gd name="T12" fmla="*/ 74 w 125"/>
              <a:gd name="T13" fmla="*/ 14 h 134"/>
              <a:gd name="T14" fmla="*/ 33 w 125"/>
              <a:gd name="T15" fmla="*/ 13 h 134"/>
              <a:gd name="T16" fmla="*/ 36 w 125"/>
              <a:gd name="T17" fmla="*/ 67 h 134"/>
              <a:gd name="T18" fmla="*/ 43 w 125"/>
              <a:gd name="T19" fmla="*/ 57 h 134"/>
              <a:gd name="T20" fmla="*/ 52 w 125"/>
              <a:gd name="T21" fmla="*/ 70 h 134"/>
              <a:gd name="T22" fmla="*/ 34 w 125"/>
              <a:gd name="T23" fmla="*/ 85 h 134"/>
              <a:gd name="T24" fmla="*/ 10 w 125"/>
              <a:gd name="T25" fmla="*/ 91 h 134"/>
              <a:gd name="T26" fmla="*/ 13 w 125"/>
              <a:gd name="T27" fmla="*/ 119 h 134"/>
              <a:gd name="T28" fmla="*/ 21 w 125"/>
              <a:gd name="T29" fmla="*/ 120 h 134"/>
              <a:gd name="T30" fmla="*/ 46 w 125"/>
              <a:gd name="T31" fmla="*/ 124 h 134"/>
              <a:gd name="T32" fmla="*/ 52 w 125"/>
              <a:gd name="T33" fmla="*/ 132 h 134"/>
              <a:gd name="T34" fmla="*/ 60 w 125"/>
              <a:gd name="T35" fmla="*/ 117 h 134"/>
              <a:gd name="T36" fmla="*/ 91 w 125"/>
              <a:gd name="T37" fmla="*/ 134 h 134"/>
              <a:gd name="T38" fmla="*/ 107 w 125"/>
              <a:gd name="T39" fmla="*/ 120 h 134"/>
              <a:gd name="T40" fmla="*/ 112 w 125"/>
              <a:gd name="T41" fmla="*/ 119 h 134"/>
              <a:gd name="T42" fmla="*/ 115 w 125"/>
              <a:gd name="T43" fmla="*/ 91 h 134"/>
              <a:gd name="T44" fmla="*/ 98 w 125"/>
              <a:gd name="T45" fmla="*/ 61 h 134"/>
              <a:gd name="T46" fmla="*/ 80 w 125"/>
              <a:gd name="T47" fmla="*/ 53 h 134"/>
              <a:gd name="T48" fmla="*/ 16 w 125"/>
              <a:gd name="T49" fmla="*/ 108 h 134"/>
              <a:gd name="T50" fmla="*/ 14 w 125"/>
              <a:gd name="T51" fmla="*/ 103 h 134"/>
              <a:gd name="T52" fmla="*/ 38 w 125"/>
              <a:gd name="T53" fmla="*/ 97 h 134"/>
              <a:gd name="T54" fmla="*/ 50 w 125"/>
              <a:gd name="T55" fmla="*/ 97 h 134"/>
              <a:gd name="T56" fmla="*/ 95 w 125"/>
              <a:gd name="T57" fmla="*/ 121 h 134"/>
              <a:gd name="T58" fmla="*/ 64 w 125"/>
              <a:gd name="T59" fmla="*/ 100 h 134"/>
              <a:gd name="T60" fmla="*/ 73 w 125"/>
              <a:gd name="T61" fmla="*/ 101 h 134"/>
              <a:gd name="T62" fmla="*/ 94 w 125"/>
              <a:gd name="T63" fmla="*/ 119 h 134"/>
              <a:gd name="T64" fmla="*/ 109 w 125"/>
              <a:gd name="T65" fmla="*/ 108 h 134"/>
              <a:gd name="T66" fmla="*/ 100 w 125"/>
              <a:gd name="T67" fmla="*/ 108 h 134"/>
              <a:gd name="T68" fmla="*/ 85 w 125"/>
              <a:gd name="T69" fmla="*/ 96 h 134"/>
              <a:gd name="T70" fmla="*/ 111 w 125"/>
              <a:gd name="T71" fmla="*/ 103 h 134"/>
              <a:gd name="T72" fmla="*/ 109 w 125"/>
              <a:gd name="T73" fmla="*/ 10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134">
                <a:moveTo>
                  <a:pt x="115" y="91"/>
                </a:moveTo>
                <a:cubicBezTo>
                  <a:pt x="114" y="91"/>
                  <a:pt x="111" y="90"/>
                  <a:pt x="109" y="90"/>
                </a:cubicBezTo>
                <a:cubicBezTo>
                  <a:pt x="100" y="88"/>
                  <a:pt x="84" y="84"/>
                  <a:pt x="75" y="76"/>
                </a:cubicBezTo>
                <a:cubicBezTo>
                  <a:pt x="77" y="76"/>
                  <a:pt x="80" y="77"/>
                  <a:pt x="83" y="77"/>
                </a:cubicBezTo>
                <a:cubicBezTo>
                  <a:pt x="89" y="77"/>
                  <a:pt x="97" y="75"/>
                  <a:pt x="103" y="72"/>
                </a:cubicBezTo>
                <a:cubicBezTo>
                  <a:pt x="111" y="67"/>
                  <a:pt x="117" y="60"/>
                  <a:pt x="120" y="50"/>
                </a:cubicBezTo>
                <a:cubicBezTo>
                  <a:pt x="120" y="48"/>
                  <a:pt x="119" y="45"/>
                  <a:pt x="117" y="44"/>
                </a:cubicBezTo>
                <a:cubicBezTo>
                  <a:pt x="117" y="43"/>
                  <a:pt x="103" y="34"/>
                  <a:pt x="86" y="38"/>
                </a:cubicBezTo>
                <a:cubicBezTo>
                  <a:pt x="91" y="18"/>
                  <a:pt x="83" y="4"/>
                  <a:pt x="83" y="3"/>
                </a:cubicBezTo>
                <a:cubicBezTo>
                  <a:pt x="82" y="1"/>
                  <a:pt x="79" y="0"/>
                  <a:pt x="76" y="0"/>
                </a:cubicBezTo>
                <a:cubicBezTo>
                  <a:pt x="64" y="3"/>
                  <a:pt x="55" y="15"/>
                  <a:pt x="55" y="15"/>
                </a:cubicBezTo>
                <a:cubicBezTo>
                  <a:pt x="53" y="18"/>
                  <a:pt x="53" y="21"/>
                  <a:pt x="56" y="23"/>
                </a:cubicBezTo>
                <a:cubicBezTo>
                  <a:pt x="59" y="25"/>
                  <a:pt x="62" y="25"/>
                  <a:pt x="64" y="22"/>
                </a:cubicBezTo>
                <a:cubicBezTo>
                  <a:pt x="64" y="22"/>
                  <a:pt x="69" y="17"/>
                  <a:pt x="74" y="14"/>
                </a:cubicBezTo>
                <a:cubicBezTo>
                  <a:pt x="76" y="22"/>
                  <a:pt x="78" y="39"/>
                  <a:pt x="63" y="56"/>
                </a:cubicBezTo>
                <a:cubicBezTo>
                  <a:pt x="59" y="28"/>
                  <a:pt x="45" y="17"/>
                  <a:pt x="33" y="13"/>
                </a:cubicBezTo>
                <a:cubicBezTo>
                  <a:pt x="30" y="12"/>
                  <a:pt x="27" y="14"/>
                  <a:pt x="26" y="17"/>
                </a:cubicBezTo>
                <a:cubicBezTo>
                  <a:pt x="20" y="28"/>
                  <a:pt x="16" y="53"/>
                  <a:pt x="36" y="67"/>
                </a:cubicBezTo>
                <a:cubicBezTo>
                  <a:pt x="39" y="69"/>
                  <a:pt x="42" y="68"/>
                  <a:pt x="44" y="66"/>
                </a:cubicBezTo>
                <a:cubicBezTo>
                  <a:pt x="46" y="63"/>
                  <a:pt x="45" y="59"/>
                  <a:pt x="43" y="57"/>
                </a:cubicBezTo>
                <a:cubicBezTo>
                  <a:pt x="31" y="49"/>
                  <a:pt x="32" y="35"/>
                  <a:pt x="34" y="27"/>
                </a:cubicBezTo>
                <a:cubicBezTo>
                  <a:pt x="45" y="34"/>
                  <a:pt x="51" y="48"/>
                  <a:pt x="52" y="70"/>
                </a:cubicBezTo>
                <a:cubicBezTo>
                  <a:pt x="52" y="70"/>
                  <a:pt x="52" y="70"/>
                  <a:pt x="52" y="70"/>
                </a:cubicBezTo>
                <a:cubicBezTo>
                  <a:pt x="49" y="76"/>
                  <a:pt x="45" y="82"/>
                  <a:pt x="34" y="85"/>
                </a:cubicBezTo>
                <a:cubicBezTo>
                  <a:pt x="28" y="87"/>
                  <a:pt x="22" y="89"/>
                  <a:pt x="17" y="90"/>
                </a:cubicBezTo>
                <a:cubicBezTo>
                  <a:pt x="14" y="90"/>
                  <a:pt x="12" y="91"/>
                  <a:pt x="10" y="91"/>
                </a:cubicBezTo>
                <a:cubicBezTo>
                  <a:pt x="4" y="93"/>
                  <a:pt x="0" y="99"/>
                  <a:pt x="0" y="105"/>
                </a:cubicBezTo>
                <a:cubicBezTo>
                  <a:pt x="0" y="112"/>
                  <a:pt x="5" y="117"/>
                  <a:pt x="13" y="119"/>
                </a:cubicBezTo>
                <a:cubicBezTo>
                  <a:pt x="14" y="119"/>
                  <a:pt x="14" y="119"/>
                  <a:pt x="14" y="119"/>
                </a:cubicBezTo>
                <a:cubicBezTo>
                  <a:pt x="14" y="119"/>
                  <a:pt x="17" y="120"/>
                  <a:pt x="21" y="120"/>
                </a:cubicBezTo>
                <a:cubicBezTo>
                  <a:pt x="28" y="120"/>
                  <a:pt x="38" y="119"/>
                  <a:pt x="49" y="113"/>
                </a:cubicBezTo>
                <a:cubicBezTo>
                  <a:pt x="47" y="119"/>
                  <a:pt x="46" y="123"/>
                  <a:pt x="46" y="124"/>
                </a:cubicBezTo>
                <a:cubicBezTo>
                  <a:pt x="46" y="124"/>
                  <a:pt x="46" y="125"/>
                  <a:pt x="46" y="126"/>
                </a:cubicBezTo>
                <a:cubicBezTo>
                  <a:pt x="46" y="129"/>
                  <a:pt x="49" y="132"/>
                  <a:pt x="52" y="132"/>
                </a:cubicBezTo>
                <a:cubicBezTo>
                  <a:pt x="55" y="132"/>
                  <a:pt x="57" y="130"/>
                  <a:pt x="58" y="127"/>
                </a:cubicBezTo>
                <a:cubicBezTo>
                  <a:pt x="58" y="126"/>
                  <a:pt x="59" y="122"/>
                  <a:pt x="60" y="117"/>
                </a:cubicBezTo>
                <a:cubicBezTo>
                  <a:pt x="72" y="132"/>
                  <a:pt x="87" y="134"/>
                  <a:pt x="88" y="134"/>
                </a:cubicBezTo>
                <a:cubicBezTo>
                  <a:pt x="89" y="134"/>
                  <a:pt x="90" y="134"/>
                  <a:pt x="91" y="134"/>
                </a:cubicBezTo>
                <a:cubicBezTo>
                  <a:pt x="98" y="134"/>
                  <a:pt x="104" y="131"/>
                  <a:pt x="106" y="126"/>
                </a:cubicBezTo>
                <a:cubicBezTo>
                  <a:pt x="107" y="124"/>
                  <a:pt x="107" y="122"/>
                  <a:pt x="107" y="120"/>
                </a:cubicBezTo>
                <a:cubicBezTo>
                  <a:pt x="109" y="120"/>
                  <a:pt x="111" y="119"/>
                  <a:pt x="111" y="119"/>
                </a:cubicBezTo>
                <a:cubicBezTo>
                  <a:pt x="111" y="119"/>
                  <a:pt x="111" y="119"/>
                  <a:pt x="112" y="119"/>
                </a:cubicBezTo>
                <a:cubicBezTo>
                  <a:pt x="120" y="117"/>
                  <a:pt x="125" y="112"/>
                  <a:pt x="125" y="105"/>
                </a:cubicBezTo>
                <a:cubicBezTo>
                  <a:pt x="125" y="99"/>
                  <a:pt x="121" y="93"/>
                  <a:pt x="115" y="91"/>
                </a:cubicBezTo>
                <a:close/>
                <a:moveTo>
                  <a:pt x="106" y="51"/>
                </a:moveTo>
                <a:cubicBezTo>
                  <a:pt x="104" y="56"/>
                  <a:pt x="102" y="59"/>
                  <a:pt x="98" y="61"/>
                </a:cubicBezTo>
                <a:cubicBezTo>
                  <a:pt x="89" y="66"/>
                  <a:pt x="78" y="65"/>
                  <a:pt x="72" y="64"/>
                </a:cubicBezTo>
                <a:cubicBezTo>
                  <a:pt x="75" y="60"/>
                  <a:pt x="78" y="57"/>
                  <a:pt x="80" y="53"/>
                </a:cubicBezTo>
                <a:cubicBezTo>
                  <a:pt x="91" y="46"/>
                  <a:pt x="101" y="49"/>
                  <a:pt x="106" y="51"/>
                </a:cubicBezTo>
                <a:close/>
                <a:moveTo>
                  <a:pt x="16" y="108"/>
                </a:moveTo>
                <a:cubicBezTo>
                  <a:pt x="13" y="107"/>
                  <a:pt x="12" y="105"/>
                  <a:pt x="12" y="105"/>
                </a:cubicBezTo>
                <a:cubicBezTo>
                  <a:pt x="12" y="104"/>
                  <a:pt x="12" y="103"/>
                  <a:pt x="14" y="103"/>
                </a:cubicBezTo>
                <a:cubicBezTo>
                  <a:pt x="15" y="102"/>
                  <a:pt x="17" y="102"/>
                  <a:pt x="20" y="101"/>
                </a:cubicBezTo>
                <a:cubicBezTo>
                  <a:pt x="24" y="100"/>
                  <a:pt x="31" y="99"/>
                  <a:pt x="38" y="97"/>
                </a:cubicBezTo>
                <a:cubicBezTo>
                  <a:pt x="42" y="95"/>
                  <a:pt x="46" y="94"/>
                  <a:pt x="49" y="91"/>
                </a:cubicBezTo>
                <a:cubicBezTo>
                  <a:pt x="49" y="93"/>
                  <a:pt x="50" y="95"/>
                  <a:pt x="50" y="97"/>
                </a:cubicBezTo>
                <a:cubicBezTo>
                  <a:pt x="36" y="110"/>
                  <a:pt x="19" y="108"/>
                  <a:pt x="16" y="108"/>
                </a:cubicBezTo>
                <a:close/>
                <a:moveTo>
                  <a:pt x="95" y="121"/>
                </a:moveTo>
                <a:cubicBezTo>
                  <a:pt x="95" y="122"/>
                  <a:pt x="93" y="123"/>
                  <a:pt x="90" y="122"/>
                </a:cubicBezTo>
                <a:cubicBezTo>
                  <a:pt x="90" y="122"/>
                  <a:pt x="72" y="120"/>
                  <a:pt x="64" y="100"/>
                </a:cubicBezTo>
                <a:cubicBezTo>
                  <a:pt x="61" y="93"/>
                  <a:pt x="61" y="87"/>
                  <a:pt x="61" y="82"/>
                </a:cubicBezTo>
                <a:cubicBezTo>
                  <a:pt x="64" y="88"/>
                  <a:pt x="67" y="94"/>
                  <a:pt x="73" y="101"/>
                </a:cubicBezTo>
                <a:cubicBezTo>
                  <a:pt x="78" y="106"/>
                  <a:pt x="85" y="111"/>
                  <a:pt x="90" y="116"/>
                </a:cubicBezTo>
                <a:cubicBezTo>
                  <a:pt x="91" y="117"/>
                  <a:pt x="93" y="118"/>
                  <a:pt x="94" y="119"/>
                </a:cubicBezTo>
                <a:cubicBezTo>
                  <a:pt x="95" y="120"/>
                  <a:pt x="95" y="121"/>
                  <a:pt x="95" y="121"/>
                </a:cubicBezTo>
                <a:close/>
                <a:moveTo>
                  <a:pt x="109" y="108"/>
                </a:moveTo>
                <a:cubicBezTo>
                  <a:pt x="108" y="108"/>
                  <a:pt x="105" y="108"/>
                  <a:pt x="102" y="108"/>
                </a:cubicBezTo>
                <a:cubicBezTo>
                  <a:pt x="101" y="108"/>
                  <a:pt x="101" y="108"/>
                  <a:pt x="100" y="108"/>
                </a:cubicBezTo>
                <a:cubicBezTo>
                  <a:pt x="99" y="108"/>
                  <a:pt x="98" y="107"/>
                  <a:pt x="97" y="106"/>
                </a:cubicBezTo>
                <a:cubicBezTo>
                  <a:pt x="94" y="103"/>
                  <a:pt x="89" y="100"/>
                  <a:pt x="85" y="96"/>
                </a:cubicBezTo>
                <a:cubicBezTo>
                  <a:pt x="93" y="99"/>
                  <a:pt x="101" y="100"/>
                  <a:pt x="106" y="102"/>
                </a:cubicBezTo>
                <a:cubicBezTo>
                  <a:pt x="108" y="102"/>
                  <a:pt x="110" y="103"/>
                  <a:pt x="111" y="103"/>
                </a:cubicBezTo>
                <a:cubicBezTo>
                  <a:pt x="113" y="103"/>
                  <a:pt x="113" y="104"/>
                  <a:pt x="113" y="105"/>
                </a:cubicBezTo>
                <a:cubicBezTo>
                  <a:pt x="113" y="105"/>
                  <a:pt x="112" y="107"/>
                  <a:pt x="109"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28">
            <a:extLst>
              <a:ext uri="{FF2B5EF4-FFF2-40B4-BE49-F238E27FC236}">
                <a16:creationId xmlns:a16="http://schemas.microsoft.com/office/drawing/2014/main" id="{957AE276-5AA5-44F9-A7A9-9703C92E01EF}"/>
              </a:ext>
            </a:extLst>
          </p:cNvPr>
          <p:cNvSpPr>
            <a:spLocks noEditPoints="1"/>
          </p:cNvSpPr>
          <p:nvPr/>
        </p:nvSpPr>
        <p:spPr bwMode="auto">
          <a:xfrm>
            <a:off x="7630506" y="2947495"/>
            <a:ext cx="752212" cy="543527"/>
          </a:xfrm>
          <a:custGeom>
            <a:avLst/>
            <a:gdLst>
              <a:gd name="T0" fmla="*/ 229 w 239"/>
              <a:gd name="T1" fmla="*/ 92 h 172"/>
              <a:gd name="T2" fmla="*/ 196 w 239"/>
              <a:gd name="T3" fmla="*/ 77 h 172"/>
              <a:gd name="T4" fmla="*/ 231 w 239"/>
              <a:gd name="T5" fmla="*/ 44 h 172"/>
              <a:gd name="T6" fmla="*/ 190 w 239"/>
              <a:gd name="T7" fmla="*/ 1 h 172"/>
              <a:gd name="T8" fmla="*/ 178 w 239"/>
              <a:gd name="T9" fmla="*/ 23 h 172"/>
              <a:gd name="T10" fmla="*/ 147 w 239"/>
              <a:gd name="T11" fmla="*/ 14 h 172"/>
              <a:gd name="T12" fmla="*/ 158 w 239"/>
              <a:gd name="T13" fmla="*/ 66 h 172"/>
              <a:gd name="T14" fmla="*/ 166 w 239"/>
              <a:gd name="T15" fmla="*/ 70 h 172"/>
              <a:gd name="T16" fmla="*/ 131 w 239"/>
              <a:gd name="T17" fmla="*/ 90 h 172"/>
              <a:gd name="T18" fmla="*/ 120 w 239"/>
              <a:gd name="T19" fmla="*/ 88 h 172"/>
              <a:gd name="T20" fmla="*/ 84 w 239"/>
              <a:gd name="T21" fmla="*/ 41 h 172"/>
              <a:gd name="T22" fmla="*/ 57 w 239"/>
              <a:gd name="T23" fmla="*/ 61 h 172"/>
              <a:gd name="T24" fmla="*/ 64 w 239"/>
              <a:gd name="T25" fmla="*/ 94 h 172"/>
              <a:gd name="T26" fmla="*/ 37 w 239"/>
              <a:gd name="T27" fmla="*/ 105 h 172"/>
              <a:gd name="T28" fmla="*/ 35 w 239"/>
              <a:gd name="T29" fmla="*/ 65 h 172"/>
              <a:gd name="T30" fmla="*/ 35 w 239"/>
              <a:gd name="T31" fmla="*/ 123 h 172"/>
              <a:gd name="T32" fmla="*/ 1 w 239"/>
              <a:gd name="T33" fmla="*/ 143 h 172"/>
              <a:gd name="T34" fmla="*/ 22 w 239"/>
              <a:gd name="T35" fmla="*/ 158 h 172"/>
              <a:gd name="T36" fmla="*/ 47 w 239"/>
              <a:gd name="T37" fmla="*/ 164 h 172"/>
              <a:gd name="T38" fmla="*/ 61 w 239"/>
              <a:gd name="T39" fmla="*/ 155 h 172"/>
              <a:gd name="T40" fmla="*/ 107 w 239"/>
              <a:gd name="T41" fmla="*/ 164 h 172"/>
              <a:gd name="T42" fmla="*/ 112 w 239"/>
              <a:gd name="T43" fmla="*/ 157 h 172"/>
              <a:gd name="T44" fmla="*/ 109 w 239"/>
              <a:gd name="T45" fmla="*/ 128 h 172"/>
              <a:gd name="T46" fmla="*/ 104 w 239"/>
              <a:gd name="T47" fmla="*/ 110 h 172"/>
              <a:gd name="T48" fmla="*/ 127 w 239"/>
              <a:gd name="T49" fmla="*/ 119 h 172"/>
              <a:gd name="T50" fmla="*/ 162 w 239"/>
              <a:gd name="T51" fmla="*/ 113 h 172"/>
              <a:gd name="T52" fmla="*/ 166 w 239"/>
              <a:gd name="T53" fmla="*/ 132 h 172"/>
              <a:gd name="T54" fmla="*/ 202 w 239"/>
              <a:gd name="T55" fmla="*/ 134 h 172"/>
              <a:gd name="T56" fmla="*/ 221 w 239"/>
              <a:gd name="T57" fmla="*/ 120 h 172"/>
              <a:gd name="T58" fmla="*/ 17 w 239"/>
              <a:gd name="T59" fmla="*/ 146 h 172"/>
              <a:gd name="T60" fmla="*/ 20 w 239"/>
              <a:gd name="T61" fmla="*/ 139 h 172"/>
              <a:gd name="T62" fmla="*/ 51 w 239"/>
              <a:gd name="T63" fmla="*/ 135 h 172"/>
              <a:gd name="T64" fmla="*/ 90 w 239"/>
              <a:gd name="T65" fmla="*/ 160 h 172"/>
              <a:gd name="T66" fmla="*/ 74 w 239"/>
              <a:gd name="T67" fmla="*/ 139 h 172"/>
              <a:gd name="T68" fmla="*/ 96 w 239"/>
              <a:gd name="T69" fmla="*/ 159 h 172"/>
              <a:gd name="T70" fmla="*/ 109 w 239"/>
              <a:gd name="T71" fmla="*/ 146 h 172"/>
              <a:gd name="T72" fmla="*/ 98 w 239"/>
              <a:gd name="T73" fmla="*/ 144 h 172"/>
              <a:gd name="T74" fmla="*/ 112 w 239"/>
              <a:gd name="T75" fmla="*/ 141 h 172"/>
              <a:gd name="T76" fmla="*/ 80 w 239"/>
              <a:gd name="T77" fmla="*/ 91 h 172"/>
              <a:gd name="T78" fmla="*/ 220 w 239"/>
              <a:gd name="T79" fmla="*/ 52 h 172"/>
              <a:gd name="T80" fmla="*/ 194 w 239"/>
              <a:gd name="T81" fmla="*/ 54 h 172"/>
              <a:gd name="T82" fmla="*/ 126 w 239"/>
              <a:gd name="T83" fmla="*/ 105 h 172"/>
              <a:gd name="T84" fmla="*/ 152 w 239"/>
              <a:gd name="T85" fmla="*/ 97 h 172"/>
              <a:gd name="T86" fmla="*/ 130 w 239"/>
              <a:gd name="T87" fmla="*/ 108 h 172"/>
              <a:gd name="T88" fmla="*/ 178 w 239"/>
              <a:gd name="T89" fmla="*/ 100 h 172"/>
              <a:gd name="T90" fmla="*/ 204 w 239"/>
              <a:gd name="T91" fmla="*/ 116 h 172"/>
              <a:gd name="T92" fmla="*/ 216 w 239"/>
              <a:gd name="T93" fmla="*/ 108 h 172"/>
              <a:gd name="T94" fmla="*/ 199 w 239"/>
              <a:gd name="T95" fmla="*/ 96 h 172"/>
              <a:gd name="T96" fmla="*/ 227 w 239"/>
              <a:gd name="T97" fmla="*/ 10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 h="172">
                <a:moveTo>
                  <a:pt x="225" y="119"/>
                </a:moveTo>
                <a:cubicBezTo>
                  <a:pt x="234" y="117"/>
                  <a:pt x="239" y="112"/>
                  <a:pt x="239" y="105"/>
                </a:cubicBezTo>
                <a:cubicBezTo>
                  <a:pt x="239" y="99"/>
                  <a:pt x="235" y="94"/>
                  <a:pt x="229" y="92"/>
                </a:cubicBezTo>
                <a:cubicBezTo>
                  <a:pt x="227" y="91"/>
                  <a:pt x="225" y="91"/>
                  <a:pt x="223" y="90"/>
                </a:cubicBezTo>
                <a:cubicBezTo>
                  <a:pt x="213" y="88"/>
                  <a:pt x="197" y="85"/>
                  <a:pt x="189" y="76"/>
                </a:cubicBezTo>
                <a:cubicBezTo>
                  <a:pt x="191" y="77"/>
                  <a:pt x="194" y="77"/>
                  <a:pt x="196" y="77"/>
                </a:cubicBezTo>
                <a:cubicBezTo>
                  <a:pt x="203" y="77"/>
                  <a:pt x="210" y="76"/>
                  <a:pt x="217" y="72"/>
                </a:cubicBezTo>
                <a:cubicBezTo>
                  <a:pt x="225" y="68"/>
                  <a:pt x="231" y="60"/>
                  <a:pt x="233" y="50"/>
                </a:cubicBezTo>
                <a:cubicBezTo>
                  <a:pt x="234" y="48"/>
                  <a:pt x="233" y="45"/>
                  <a:pt x="231" y="44"/>
                </a:cubicBezTo>
                <a:cubicBezTo>
                  <a:pt x="230" y="43"/>
                  <a:pt x="217" y="34"/>
                  <a:pt x="200" y="38"/>
                </a:cubicBezTo>
                <a:cubicBezTo>
                  <a:pt x="204" y="19"/>
                  <a:pt x="197" y="4"/>
                  <a:pt x="197" y="4"/>
                </a:cubicBezTo>
                <a:cubicBezTo>
                  <a:pt x="196" y="1"/>
                  <a:pt x="193" y="0"/>
                  <a:pt x="190" y="1"/>
                </a:cubicBezTo>
                <a:cubicBezTo>
                  <a:pt x="178" y="3"/>
                  <a:pt x="169" y="15"/>
                  <a:pt x="169" y="15"/>
                </a:cubicBezTo>
                <a:cubicBezTo>
                  <a:pt x="167" y="18"/>
                  <a:pt x="167" y="22"/>
                  <a:pt x="170" y="24"/>
                </a:cubicBezTo>
                <a:cubicBezTo>
                  <a:pt x="172" y="26"/>
                  <a:pt x="176" y="25"/>
                  <a:pt x="178" y="23"/>
                </a:cubicBezTo>
                <a:cubicBezTo>
                  <a:pt x="178" y="22"/>
                  <a:pt x="182" y="17"/>
                  <a:pt x="188" y="14"/>
                </a:cubicBezTo>
                <a:cubicBezTo>
                  <a:pt x="190" y="22"/>
                  <a:pt x="192" y="39"/>
                  <a:pt x="177" y="56"/>
                </a:cubicBezTo>
                <a:cubicBezTo>
                  <a:pt x="172" y="28"/>
                  <a:pt x="159" y="18"/>
                  <a:pt x="147" y="14"/>
                </a:cubicBezTo>
                <a:cubicBezTo>
                  <a:pt x="144" y="13"/>
                  <a:pt x="141" y="14"/>
                  <a:pt x="139" y="17"/>
                </a:cubicBezTo>
                <a:cubicBezTo>
                  <a:pt x="134" y="28"/>
                  <a:pt x="130" y="53"/>
                  <a:pt x="150" y="67"/>
                </a:cubicBezTo>
                <a:cubicBezTo>
                  <a:pt x="152" y="69"/>
                  <a:pt x="156" y="68"/>
                  <a:pt x="158" y="66"/>
                </a:cubicBezTo>
                <a:cubicBezTo>
                  <a:pt x="160" y="63"/>
                  <a:pt x="159" y="59"/>
                  <a:pt x="156" y="57"/>
                </a:cubicBezTo>
                <a:cubicBezTo>
                  <a:pt x="145" y="49"/>
                  <a:pt x="146" y="35"/>
                  <a:pt x="148" y="28"/>
                </a:cubicBezTo>
                <a:cubicBezTo>
                  <a:pt x="159" y="34"/>
                  <a:pt x="165" y="49"/>
                  <a:pt x="166" y="70"/>
                </a:cubicBezTo>
                <a:cubicBezTo>
                  <a:pt x="166" y="71"/>
                  <a:pt x="166" y="71"/>
                  <a:pt x="166" y="71"/>
                </a:cubicBezTo>
                <a:cubicBezTo>
                  <a:pt x="162" y="77"/>
                  <a:pt x="159" y="82"/>
                  <a:pt x="148" y="86"/>
                </a:cubicBezTo>
                <a:cubicBezTo>
                  <a:pt x="142" y="88"/>
                  <a:pt x="136" y="89"/>
                  <a:pt x="131" y="90"/>
                </a:cubicBezTo>
                <a:cubicBezTo>
                  <a:pt x="128" y="91"/>
                  <a:pt x="125" y="91"/>
                  <a:pt x="124" y="92"/>
                </a:cubicBezTo>
                <a:cubicBezTo>
                  <a:pt x="121" y="92"/>
                  <a:pt x="119" y="94"/>
                  <a:pt x="117" y="96"/>
                </a:cubicBezTo>
                <a:cubicBezTo>
                  <a:pt x="119" y="93"/>
                  <a:pt x="120" y="91"/>
                  <a:pt x="120" y="88"/>
                </a:cubicBezTo>
                <a:cubicBezTo>
                  <a:pt x="121" y="86"/>
                  <a:pt x="120" y="83"/>
                  <a:pt x="118" y="82"/>
                </a:cubicBezTo>
                <a:cubicBezTo>
                  <a:pt x="117" y="81"/>
                  <a:pt x="104" y="72"/>
                  <a:pt x="87" y="76"/>
                </a:cubicBezTo>
                <a:cubicBezTo>
                  <a:pt x="91" y="56"/>
                  <a:pt x="84" y="42"/>
                  <a:pt x="84" y="41"/>
                </a:cubicBezTo>
                <a:cubicBezTo>
                  <a:pt x="83" y="39"/>
                  <a:pt x="80" y="38"/>
                  <a:pt x="77" y="38"/>
                </a:cubicBezTo>
                <a:cubicBezTo>
                  <a:pt x="65" y="41"/>
                  <a:pt x="56" y="53"/>
                  <a:pt x="56" y="53"/>
                </a:cubicBezTo>
                <a:cubicBezTo>
                  <a:pt x="54" y="56"/>
                  <a:pt x="54" y="59"/>
                  <a:pt x="57" y="61"/>
                </a:cubicBezTo>
                <a:cubicBezTo>
                  <a:pt x="59" y="63"/>
                  <a:pt x="63" y="63"/>
                  <a:pt x="65" y="60"/>
                </a:cubicBezTo>
                <a:cubicBezTo>
                  <a:pt x="65" y="60"/>
                  <a:pt x="69" y="55"/>
                  <a:pt x="75" y="52"/>
                </a:cubicBezTo>
                <a:cubicBezTo>
                  <a:pt x="77" y="60"/>
                  <a:pt x="79" y="77"/>
                  <a:pt x="64" y="94"/>
                </a:cubicBezTo>
                <a:cubicBezTo>
                  <a:pt x="59" y="66"/>
                  <a:pt x="45" y="55"/>
                  <a:pt x="34" y="51"/>
                </a:cubicBezTo>
                <a:cubicBezTo>
                  <a:pt x="31" y="50"/>
                  <a:pt x="28" y="52"/>
                  <a:pt x="26" y="55"/>
                </a:cubicBezTo>
                <a:cubicBezTo>
                  <a:pt x="21" y="66"/>
                  <a:pt x="16" y="91"/>
                  <a:pt x="37" y="105"/>
                </a:cubicBezTo>
                <a:cubicBezTo>
                  <a:pt x="39" y="107"/>
                  <a:pt x="43" y="106"/>
                  <a:pt x="45" y="104"/>
                </a:cubicBezTo>
                <a:cubicBezTo>
                  <a:pt x="47" y="101"/>
                  <a:pt x="46" y="97"/>
                  <a:pt x="43" y="95"/>
                </a:cubicBezTo>
                <a:cubicBezTo>
                  <a:pt x="31" y="87"/>
                  <a:pt x="33" y="73"/>
                  <a:pt x="35" y="65"/>
                </a:cubicBezTo>
                <a:cubicBezTo>
                  <a:pt x="46" y="72"/>
                  <a:pt x="52" y="86"/>
                  <a:pt x="53" y="108"/>
                </a:cubicBezTo>
                <a:cubicBezTo>
                  <a:pt x="53" y="108"/>
                  <a:pt x="53" y="108"/>
                  <a:pt x="53" y="108"/>
                </a:cubicBezTo>
                <a:cubicBezTo>
                  <a:pt x="49" y="114"/>
                  <a:pt x="46" y="120"/>
                  <a:pt x="35" y="123"/>
                </a:cubicBezTo>
                <a:cubicBezTo>
                  <a:pt x="29" y="125"/>
                  <a:pt x="22" y="127"/>
                  <a:pt x="18" y="128"/>
                </a:cubicBezTo>
                <a:cubicBezTo>
                  <a:pt x="15" y="128"/>
                  <a:pt x="12" y="129"/>
                  <a:pt x="11" y="129"/>
                </a:cubicBezTo>
                <a:cubicBezTo>
                  <a:pt x="4" y="131"/>
                  <a:pt x="0" y="137"/>
                  <a:pt x="1" y="143"/>
                </a:cubicBezTo>
                <a:cubicBezTo>
                  <a:pt x="1" y="150"/>
                  <a:pt x="6" y="155"/>
                  <a:pt x="14" y="157"/>
                </a:cubicBezTo>
                <a:cubicBezTo>
                  <a:pt x="14" y="157"/>
                  <a:pt x="15" y="157"/>
                  <a:pt x="15" y="157"/>
                </a:cubicBezTo>
                <a:cubicBezTo>
                  <a:pt x="15" y="157"/>
                  <a:pt x="18" y="158"/>
                  <a:pt x="22" y="158"/>
                </a:cubicBezTo>
                <a:cubicBezTo>
                  <a:pt x="29" y="158"/>
                  <a:pt x="39" y="157"/>
                  <a:pt x="49" y="151"/>
                </a:cubicBezTo>
                <a:cubicBezTo>
                  <a:pt x="48" y="157"/>
                  <a:pt x="47" y="161"/>
                  <a:pt x="47" y="162"/>
                </a:cubicBezTo>
                <a:cubicBezTo>
                  <a:pt x="47" y="162"/>
                  <a:pt x="47" y="163"/>
                  <a:pt x="47" y="164"/>
                </a:cubicBezTo>
                <a:cubicBezTo>
                  <a:pt x="47" y="167"/>
                  <a:pt x="49" y="170"/>
                  <a:pt x="53" y="170"/>
                </a:cubicBezTo>
                <a:cubicBezTo>
                  <a:pt x="56" y="170"/>
                  <a:pt x="58" y="168"/>
                  <a:pt x="59" y="165"/>
                </a:cubicBezTo>
                <a:cubicBezTo>
                  <a:pt x="59" y="164"/>
                  <a:pt x="60" y="160"/>
                  <a:pt x="61" y="155"/>
                </a:cubicBezTo>
                <a:cubicBezTo>
                  <a:pt x="72" y="170"/>
                  <a:pt x="88" y="172"/>
                  <a:pt x="89" y="172"/>
                </a:cubicBezTo>
                <a:cubicBezTo>
                  <a:pt x="90" y="172"/>
                  <a:pt x="91" y="172"/>
                  <a:pt x="92" y="172"/>
                </a:cubicBezTo>
                <a:cubicBezTo>
                  <a:pt x="99" y="172"/>
                  <a:pt x="105" y="169"/>
                  <a:pt x="107" y="164"/>
                </a:cubicBezTo>
                <a:cubicBezTo>
                  <a:pt x="108" y="162"/>
                  <a:pt x="108" y="160"/>
                  <a:pt x="108" y="158"/>
                </a:cubicBezTo>
                <a:cubicBezTo>
                  <a:pt x="110" y="158"/>
                  <a:pt x="111" y="157"/>
                  <a:pt x="112" y="157"/>
                </a:cubicBezTo>
                <a:cubicBezTo>
                  <a:pt x="112" y="157"/>
                  <a:pt x="112" y="157"/>
                  <a:pt x="112" y="157"/>
                </a:cubicBezTo>
                <a:cubicBezTo>
                  <a:pt x="121" y="155"/>
                  <a:pt x="126" y="150"/>
                  <a:pt x="126" y="143"/>
                </a:cubicBezTo>
                <a:cubicBezTo>
                  <a:pt x="126" y="137"/>
                  <a:pt x="122" y="131"/>
                  <a:pt x="116" y="129"/>
                </a:cubicBezTo>
                <a:cubicBezTo>
                  <a:pt x="114" y="129"/>
                  <a:pt x="112" y="128"/>
                  <a:pt x="109" y="128"/>
                </a:cubicBezTo>
                <a:cubicBezTo>
                  <a:pt x="100" y="126"/>
                  <a:pt x="84" y="122"/>
                  <a:pt x="75" y="114"/>
                </a:cubicBezTo>
                <a:cubicBezTo>
                  <a:pt x="78" y="114"/>
                  <a:pt x="80" y="115"/>
                  <a:pt x="83" y="115"/>
                </a:cubicBezTo>
                <a:cubicBezTo>
                  <a:pt x="90" y="115"/>
                  <a:pt x="97" y="113"/>
                  <a:pt x="104" y="110"/>
                </a:cubicBezTo>
                <a:cubicBezTo>
                  <a:pt x="108" y="107"/>
                  <a:pt x="112" y="104"/>
                  <a:pt x="114" y="101"/>
                </a:cubicBezTo>
                <a:cubicBezTo>
                  <a:pt x="114" y="102"/>
                  <a:pt x="114" y="104"/>
                  <a:pt x="114" y="105"/>
                </a:cubicBezTo>
                <a:cubicBezTo>
                  <a:pt x="114" y="112"/>
                  <a:pt x="119" y="117"/>
                  <a:pt x="127" y="119"/>
                </a:cubicBezTo>
                <a:cubicBezTo>
                  <a:pt x="127" y="120"/>
                  <a:pt x="128" y="120"/>
                  <a:pt x="128" y="120"/>
                </a:cubicBezTo>
                <a:cubicBezTo>
                  <a:pt x="128" y="120"/>
                  <a:pt x="131" y="120"/>
                  <a:pt x="135" y="120"/>
                </a:cubicBezTo>
                <a:cubicBezTo>
                  <a:pt x="142" y="120"/>
                  <a:pt x="152" y="119"/>
                  <a:pt x="162" y="113"/>
                </a:cubicBezTo>
                <a:cubicBezTo>
                  <a:pt x="161" y="119"/>
                  <a:pt x="160" y="124"/>
                  <a:pt x="160" y="124"/>
                </a:cubicBezTo>
                <a:cubicBezTo>
                  <a:pt x="160" y="125"/>
                  <a:pt x="160" y="125"/>
                  <a:pt x="160" y="126"/>
                </a:cubicBezTo>
                <a:cubicBezTo>
                  <a:pt x="160" y="129"/>
                  <a:pt x="162" y="132"/>
                  <a:pt x="166" y="132"/>
                </a:cubicBezTo>
                <a:cubicBezTo>
                  <a:pt x="169" y="132"/>
                  <a:pt x="171" y="130"/>
                  <a:pt x="172" y="127"/>
                </a:cubicBezTo>
                <a:cubicBezTo>
                  <a:pt x="172" y="126"/>
                  <a:pt x="173" y="123"/>
                  <a:pt x="174" y="117"/>
                </a:cubicBezTo>
                <a:cubicBezTo>
                  <a:pt x="185" y="132"/>
                  <a:pt x="201" y="134"/>
                  <a:pt x="202" y="134"/>
                </a:cubicBezTo>
                <a:cubicBezTo>
                  <a:pt x="203" y="135"/>
                  <a:pt x="204" y="135"/>
                  <a:pt x="205" y="135"/>
                </a:cubicBezTo>
                <a:cubicBezTo>
                  <a:pt x="212" y="135"/>
                  <a:pt x="218" y="132"/>
                  <a:pt x="220" y="126"/>
                </a:cubicBezTo>
                <a:cubicBezTo>
                  <a:pt x="221" y="124"/>
                  <a:pt x="221" y="122"/>
                  <a:pt x="221" y="120"/>
                </a:cubicBezTo>
                <a:cubicBezTo>
                  <a:pt x="223" y="120"/>
                  <a:pt x="225" y="120"/>
                  <a:pt x="225" y="120"/>
                </a:cubicBezTo>
                <a:cubicBezTo>
                  <a:pt x="225" y="120"/>
                  <a:pt x="225" y="119"/>
                  <a:pt x="225" y="119"/>
                </a:cubicBezTo>
                <a:close/>
                <a:moveTo>
                  <a:pt x="17" y="146"/>
                </a:moveTo>
                <a:cubicBezTo>
                  <a:pt x="14" y="145"/>
                  <a:pt x="13" y="143"/>
                  <a:pt x="13" y="143"/>
                </a:cubicBezTo>
                <a:cubicBezTo>
                  <a:pt x="13" y="142"/>
                  <a:pt x="13" y="141"/>
                  <a:pt x="14" y="141"/>
                </a:cubicBezTo>
                <a:cubicBezTo>
                  <a:pt x="15" y="140"/>
                  <a:pt x="18" y="140"/>
                  <a:pt x="20" y="139"/>
                </a:cubicBezTo>
                <a:cubicBezTo>
                  <a:pt x="25" y="138"/>
                  <a:pt x="32" y="137"/>
                  <a:pt x="38" y="135"/>
                </a:cubicBezTo>
                <a:cubicBezTo>
                  <a:pt x="43" y="133"/>
                  <a:pt x="47" y="132"/>
                  <a:pt x="50" y="129"/>
                </a:cubicBezTo>
                <a:cubicBezTo>
                  <a:pt x="50" y="131"/>
                  <a:pt x="51" y="133"/>
                  <a:pt x="51" y="135"/>
                </a:cubicBezTo>
                <a:cubicBezTo>
                  <a:pt x="37" y="148"/>
                  <a:pt x="19" y="146"/>
                  <a:pt x="17" y="146"/>
                </a:cubicBezTo>
                <a:close/>
                <a:moveTo>
                  <a:pt x="96" y="159"/>
                </a:moveTo>
                <a:cubicBezTo>
                  <a:pt x="96" y="160"/>
                  <a:pt x="94" y="161"/>
                  <a:pt x="90" y="160"/>
                </a:cubicBezTo>
                <a:cubicBezTo>
                  <a:pt x="90" y="160"/>
                  <a:pt x="73" y="158"/>
                  <a:pt x="65" y="138"/>
                </a:cubicBezTo>
                <a:cubicBezTo>
                  <a:pt x="62" y="131"/>
                  <a:pt x="61" y="125"/>
                  <a:pt x="62" y="120"/>
                </a:cubicBezTo>
                <a:cubicBezTo>
                  <a:pt x="64" y="126"/>
                  <a:pt x="68" y="132"/>
                  <a:pt x="74" y="139"/>
                </a:cubicBezTo>
                <a:cubicBezTo>
                  <a:pt x="79" y="144"/>
                  <a:pt x="86" y="149"/>
                  <a:pt x="91" y="154"/>
                </a:cubicBezTo>
                <a:cubicBezTo>
                  <a:pt x="92" y="155"/>
                  <a:pt x="94" y="156"/>
                  <a:pt x="95" y="157"/>
                </a:cubicBezTo>
                <a:cubicBezTo>
                  <a:pt x="96" y="158"/>
                  <a:pt x="96" y="159"/>
                  <a:pt x="96" y="159"/>
                </a:cubicBezTo>
                <a:close/>
                <a:moveTo>
                  <a:pt x="112" y="141"/>
                </a:moveTo>
                <a:cubicBezTo>
                  <a:pt x="113" y="141"/>
                  <a:pt x="114" y="142"/>
                  <a:pt x="114" y="143"/>
                </a:cubicBezTo>
                <a:cubicBezTo>
                  <a:pt x="114" y="143"/>
                  <a:pt x="113" y="145"/>
                  <a:pt x="109" y="146"/>
                </a:cubicBezTo>
                <a:cubicBezTo>
                  <a:pt x="109" y="146"/>
                  <a:pt x="106" y="146"/>
                  <a:pt x="102" y="146"/>
                </a:cubicBezTo>
                <a:cubicBezTo>
                  <a:pt x="102" y="146"/>
                  <a:pt x="101" y="146"/>
                  <a:pt x="101" y="146"/>
                </a:cubicBezTo>
                <a:cubicBezTo>
                  <a:pt x="100" y="146"/>
                  <a:pt x="99" y="145"/>
                  <a:pt x="98" y="144"/>
                </a:cubicBezTo>
                <a:cubicBezTo>
                  <a:pt x="94" y="141"/>
                  <a:pt x="90" y="138"/>
                  <a:pt x="86" y="134"/>
                </a:cubicBezTo>
                <a:cubicBezTo>
                  <a:pt x="94" y="137"/>
                  <a:pt x="101" y="138"/>
                  <a:pt x="107" y="140"/>
                </a:cubicBezTo>
                <a:cubicBezTo>
                  <a:pt x="109" y="140"/>
                  <a:pt x="111" y="141"/>
                  <a:pt x="112" y="141"/>
                </a:cubicBezTo>
                <a:close/>
                <a:moveTo>
                  <a:pt x="98" y="99"/>
                </a:moveTo>
                <a:cubicBezTo>
                  <a:pt x="90" y="104"/>
                  <a:pt x="79" y="103"/>
                  <a:pt x="73" y="102"/>
                </a:cubicBezTo>
                <a:cubicBezTo>
                  <a:pt x="76" y="98"/>
                  <a:pt x="78" y="95"/>
                  <a:pt x="80" y="91"/>
                </a:cubicBezTo>
                <a:cubicBezTo>
                  <a:pt x="91" y="84"/>
                  <a:pt x="102" y="87"/>
                  <a:pt x="107" y="89"/>
                </a:cubicBezTo>
                <a:cubicBezTo>
                  <a:pt x="105" y="94"/>
                  <a:pt x="102" y="97"/>
                  <a:pt x="98" y="99"/>
                </a:cubicBezTo>
                <a:close/>
                <a:moveTo>
                  <a:pt x="220" y="52"/>
                </a:moveTo>
                <a:cubicBezTo>
                  <a:pt x="218" y="56"/>
                  <a:pt x="215" y="59"/>
                  <a:pt x="211" y="61"/>
                </a:cubicBezTo>
                <a:cubicBezTo>
                  <a:pt x="203" y="66"/>
                  <a:pt x="192" y="65"/>
                  <a:pt x="186" y="64"/>
                </a:cubicBezTo>
                <a:cubicBezTo>
                  <a:pt x="189" y="60"/>
                  <a:pt x="192" y="57"/>
                  <a:pt x="194" y="54"/>
                </a:cubicBezTo>
                <a:cubicBezTo>
                  <a:pt x="204" y="46"/>
                  <a:pt x="215" y="49"/>
                  <a:pt x="220" y="52"/>
                </a:cubicBezTo>
                <a:close/>
                <a:moveTo>
                  <a:pt x="130" y="108"/>
                </a:moveTo>
                <a:cubicBezTo>
                  <a:pt x="127" y="107"/>
                  <a:pt x="126" y="106"/>
                  <a:pt x="126" y="105"/>
                </a:cubicBezTo>
                <a:cubicBezTo>
                  <a:pt x="126" y="104"/>
                  <a:pt x="126" y="103"/>
                  <a:pt x="127" y="103"/>
                </a:cubicBezTo>
                <a:cubicBezTo>
                  <a:pt x="129" y="103"/>
                  <a:pt x="131" y="102"/>
                  <a:pt x="133" y="102"/>
                </a:cubicBezTo>
                <a:cubicBezTo>
                  <a:pt x="138" y="101"/>
                  <a:pt x="145" y="99"/>
                  <a:pt x="152" y="97"/>
                </a:cubicBezTo>
                <a:cubicBezTo>
                  <a:pt x="156" y="96"/>
                  <a:pt x="160" y="94"/>
                  <a:pt x="163" y="92"/>
                </a:cubicBezTo>
                <a:cubicBezTo>
                  <a:pt x="163" y="94"/>
                  <a:pt x="164" y="95"/>
                  <a:pt x="164" y="97"/>
                </a:cubicBezTo>
                <a:cubicBezTo>
                  <a:pt x="150" y="110"/>
                  <a:pt x="132" y="108"/>
                  <a:pt x="130" y="108"/>
                </a:cubicBezTo>
                <a:close/>
                <a:moveTo>
                  <a:pt x="209" y="121"/>
                </a:moveTo>
                <a:cubicBezTo>
                  <a:pt x="209" y="122"/>
                  <a:pt x="207" y="123"/>
                  <a:pt x="204" y="123"/>
                </a:cubicBezTo>
                <a:cubicBezTo>
                  <a:pt x="203" y="123"/>
                  <a:pt x="186" y="120"/>
                  <a:pt x="178" y="100"/>
                </a:cubicBezTo>
                <a:cubicBezTo>
                  <a:pt x="175" y="93"/>
                  <a:pt x="174" y="87"/>
                  <a:pt x="175" y="82"/>
                </a:cubicBezTo>
                <a:cubicBezTo>
                  <a:pt x="178" y="88"/>
                  <a:pt x="181" y="94"/>
                  <a:pt x="187" y="101"/>
                </a:cubicBezTo>
                <a:cubicBezTo>
                  <a:pt x="192" y="106"/>
                  <a:pt x="199" y="112"/>
                  <a:pt x="204" y="116"/>
                </a:cubicBezTo>
                <a:cubicBezTo>
                  <a:pt x="205" y="117"/>
                  <a:pt x="207" y="118"/>
                  <a:pt x="208" y="119"/>
                </a:cubicBezTo>
                <a:cubicBezTo>
                  <a:pt x="209" y="120"/>
                  <a:pt x="209" y="121"/>
                  <a:pt x="209" y="121"/>
                </a:cubicBezTo>
                <a:close/>
                <a:moveTo>
                  <a:pt x="216" y="108"/>
                </a:moveTo>
                <a:cubicBezTo>
                  <a:pt x="215" y="108"/>
                  <a:pt x="215" y="108"/>
                  <a:pt x="214" y="109"/>
                </a:cubicBezTo>
                <a:cubicBezTo>
                  <a:pt x="213" y="108"/>
                  <a:pt x="212" y="107"/>
                  <a:pt x="211" y="106"/>
                </a:cubicBezTo>
                <a:cubicBezTo>
                  <a:pt x="208" y="103"/>
                  <a:pt x="203" y="100"/>
                  <a:pt x="199" y="96"/>
                </a:cubicBezTo>
                <a:cubicBezTo>
                  <a:pt x="207" y="99"/>
                  <a:pt x="215" y="101"/>
                  <a:pt x="220" y="102"/>
                </a:cubicBezTo>
                <a:cubicBezTo>
                  <a:pt x="222" y="102"/>
                  <a:pt x="224" y="103"/>
                  <a:pt x="225" y="103"/>
                </a:cubicBezTo>
                <a:cubicBezTo>
                  <a:pt x="226" y="103"/>
                  <a:pt x="227" y="104"/>
                  <a:pt x="227" y="105"/>
                </a:cubicBezTo>
                <a:cubicBezTo>
                  <a:pt x="227" y="106"/>
                  <a:pt x="226" y="107"/>
                  <a:pt x="222" y="108"/>
                </a:cubicBezTo>
                <a:cubicBezTo>
                  <a:pt x="222" y="108"/>
                  <a:pt x="219" y="108"/>
                  <a:pt x="216"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29">
            <a:extLst>
              <a:ext uri="{FF2B5EF4-FFF2-40B4-BE49-F238E27FC236}">
                <a16:creationId xmlns:a16="http://schemas.microsoft.com/office/drawing/2014/main" id="{F42C4D0D-9213-407B-8E2F-7C01478AEBEF}"/>
              </a:ext>
            </a:extLst>
          </p:cNvPr>
          <p:cNvSpPr>
            <a:spLocks noEditPoints="1"/>
          </p:cNvSpPr>
          <p:nvPr/>
        </p:nvSpPr>
        <p:spPr bwMode="auto">
          <a:xfrm>
            <a:off x="7630506" y="3376657"/>
            <a:ext cx="752212" cy="547063"/>
          </a:xfrm>
          <a:custGeom>
            <a:avLst/>
            <a:gdLst>
              <a:gd name="T0" fmla="*/ 223 w 239"/>
              <a:gd name="T1" fmla="*/ 90 h 173"/>
              <a:gd name="T2" fmla="*/ 217 w 239"/>
              <a:gd name="T3" fmla="*/ 72 h 173"/>
              <a:gd name="T4" fmla="*/ 200 w 239"/>
              <a:gd name="T5" fmla="*/ 38 h 173"/>
              <a:gd name="T6" fmla="*/ 169 w 239"/>
              <a:gd name="T7" fmla="*/ 15 h 173"/>
              <a:gd name="T8" fmla="*/ 188 w 239"/>
              <a:gd name="T9" fmla="*/ 14 h 173"/>
              <a:gd name="T10" fmla="*/ 139 w 239"/>
              <a:gd name="T11" fmla="*/ 17 h 173"/>
              <a:gd name="T12" fmla="*/ 156 w 239"/>
              <a:gd name="T13" fmla="*/ 58 h 173"/>
              <a:gd name="T14" fmla="*/ 166 w 239"/>
              <a:gd name="T15" fmla="*/ 71 h 173"/>
              <a:gd name="T16" fmla="*/ 124 w 239"/>
              <a:gd name="T17" fmla="*/ 92 h 173"/>
              <a:gd name="T18" fmla="*/ 118 w 239"/>
              <a:gd name="T19" fmla="*/ 82 h 173"/>
              <a:gd name="T20" fmla="*/ 77 w 239"/>
              <a:gd name="T21" fmla="*/ 38 h 173"/>
              <a:gd name="T22" fmla="*/ 65 w 239"/>
              <a:gd name="T23" fmla="*/ 60 h 173"/>
              <a:gd name="T24" fmla="*/ 34 w 239"/>
              <a:gd name="T25" fmla="*/ 52 h 173"/>
              <a:gd name="T26" fmla="*/ 45 w 239"/>
              <a:gd name="T27" fmla="*/ 104 h 173"/>
              <a:gd name="T28" fmla="*/ 53 w 239"/>
              <a:gd name="T29" fmla="*/ 108 h 173"/>
              <a:gd name="T30" fmla="*/ 18 w 239"/>
              <a:gd name="T31" fmla="*/ 128 h 173"/>
              <a:gd name="T32" fmla="*/ 14 w 239"/>
              <a:gd name="T33" fmla="*/ 157 h 173"/>
              <a:gd name="T34" fmla="*/ 49 w 239"/>
              <a:gd name="T35" fmla="*/ 151 h 173"/>
              <a:gd name="T36" fmla="*/ 52 w 239"/>
              <a:gd name="T37" fmla="*/ 170 h 173"/>
              <a:gd name="T38" fmla="*/ 61 w 239"/>
              <a:gd name="T39" fmla="*/ 155 h 173"/>
              <a:gd name="T40" fmla="*/ 107 w 239"/>
              <a:gd name="T41" fmla="*/ 164 h 173"/>
              <a:gd name="T42" fmla="*/ 112 w 239"/>
              <a:gd name="T43" fmla="*/ 157 h 173"/>
              <a:gd name="T44" fmla="*/ 109 w 239"/>
              <a:gd name="T45" fmla="*/ 128 h 173"/>
              <a:gd name="T46" fmla="*/ 104 w 239"/>
              <a:gd name="T47" fmla="*/ 110 h 173"/>
              <a:gd name="T48" fmla="*/ 127 w 239"/>
              <a:gd name="T49" fmla="*/ 120 h 173"/>
              <a:gd name="T50" fmla="*/ 162 w 239"/>
              <a:gd name="T51" fmla="*/ 113 h 173"/>
              <a:gd name="T52" fmla="*/ 165 w 239"/>
              <a:gd name="T53" fmla="*/ 132 h 173"/>
              <a:gd name="T54" fmla="*/ 174 w 239"/>
              <a:gd name="T55" fmla="*/ 118 h 173"/>
              <a:gd name="T56" fmla="*/ 220 w 239"/>
              <a:gd name="T57" fmla="*/ 126 h 173"/>
              <a:gd name="T58" fmla="*/ 225 w 239"/>
              <a:gd name="T59" fmla="*/ 120 h 173"/>
              <a:gd name="T60" fmla="*/ 13 w 239"/>
              <a:gd name="T61" fmla="*/ 143 h 173"/>
              <a:gd name="T62" fmla="*/ 38 w 239"/>
              <a:gd name="T63" fmla="*/ 135 h 173"/>
              <a:gd name="T64" fmla="*/ 17 w 239"/>
              <a:gd name="T65" fmla="*/ 146 h 173"/>
              <a:gd name="T66" fmla="*/ 65 w 239"/>
              <a:gd name="T67" fmla="*/ 138 h 173"/>
              <a:gd name="T68" fmla="*/ 91 w 239"/>
              <a:gd name="T69" fmla="*/ 154 h 173"/>
              <a:gd name="T70" fmla="*/ 112 w 239"/>
              <a:gd name="T71" fmla="*/ 141 h 173"/>
              <a:gd name="T72" fmla="*/ 102 w 239"/>
              <a:gd name="T73" fmla="*/ 146 h 173"/>
              <a:gd name="T74" fmla="*/ 86 w 239"/>
              <a:gd name="T75" fmla="*/ 134 h 173"/>
              <a:gd name="T76" fmla="*/ 98 w 239"/>
              <a:gd name="T77" fmla="*/ 99 h 173"/>
              <a:gd name="T78" fmla="*/ 107 w 239"/>
              <a:gd name="T79" fmla="*/ 89 h 173"/>
              <a:gd name="T80" fmla="*/ 211 w 239"/>
              <a:gd name="T81" fmla="*/ 62 h 173"/>
              <a:gd name="T82" fmla="*/ 220 w 239"/>
              <a:gd name="T83" fmla="*/ 52 h 173"/>
              <a:gd name="T84" fmla="*/ 127 w 239"/>
              <a:gd name="T85" fmla="*/ 103 h 173"/>
              <a:gd name="T86" fmla="*/ 163 w 239"/>
              <a:gd name="T87" fmla="*/ 92 h 173"/>
              <a:gd name="T88" fmla="*/ 209 w 239"/>
              <a:gd name="T89" fmla="*/ 122 h 173"/>
              <a:gd name="T90" fmla="*/ 175 w 239"/>
              <a:gd name="T91" fmla="*/ 82 h 173"/>
              <a:gd name="T92" fmla="*/ 208 w 239"/>
              <a:gd name="T93" fmla="*/ 119 h 173"/>
              <a:gd name="T94" fmla="*/ 216 w 239"/>
              <a:gd name="T95" fmla="*/ 108 h 173"/>
              <a:gd name="T96" fmla="*/ 199 w 239"/>
              <a:gd name="T97" fmla="*/ 96 h 173"/>
              <a:gd name="T98" fmla="*/ 227 w 239"/>
              <a:gd name="T99"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9" h="173">
                <a:moveTo>
                  <a:pt x="239" y="105"/>
                </a:moveTo>
                <a:cubicBezTo>
                  <a:pt x="239" y="99"/>
                  <a:pt x="235" y="94"/>
                  <a:pt x="229" y="92"/>
                </a:cubicBezTo>
                <a:cubicBezTo>
                  <a:pt x="227" y="91"/>
                  <a:pt x="225" y="91"/>
                  <a:pt x="223" y="90"/>
                </a:cubicBezTo>
                <a:cubicBezTo>
                  <a:pt x="213" y="88"/>
                  <a:pt x="197" y="85"/>
                  <a:pt x="189" y="76"/>
                </a:cubicBezTo>
                <a:cubicBezTo>
                  <a:pt x="191" y="77"/>
                  <a:pt x="194" y="77"/>
                  <a:pt x="196" y="77"/>
                </a:cubicBezTo>
                <a:cubicBezTo>
                  <a:pt x="203" y="77"/>
                  <a:pt x="210" y="76"/>
                  <a:pt x="217" y="72"/>
                </a:cubicBezTo>
                <a:cubicBezTo>
                  <a:pt x="225" y="68"/>
                  <a:pt x="231" y="60"/>
                  <a:pt x="233" y="51"/>
                </a:cubicBezTo>
                <a:cubicBezTo>
                  <a:pt x="234" y="48"/>
                  <a:pt x="233" y="46"/>
                  <a:pt x="231" y="44"/>
                </a:cubicBezTo>
                <a:cubicBezTo>
                  <a:pt x="230" y="44"/>
                  <a:pt x="217" y="34"/>
                  <a:pt x="200" y="38"/>
                </a:cubicBezTo>
                <a:cubicBezTo>
                  <a:pt x="204" y="19"/>
                  <a:pt x="197" y="4"/>
                  <a:pt x="197" y="4"/>
                </a:cubicBezTo>
                <a:cubicBezTo>
                  <a:pt x="196" y="1"/>
                  <a:pt x="193" y="0"/>
                  <a:pt x="190" y="1"/>
                </a:cubicBezTo>
                <a:cubicBezTo>
                  <a:pt x="178" y="3"/>
                  <a:pt x="169" y="15"/>
                  <a:pt x="169" y="15"/>
                </a:cubicBezTo>
                <a:cubicBezTo>
                  <a:pt x="167" y="18"/>
                  <a:pt x="167" y="22"/>
                  <a:pt x="170" y="24"/>
                </a:cubicBezTo>
                <a:cubicBezTo>
                  <a:pt x="172" y="26"/>
                  <a:pt x="176" y="25"/>
                  <a:pt x="178" y="23"/>
                </a:cubicBezTo>
                <a:cubicBezTo>
                  <a:pt x="178" y="23"/>
                  <a:pt x="182" y="17"/>
                  <a:pt x="188" y="14"/>
                </a:cubicBezTo>
                <a:cubicBezTo>
                  <a:pt x="190" y="22"/>
                  <a:pt x="192" y="39"/>
                  <a:pt x="177" y="56"/>
                </a:cubicBezTo>
                <a:cubicBezTo>
                  <a:pt x="172" y="29"/>
                  <a:pt x="159" y="18"/>
                  <a:pt x="147" y="14"/>
                </a:cubicBezTo>
                <a:cubicBezTo>
                  <a:pt x="144" y="13"/>
                  <a:pt x="141" y="14"/>
                  <a:pt x="139" y="17"/>
                </a:cubicBezTo>
                <a:cubicBezTo>
                  <a:pt x="134" y="28"/>
                  <a:pt x="130" y="54"/>
                  <a:pt x="150" y="67"/>
                </a:cubicBezTo>
                <a:cubicBezTo>
                  <a:pt x="152" y="69"/>
                  <a:pt x="156" y="69"/>
                  <a:pt x="158" y="66"/>
                </a:cubicBezTo>
                <a:cubicBezTo>
                  <a:pt x="160" y="63"/>
                  <a:pt x="159" y="59"/>
                  <a:pt x="156" y="58"/>
                </a:cubicBezTo>
                <a:cubicBezTo>
                  <a:pt x="145" y="49"/>
                  <a:pt x="146" y="35"/>
                  <a:pt x="148" y="28"/>
                </a:cubicBezTo>
                <a:cubicBezTo>
                  <a:pt x="159" y="34"/>
                  <a:pt x="165" y="49"/>
                  <a:pt x="166" y="71"/>
                </a:cubicBezTo>
                <a:cubicBezTo>
                  <a:pt x="166" y="71"/>
                  <a:pt x="166" y="71"/>
                  <a:pt x="166" y="71"/>
                </a:cubicBezTo>
                <a:cubicBezTo>
                  <a:pt x="162" y="77"/>
                  <a:pt x="159" y="82"/>
                  <a:pt x="148" y="86"/>
                </a:cubicBezTo>
                <a:cubicBezTo>
                  <a:pt x="142" y="88"/>
                  <a:pt x="136" y="89"/>
                  <a:pt x="131" y="90"/>
                </a:cubicBezTo>
                <a:cubicBezTo>
                  <a:pt x="128" y="91"/>
                  <a:pt x="125" y="91"/>
                  <a:pt x="124" y="92"/>
                </a:cubicBezTo>
                <a:cubicBezTo>
                  <a:pt x="121" y="93"/>
                  <a:pt x="119" y="94"/>
                  <a:pt x="117" y="96"/>
                </a:cubicBezTo>
                <a:cubicBezTo>
                  <a:pt x="119" y="93"/>
                  <a:pt x="120" y="91"/>
                  <a:pt x="120" y="88"/>
                </a:cubicBezTo>
                <a:cubicBezTo>
                  <a:pt x="121" y="86"/>
                  <a:pt x="120" y="83"/>
                  <a:pt x="118" y="82"/>
                </a:cubicBezTo>
                <a:cubicBezTo>
                  <a:pt x="117" y="81"/>
                  <a:pt x="104" y="72"/>
                  <a:pt x="87" y="76"/>
                </a:cubicBezTo>
                <a:cubicBezTo>
                  <a:pt x="91" y="57"/>
                  <a:pt x="84" y="42"/>
                  <a:pt x="84" y="42"/>
                </a:cubicBezTo>
                <a:cubicBezTo>
                  <a:pt x="83" y="39"/>
                  <a:pt x="80" y="38"/>
                  <a:pt x="77" y="38"/>
                </a:cubicBezTo>
                <a:cubicBezTo>
                  <a:pt x="65" y="41"/>
                  <a:pt x="56" y="53"/>
                  <a:pt x="56" y="53"/>
                </a:cubicBezTo>
                <a:cubicBezTo>
                  <a:pt x="54" y="56"/>
                  <a:pt x="54" y="60"/>
                  <a:pt x="57" y="62"/>
                </a:cubicBezTo>
                <a:cubicBezTo>
                  <a:pt x="59" y="64"/>
                  <a:pt x="63" y="63"/>
                  <a:pt x="65" y="60"/>
                </a:cubicBezTo>
                <a:cubicBezTo>
                  <a:pt x="65" y="60"/>
                  <a:pt x="69" y="55"/>
                  <a:pt x="75" y="52"/>
                </a:cubicBezTo>
                <a:cubicBezTo>
                  <a:pt x="77" y="60"/>
                  <a:pt x="79" y="77"/>
                  <a:pt x="64" y="94"/>
                </a:cubicBezTo>
                <a:cubicBezTo>
                  <a:pt x="59" y="66"/>
                  <a:pt x="45" y="55"/>
                  <a:pt x="34" y="52"/>
                </a:cubicBezTo>
                <a:cubicBezTo>
                  <a:pt x="31" y="51"/>
                  <a:pt x="28" y="52"/>
                  <a:pt x="26" y="55"/>
                </a:cubicBezTo>
                <a:cubicBezTo>
                  <a:pt x="21" y="66"/>
                  <a:pt x="16" y="91"/>
                  <a:pt x="37" y="105"/>
                </a:cubicBezTo>
                <a:cubicBezTo>
                  <a:pt x="39" y="107"/>
                  <a:pt x="43" y="106"/>
                  <a:pt x="45" y="104"/>
                </a:cubicBezTo>
                <a:cubicBezTo>
                  <a:pt x="47" y="101"/>
                  <a:pt x="46" y="97"/>
                  <a:pt x="43" y="95"/>
                </a:cubicBezTo>
                <a:cubicBezTo>
                  <a:pt x="31" y="87"/>
                  <a:pt x="33" y="73"/>
                  <a:pt x="35" y="65"/>
                </a:cubicBezTo>
                <a:cubicBezTo>
                  <a:pt x="46" y="72"/>
                  <a:pt x="52" y="86"/>
                  <a:pt x="53" y="108"/>
                </a:cubicBezTo>
                <a:cubicBezTo>
                  <a:pt x="53" y="108"/>
                  <a:pt x="53" y="108"/>
                  <a:pt x="53" y="109"/>
                </a:cubicBezTo>
                <a:cubicBezTo>
                  <a:pt x="49" y="114"/>
                  <a:pt x="46" y="120"/>
                  <a:pt x="35" y="124"/>
                </a:cubicBezTo>
                <a:cubicBezTo>
                  <a:pt x="29" y="126"/>
                  <a:pt x="22" y="127"/>
                  <a:pt x="18" y="128"/>
                </a:cubicBezTo>
                <a:cubicBezTo>
                  <a:pt x="15" y="128"/>
                  <a:pt x="12" y="129"/>
                  <a:pt x="11" y="130"/>
                </a:cubicBezTo>
                <a:cubicBezTo>
                  <a:pt x="4" y="132"/>
                  <a:pt x="0" y="137"/>
                  <a:pt x="1" y="143"/>
                </a:cubicBezTo>
                <a:cubicBezTo>
                  <a:pt x="1" y="150"/>
                  <a:pt x="6" y="155"/>
                  <a:pt x="14" y="157"/>
                </a:cubicBezTo>
                <a:cubicBezTo>
                  <a:pt x="14" y="157"/>
                  <a:pt x="15" y="157"/>
                  <a:pt x="15" y="157"/>
                </a:cubicBezTo>
                <a:cubicBezTo>
                  <a:pt x="15" y="157"/>
                  <a:pt x="18" y="158"/>
                  <a:pt x="22" y="158"/>
                </a:cubicBezTo>
                <a:cubicBezTo>
                  <a:pt x="29" y="158"/>
                  <a:pt x="39" y="157"/>
                  <a:pt x="49" y="151"/>
                </a:cubicBezTo>
                <a:cubicBezTo>
                  <a:pt x="48" y="157"/>
                  <a:pt x="47" y="161"/>
                  <a:pt x="47" y="162"/>
                </a:cubicBezTo>
                <a:cubicBezTo>
                  <a:pt x="47" y="163"/>
                  <a:pt x="47" y="163"/>
                  <a:pt x="47" y="164"/>
                </a:cubicBezTo>
                <a:cubicBezTo>
                  <a:pt x="47" y="167"/>
                  <a:pt x="49" y="169"/>
                  <a:pt x="52" y="170"/>
                </a:cubicBezTo>
                <a:cubicBezTo>
                  <a:pt x="52" y="170"/>
                  <a:pt x="52" y="170"/>
                  <a:pt x="53" y="170"/>
                </a:cubicBezTo>
                <a:cubicBezTo>
                  <a:pt x="55" y="170"/>
                  <a:pt x="58" y="168"/>
                  <a:pt x="58" y="165"/>
                </a:cubicBezTo>
                <a:cubicBezTo>
                  <a:pt x="59" y="165"/>
                  <a:pt x="60" y="161"/>
                  <a:pt x="61" y="155"/>
                </a:cubicBezTo>
                <a:cubicBezTo>
                  <a:pt x="72" y="170"/>
                  <a:pt x="88" y="172"/>
                  <a:pt x="89" y="172"/>
                </a:cubicBezTo>
                <a:cubicBezTo>
                  <a:pt x="90" y="172"/>
                  <a:pt x="91" y="173"/>
                  <a:pt x="92" y="173"/>
                </a:cubicBezTo>
                <a:cubicBezTo>
                  <a:pt x="99" y="173"/>
                  <a:pt x="105" y="169"/>
                  <a:pt x="107" y="164"/>
                </a:cubicBezTo>
                <a:cubicBezTo>
                  <a:pt x="108" y="162"/>
                  <a:pt x="108" y="160"/>
                  <a:pt x="108" y="158"/>
                </a:cubicBezTo>
                <a:cubicBezTo>
                  <a:pt x="110" y="158"/>
                  <a:pt x="111" y="158"/>
                  <a:pt x="112" y="157"/>
                </a:cubicBezTo>
                <a:cubicBezTo>
                  <a:pt x="112" y="157"/>
                  <a:pt x="112" y="157"/>
                  <a:pt x="112" y="157"/>
                </a:cubicBezTo>
                <a:cubicBezTo>
                  <a:pt x="121" y="155"/>
                  <a:pt x="126" y="150"/>
                  <a:pt x="126" y="143"/>
                </a:cubicBezTo>
                <a:cubicBezTo>
                  <a:pt x="126" y="137"/>
                  <a:pt x="122" y="132"/>
                  <a:pt x="116" y="130"/>
                </a:cubicBezTo>
                <a:cubicBezTo>
                  <a:pt x="114" y="129"/>
                  <a:pt x="112" y="129"/>
                  <a:pt x="109" y="128"/>
                </a:cubicBezTo>
                <a:cubicBezTo>
                  <a:pt x="100" y="126"/>
                  <a:pt x="84" y="123"/>
                  <a:pt x="75" y="114"/>
                </a:cubicBezTo>
                <a:cubicBezTo>
                  <a:pt x="78" y="114"/>
                  <a:pt x="80" y="115"/>
                  <a:pt x="83" y="115"/>
                </a:cubicBezTo>
                <a:cubicBezTo>
                  <a:pt x="90" y="115"/>
                  <a:pt x="97" y="114"/>
                  <a:pt x="104" y="110"/>
                </a:cubicBezTo>
                <a:cubicBezTo>
                  <a:pt x="108" y="108"/>
                  <a:pt x="112" y="105"/>
                  <a:pt x="114" y="101"/>
                </a:cubicBezTo>
                <a:cubicBezTo>
                  <a:pt x="114" y="102"/>
                  <a:pt x="114" y="104"/>
                  <a:pt x="114" y="105"/>
                </a:cubicBezTo>
                <a:cubicBezTo>
                  <a:pt x="114" y="112"/>
                  <a:pt x="119" y="117"/>
                  <a:pt x="127" y="120"/>
                </a:cubicBezTo>
                <a:cubicBezTo>
                  <a:pt x="127" y="120"/>
                  <a:pt x="128" y="120"/>
                  <a:pt x="128" y="120"/>
                </a:cubicBezTo>
                <a:cubicBezTo>
                  <a:pt x="128" y="120"/>
                  <a:pt x="131" y="120"/>
                  <a:pt x="135" y="120"/>
                </a:cubicBezTo>
                <a:cubicBezTo>
                  <a:pt x="142" y="120"/>
                  <a:pt x="152" y="119"/>
                  <a:pt x="162" y="113"/>
                </a:cubicBezTo>
                <a:cubicBezTo>
                  <a:pt x="161" y="120"/>
                  <a:pt x="160" y="124"/>
                  <a:pt x="160" y="124"/>
                </a:cubicBezTo>
                <a:cubicBezTo>
                  <a:pt x="160" y="125"/>
                  <a:pt x="160" y="125"/>
                  <a:pt x="160" y="126"/>
                </a:cubicBezTo>
                <a:cubicBezTo>
                  <a:pt x="160" y="129"/>
                  <a:pt x="162" y="131"/>
                  <a:pt x="165" y="132"/>
                </a:cubicBezTo>
                <a:cubicBezTo>
                  <a:pt x="165" y="132"/>
                  <a:pt x="166" y="132"/>
                  <a:pt x="166" y="132"/>
                </a:cubicBezTo>
                <a:cubicBezTo>
                  <a:pt x="168" y="132"/>
                  <a:pt x="171" y="130"/>
                  <a:pt x="172" y="127"/>
                </a:cubicBezTo>
                <a:cubicBezTo>
                  <a:pt x="172" y="127"/>
                  <a:pt x="173" y="123"/>
                  <a:pt x="174" y="118"/>
                </a:cubicBezTo>
                <a:cubicBezTo>
                  <a:pt x="185" y="132"/>
                  <a:pt x="201" y="134"/>
                  <a:pt x="202" y="135"/>
                </a:cubicBezTo>
                <a:cubicBezTo>
                  <a:pt x="203" y="135"/>
                  <a:pt x="204" y="135"/>
                  <a:pt x="205" y="135"/>
                </a:cubicBezTo>
                <a:cubicBezTo>
                  <a:pt x="212" y="135"/>
                  <a:pt x="218" y="132"/>
                  <a:pt x="220" y="126"/>
                </a:cubicBezTo>
                <a:cubicBezTo>
                  <a:pt x="221" y="124"/>
                  <a:pt x="221" y="122"/>
                  <a:pt x="221" y="120"/>
                </a:cubicBezTo>
                <a:cubicBezTo>
                  <a:pt x="223" y="120"/>
                  <a:pt x="224" y="120"/>
                  <a:pt x="225" y="120"/>
                </a:cubicBezTo>
                <a:cubicBezTo>
                  <a:pt x="225" y="120"/>
                  <a:pt x="225" y="120"/>
                  <a:pt x="225" y="120"/>
                </a:cubicBezTo>
                <a:cubicBezTo>
                  <a:pt x="234" y="117"/>
                  <a:pt x="239" y="112"/>
                  <a:pt x="239" y="105"/>
                </a:cubicBezTo>
                <a:close/>
                <a:moveTo>
                  <a:pt x="17" y="146"/>
                </a:moveTo>
                <a:cubicBezTo>
                  <a:pt x="14" y="145"/>
                  <a:pt x="13" y="143"/>
                  <a:pt x="13" y="143"/>
                </a:cubicBezTo>
                <a:cubicBezTo>
                  <a:pt x="13" y="142"/>
                  <a:pt x="13" y="141"/>
                  <a:pt x="14" y="141"/>
                </a:cubicBezTo>
                <a:cubicBezTo>
                  <a:pt x="15" y="141"/>
                  <a:pt x="18" y="140"/>
                  <a:pt x="20" y="140"/>
                </a:cubicBezTo>
                <a:cubicBezTo>
                  <a:pt x="25" y="139"/>
                  <a:pt x="32" y="137"/>
                  <a:pt x="38" y="135"/>
                </a:cubicBezTo>
                <a:cubicBezTo>
                  <a:pt x="43" y="133"/>
                  <a:pt x="47" y="132"/>
                  <a:pt x="50" y="130"/>
                </a:cubicBezTo>
                <a:cubicBezTo>
                  <a:pt x="50" y="131"/>
                  <a:pt x="51" y="133"/>
                  <a:pt x="51" y="135"/>
                </a:cubicBezTo>
                <a:cubicBezTo>
                  <a:pt x="37" y="148"/>
                  <a:pt x="19" y="146"/>
                  <a:pt x="17" y="146"/>
                </a:cubicBezTo>
                <a:close/>
                <a:moveTo>
                  <a:pt x="96" y="159"/>
                </a:moveTo>
                <a:cubicBezTo>
                  <a:pt x="96" y="160"/>
                  <a:pt x="94" y="161"/>
                  <a:pt x="90" y="160"/>
                </a:cubicBezTo>
                <a:cubicBezTo>
                  <a:pt x="90" y="160"/>
                  <a:pt x="73" y="158"/>
                  <a:pt x="65" y="138"/>
                </a:cubicBezTo>
                <a:cubicBezTo>
                  <a:pt x="62" y="131"/>
                  <a:pt x="61" y="125"/>
                  <a:pt x="62" y="120"/>
                </a:cubicBezTo>
                <a:cubicBezTo>
                  <a:pt x="64" y="126"/>
                  <a:pt x="68" y="132"/>
                  <a:pt x="74" y="139"/>
                </a:cubicBezTo>
                <a:cubicBezTo>
                  <a:pt x="79" y="144"/>
                  <a:pt x="86" y="149"/>
                  <a:pt x="91" y="154"/>
                </a:cubicBezTo>
                <a:cubicBezTo>
                  <a:pt x="92" y="155"/>
                  <a:pt x="94" y="156"/>
                  <a:pt x="95" y="157"/>
                </a:cubicBezTo>
                <a:cubicBezTo>
                  <a:pt x="96" y="158"/>
                  <a:pt x="96" y="159"/>
                  <a:pt x="96" y="159"/>
                </a:cubicBezTo>
                <a:close/>
                <a:moveTo>
                  <a:pt x="112" y="141"/>
                </a:moveTo>
                <a:cubicBezTo>
                  <a:pt x="113" y="141"/>
                  <a:pt x="114" y="142"/>
                  <a:pt x="114" y="143"/>
                </a:cubicBezTo>
                <a:cubicBezTo>
                  <a:pt x="114" y="143"/>
                  <a:pt x="113" y="145"/>
                  <a:pt x="109" y="146"/>
                </a:cubicBezTo>
                <a:cubicBezTo>
                  <a:pt x="109" y="146"/>
                  <a:pt x="106" y="146"/>
                  <a:pt x="102" y="146"/>
                </a:cubicBezTo>
                <a:cubicBezTo>
                  <a:pt x="102" y="146"/>
                  <a:pt x="101" y="146"/>
                  <a:pt x="101" y="146"/>
                </a:cubicBezTo>
                <a:cubicBezTo>
                  <a:pt x="100" y="146"/>
                  <a:pt x="99" y="145"/>
                  <a:pt x="98" y="144"/>
                </a:cubicBezTo>
                <a:cubicBezTo>
                  <a:pt x="94" y="141"/>
                  <a:pt x="90" y="138"/>
                  <a:pt x="86" y="134"/>
                </a:cubicBezTo>
                <a:cubicBezTo>
                  <a:pt x="94" y="137"/>
                  <a:pt x="101" y="139"/>
                  <a:pt x="107" y="140"/>
                </a:cubicBezTo>
                <a:cubicBezTo>
                  <a:pt x="109" y="140"/>
                  <a:pt x="111" y="141"/>
                  <a:pt x="112" y="141"/>
                </a:cubicBezTo>
                <a:close/>
                <a:moveTo>
                  <a:pt x="98" y="99"/>
                </a:moveTo>
                <a:cubicBezTo>
                  <a:pt x="90" y="104"/>
                  <a:pt x="79" y="103"/>
                  <a:pt x="73" y="102"/>
                </a:cubicBezTo>
                <a:cubicBezTo>
                  <a:pt x="76" y="98"/>
                  <a:pt x="78" y="95"/>
                  <a:pt x="80" y="91"/>
                </a:cubicBezTo>
                <a:cubicBezTo>
                  <a:pt x="91" y="84"/>
                  <a:pt x="102" y="87"/>
                  <a:pt x="107" y="89"/>
                </a:cubicBezTo>
                <a:cubicBezTo>
                  <a:pt x="105" y="94"/>
                  <a:pt x="102" y="97"/>
                  <a:pt x="98" y="99"/>
                </a:cubicBezTo>
                <a:close/>
                <a:moveTo>
                  <a:pt x="220" y="52"/>
                </a:moveTo>
                <a:cubicBezTo>
                  <a:pt x="218" y="56"/>
                  <a:pt x="215" y="59"/>
                  <a:pt x="211" y="62"/>
                </a:cubicBezTo>
                <a:cubicBezTo>
                  <a:pt x="203" y="66"/>
                  <a:pt x="192" y="65"/>
                  <a:pt x="186" y="64"/>
                </a:cubicBezTo>
                <a:cubicBezTo>
                  <a:pt x="189" y="60"/>
                  <a:pt x="192" y="57"/>
                  <a:pt x="194" y="54"/>
                </a:cubicBezTo>
                <a:cubicBezTo>
                  <a:pt x="204" y="46"/>
                  <a:pt x="215" y="49"/>
                  <a:pt x="220" y="52"/>
                </a:cubicBezTo>
                <a:close/>
                <a:moveTo>
                  <a:pt x="130" y="108"/>
                </a:moveTo>
                <a:cubicBezTo>
                  <a:pt x="127" y="107"/>
                  <a:pt x="126" y="106"/>
                  <a:pt x="126" y="105"/>
                </a:cubicBezTo>
                <a:cubicBezTo>
                  <a:pt x="126" y="104"/>
                  <a:pt x="126" y="104"/>
                  <a:pt x="127" y="103"/>
                </a:cubicBezTo>
                <a:cubicBezTo>
                  <a:pt x="129" y="103"/>
                  <a:pt x="131" y="102"/>
                  <a:pt x="133" y="102"/>
                </a:cubicBezTo>
                <a:cubicBezTo>
                  <a:pt x="138" y="101"/>
                  <a:pt x="145" y="99"/>
                  <a:pt x="152" y="97"/>
                </a:cubicBezTo>
                <a:cubicBezTo>
                  <a:pt x="156" y="96"/>
                  <a:pt x="160" y="94"/>
                  <a:pt x="163" y="92"/>
                </a:cubicBezTo>
                <a:cubicBezTo>
                  <a:pt x="163" y="94"/>
                  <a:pt x="164" y="95"/>
                  <a:pt x="164" y="97"/>
                </a:cubicBezTo>
                <a:cubicBezTo>
                  <a:pt x="150" y="110"/>
                  <a:pt x="132" y="108"/>
                  <a:pt x="130" y="108"/>
                </a:cubicBezTo>
                <a:close/>
                <a:moveTo>
                  <a:pt x="209" y="122"/>
                </a:moveTo>
                <a:cubicBezTo>
                  <a:pt x="209" y="122"/>
                  <a:pt x="207" y="123"/>
                  <a:pt x="204" y="123"/>
                </a:cubicBezTo>
                <a:cubicBezTo>
                  <a:pt x="203" y="123"/>
                  <a:pt x="186" y="120"/>
                  <a:pt x="178" y="100"/>
                </a:cubicBezTo>
                <a:cubicBezTo>
                  <a:pt x="175" y="93"/>
                  <a:pt x="174" y="87"/>
                  <a:pt x="175" y="82"/>
                </a:cubicBezTo>
                <a:cubicBezTo>
                  <a:pt x="178" y="88"/>
                  <a:pt x="181" y="95"/>
                  <a:pt x="187" y="101"/>
                </a:cubicBezTo>
                <a:cubicBezTo>
                  <a:pt x="192" y="107"/>
                  <a:pt x="199" y="112"/>
                  <a:pt x="204" y="116"/>
                </a:cubicBezTo>
                <a:cubicBezTo>
                  <a:pt x="205" y="117"/>
                  <a:pt x="207" y="118"/>
                  <a:pt x="208" y="119"/>
                </a:cubicBezTo>
                <a:cubicBezTo>
                  <a:pt x="209" y="120"/>
                  <a:pt x="209" y="121"/>
                  <a:pt x="209" y="122"/>
                </a:cubicBezTo>
                <a:close/>
                <a:moveTo>
                  <a:pt x="222" y="108"/>
                </a:moveTo>
                <a:cubicBezTo>
                  <a:pt x="222" y="108"/>
                  <a:pt x="219" y="109"/>
                  <a:pt x="216" y="108"/>
                </a:cubicBezTo>
                <a:cubicBezTo>
                  <a:pt x="215" y="108"/>
                  <a:pt x="215" y="109"/>
                  <a:pt x="214" y="109"/>
                </a:cubicBezTo>
                <a:cubicBezTo>
                  <a:pt x="213" y="108"/>
                  <a:pt x="212" y="107"/>
                  <a:pt x="211" y="107"/>
                </a:cubicBezTo>
                <a:cubicBezTo>
                  <a:pt x="208" y="103"/>
                  <a:pt x="203" y="100"/>
                  <a:pt x="199" y="96"/>
                </a:cubicBezTo>
                <a:cubicBezTo>
                  <a:pt x="207" y="99"/>
                  <a:pt x="215" y="101"/>
                  <a:pt x="220" y="102"/>
                </a:cubicBezTo>
                <a:cubicBezTo>
                  <a:pt x="222" y="102"/>
                  <a:pt x="224" y="103"/>
                  <a:pt x="225" y="103"/>
                </a:cubicBezTo>
                <a:cubicBezTo>
                  <a:pt x="226" y="104"/>
                  <a:pt x="227" y="104"/>
                  <a:pt x="227" y="105"/>
                </a:cubicBezTo>
                <a:cubicBezTo>
                  <a:pt x="227" y="106"/>
                  <a:pt x="226" y="107"/>
                  <a:pt x="222" y="10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30">
            <a:extLst>
              <a:ext uri="{FF2B5EF4-FFF2-40B4-BE49-F238E27FC236}">
                <a16:creationId xmlns:a16="http://schemas.microsoft.com/office/drawing/2014/main" id="{51A72B20-210F-45A0-BE3E-254CC78CEF7C}"/>
              </a:ext>
            </a:extLst>
          </p:cNvPr>
          <p:cNvSpPr>
            <a:spLocks noEditPoints="1"/>
          </p:cNvSpPr>
          <p:nvPr/>
        </p:nvSpPr>
        <p:spPr bwMode="auto">
          <a:xfrm>
            <a:off x="8859040" y="1901709"/>
            <a:ext cx="2408729" cy="2084500"/>
          </a:xfrm>
          <a:custGeom>
            <a:avLst/>
            <a:gdLst>
              <a:gd name="T0" fmla="*/ 2040 w 2043"/>
              <a:gd name="T1" fmla="*/ 1768 h 1768"/>
              <a:gd name="T2" fmla="*/ 0 w 2043"/>
              <a:gd name="T3" fmla="*/ 1768 h 1768"/>
              <a:gd name="T4" fmla="*/ 0 w 2043"/>
              <a:gd name="T5" fmla="*/ 0 h 1768"/>
              <a:gd name="T6" fmla="*/ 2043 w 2043"/>
              <a:gd name="T7" fmla="*/ 0 h 1768"/>
              <a:gd name="T8" fmla="*/ 2043 w 2043"/>
              <a:gd name="T9" fmla="*/ 855 h 1768"/>
              <a:gd name="T10" fmla="*/ 2040 w 2043"/>
              <a:gd name="T11" fmla="*/ 1768 h 1768"/>
              <a:gd name="T12" fmla="*/ 64 w 2043"/>
              <a:gd name="T13" fmla="*/ 1704 h 1768"/>
              <a:gd name="T14" fmla="*/ 1976 w 2043"/>
              <a:gd name="T15" fmla="*/ 1704 h 1768"/>
              <a:gd name="T16" fmla="*/ 1978 w 2043"/>
              <a:gd name="T17" fmla="*/ 852 h 1768"/>
              <a:gd name="T18" fmla="*/ 1978 w 2043"/>
              <a:gd name="T19" fmla="*/ 65 h 1768"/>
              <a:gd name="T20" fmla="*/ 64 w 2043"/>
              <a:gd name="T21" fmla="*/ 65 h 1768"/>
              <a:gd name="T22" fmla="*/ 64 w 2043"/>
              <a:gd name="T23" fmla="*/ 170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3" h="1768">
                <a:moveTo>
                  <a:pt x="2040" y="1768"/>
                </a:moveTo>
                <a:lnTo>
                  <a:pt x="0" y="1768"/>
                </a:lnTo>
                <a:lnTo>
                  <a:pt x="0" y="0"/>
                </a:lnTo>
                <a:lnTo>
                  <a:pt x="2043" y="0"/>
                </a:lnTo>
                <a:lnTo>
                  <a:pt x="2043" y="855"/>
                </a:lnTo>
                <a:lnTo>
                  <a:pt x="2040" y="1768"/>
                </a:lnTo>
                <a:close/>
                <a:moveTo>
                  <a:pt x="64" y="1704"/>
                </a:moveTo>
                <a:lnTo>
                  <a:pt x="1976" y="1704"/>
                </a:lnTo>
                <a:lnTo>
                  <a:pt x="1978" y="852"/>
                </a:lnTo>
                <a:lnTo>
                  <a:pt x="1978" y="65"/>
                </a:lnTo>
                <a:lnTo>
                  <a:pt x="64" y="65"/>
                </a:lnTo>
                <a:lnTo>
                  <a:pt x="64" y="170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31">
            <a:extLst>
              <a:ext uri="{FF2B5EF4-FFF2-40B4-BE49-F238E27FC236}">
                <a16:creationId xmlns:a16="http://schemas.microsoft.com/office/drawing/2014/main" id="{462FC02E-1C4F-4AB4-B156-9F27A6FC05FE}"/>
              </a:ext>
            </a:extLst>
          </p:cNvPr>
          <p:cNvSpPr>
            <a:spLocks noEditPoints="1"/>
          </p:cNvSpPr>
          <p:nvPr/>
        </p:nvSpPr>
        <p:spPr bwMode="auto">
          <a:xfrm>
            <a:off x="6440879" y="1901709"/>
            <a:ext cx="2418161" cy="2084500"/>
          </a:xfrm>
          <a:custGeom>
            <a:avLst/>
            <a:gdLst>
              <a:gd name="T0" fmla="*/ 2051 w 2051"/>
              <a:gd name="T1" fmla="*/ 1768 h 1768"/>
              <a:gd name="T2" fmla="*/ 0 w 2051"/>
              <a:gd name="T3" fmla="*/ 1768 h 1768"/>
              <a:gd name="T4" fmla="*/ 0 w 2051"/>
              <a:gd name="T5" fmla="*/ 0 h 1768"/>
              <a:gd name="T6" fmla="*/ 2051 w 2051"/>
              <a:gd name="T7" fmla="*/ 0 h 1768"/>
              <a:gd name="T8" fmla="*/ 2051 w 2051"/>
              <a:gd name="T9" fmla="*/ 1768 h 1768"/>
              <a:gd name="T10" fmla="*/ 64 w 2051"/>
              <a:gd name="T11" fmla="*/ 1704 h 1768"/>
              <a:gd name="T12" fmla="*/ 1987 w 2051"/>
              <a:gd name="T13" fmla="*/ 1704 h 1768"/>
              <a:gd name="T14" fmla="*/ 1987 w 2051"/>
              <a:gd name="T15" fmla="*/ 65 h 1768"/>
              <a:gd name="T16" fmla="*/ 64 w 2051"/>
              <a:gd name="T17" fmla="*/ 65 h 1768"/>
              <a:gd name="T18" fmla="*/ 64 w 2051"/>
              <a:gd name="T19" fmla="*/ 170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1" h="1768">
                <a:moveTo>
                  <a:pt x="2051" y="1768"/>
                </a:moveTo>
                <a:lnTo>
                  <a:pt x="0" y="1768"/>
                </a:lnTo>
                <a:lnTo>
                  <a:pt x="0" y="0"/>
                </a:lnTo>
                <a:lnTo>
                  <a:pt x="2051" y="0"/>
                </a:lnTo>
                <a:lnTo>
                  <a:pt x="2051" y="1768"/>
                </a:lnTo>
                <a:close/>
                <a:moveTo>
                  <a:pt x="64" y="1704"/>
                </a:moveTo>
                <a:lnTo>
                  <a:pt x="1987" y="1704"/>
                </a:lnTo>
                <a:lnTo>
                  <a:pt x="1987" y="65"/>
                </a:lnTo>
                <a:lnTo>
                  <a:pt x="64" y="65"/>
                </a:lnTo>
                <a:lnTo>
                  <a:pt x="64" y="170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31">
            <a:extLst>
              <a:ext uri="{FF2B5EF4-FFF2-40B4-BE49-F238E27FC236}">
                <a16:creationId xmlns:a16="http://schemas.microsoft.com/office/drawing/2014/main" id="{1932866B-E876-48CD-A413-B40B7CA1F9C6}"/>
              </a:ext>
            </a:extLst>
          </p:cNvPr>
          <p:cNvSpPr>
            <a:spLocks noEditPoints="1"/>
          </p:cNvSpPr>
          <p:nvPr/>
        </p:nvSpPr>
        <p:spPr bwMode="auto">
          <a:xfrm>
            <a:off x="6440879" y="1901709"/>
            <a:ext cx="2418161" cy="2084500"/>
          </a:xfrm>
          <a:custGeom>
            <a:avLst/>
            <a:gdLst>
              <a:gd name="T0" fmla="*/ 2051 w 2051"/>
              <a:gd name="T1" fmla="*/ 1768 h 1768"/>
              <a:gd name="T2" fmla="*/ 0 w 2051"/>
              <a:gd name="T3" fmla="*/ 1768 h 1768"/>
              <a:gd name="T4" fmla="*/ 0 w 2051"/>
              <a:gd name="T5" fmla="*/ 0 h 1768"/>
              <a:gd name="T6" fmla="*/ 2051 w 2051"/>
              <a:gd name="T7" fmla="*/ 0 h 1768"/>
              <a:gd name="T8" fmla="*/ 2051 w 2051"/>
              <a:gd name="T9" fmla="*/ 1768 h 1768"/>
              <a:gd name="T10" fmla="*/ 64 w 2051"/>
              <a:gd name="T11" fmla="*/ 1704 h 1768"/>
              <a:gd name="T12" fmla="*/ 1987 w 2051"/>
              <a:gd name="T13" fmla="*/ 1704 h 1768"/>
              <a:gd name="T14" fmla="*/ 1987 w 2051"/>
              <a:gd name="T15" fmla="*/ 65 h 1768"/>
              <a:gd name="T16" fmla="*/ 64 w 2051"/>
              <a:gd name="T17" fmla="*/ 65 h 1768"/>
              <a:gd name="T18" fmla="*/ 64 w 2051"/>
              <a:gd name="T19" fmla="*/ 170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1" h="1768">
                <a:moveTo>
                  <a:pt x="2051" y="1768"/>
                </a:moveTo>
                <a:lnTo>
                  <a:pt x="0" y="1768"/>
                </a:lnTo>
                <a:lnTo>
                  <a:pt x="0" y="0"/>
                </a:lnTo>
                <a:lnTo>
                  <a:pt x="2051" y="0"/>
                </a:lnTo>
                <a:lnTo>
                  <a:pt x="2051" y="1768"/>
                </a:lnTo>
                <a:close/>
                <a:moveTo>
                  <a:pt x="64" y="1704"/>
                </a:moveTo>
                <a:lnTo>
                  <a:pt x="1987" y="1704"/>
                </a:lnTo>
                <a:lnTo>
                  <a:pt x="1987" y="65"/>
                </a:lnTo>
                <a:lnTo>
                  <a:pt x="64" y="65"/>
                </a:lnTo>
                <a:lnTo>
                  <a:pt x="64" y="170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Rectangle 29">
            <a:extLst>
              <a:ext uri="{FF2B5EF4-FFF2-40B4-BE49-F238E27FC236}">
                <a16:creationId xmlns:a16="http://schemas.microsoft.com/office/drawing/2014/main" id="{246998D7-A8D7-4F24-ADCA-C5D10EA2A3A2}"/>
              </a:ext>
            </a:extLst>
          </p:cNvPr>
          <p:cNvSpPr/>
          <p:nvPr/>
        </p:nvSpPr>
        <p:spPr>
          <a:xfrm flipV="1">
            <a:off x="0" y="4989418"/>
            <a:ext cx="12192000" cy="132531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Content Placeholder 6"/>
          <p:cNvSpPr>
            <a:spLocks noGrp="1"/>
          </p:cNvSpPr>
          <p:nvPr>
            <p:ph idx="1"/>
          </p:nvPr>
        </p:nvSpPr>
        <p:spPr>
          <a:xfrm>
            <a:off x="860687" y="1825625"/>
            <a:ext cx="5232381" cy="3159412"/>
          </a:xfrm>
        </p:spPr>
        <p:txBody>
          <a:bodyPr vert="horz" lIns="91440" tIns="45720" rIns="91440" bIns="45720" rtlCol="0" anchor="t">
            <a:normAutofit/>
          </a:bodyPr>
          <a:lstStyle/>
          <a:p>
            <a:pPr marL="0" lvl="0" indent="0">
              <a:lnSpc>
                <a:spcPct val="100000"/>
              </a:lnSpc>
              <a:spcBef>
                <a:spcPts val="0"/>
              </a:spcBef>
              <a:spcAft>
                <a:spcPts val="600"/>
              </a:spcAft>
              <a:buNone/>
            </a:pPr>
            <a:r>
              <a:rPr lang="en-US" sz="1800">
                <a:solidFill>
                  <a:schemeClr val="bg2">
                    <a:lumMod val="10000"/>
                  </a:schemeClr>
                </a:solidFill>
                <a:latin typeface="+mj-lt"/>
              </a:rPr>
              <a:t>DO NOT APPLY </a:t>
            </a:r>
            <a:r>
              <a:rPr lang="en-US" sz="1800">
                <a:solidFill>
                  <a:schemeClr val="bg2">
                    <a:lumMod val="10000"/>
                  </a:schemeClr>
                </a:solidFill>
              </a:rPr>
              <a:t>this product when the wind is blowing toward adjacent sensitive crops and certain plants; </a:t>
            </a:r>
            <a:r>
              <a:rPr lang="en-US" sz="1800" b="1">
                <a:solidFill>
                  <a:schemeClr val="bg2">
                    <a:lumMod val="10000"/>
                  </a:schemeClr>
                </a:solidFill>
              </a:rPr>
              <a:t>this includes NON-DICAMBA TOLERANT SOYBEAN AND COTTON</a:t>
            </a:r>
            <a:r>
              <a:rPr lang="en-US" sz="1800">
                <a:solidFill>
                  <a:schemeClr val="bg2">
                    <a:lumMod val="10000"/>
                  </a:schemeClr>
                </a:solidFill>
              </a:rPr>
              <a:t>.</a:t>
            </a:r>
          </a:p>
          <a:p>
            <a:pPr marL="457200" lvl="1" indent="0">
              <a:lnSpc>
                <a:spcPct val="100000"/>
              </a:lnSpc>
              <a:buNone/>
            </a:pPr>
            <a:r>
              <a:rPr lang="en-US" sz="1400" b="1"/>
              <a:t>Sensitive crops and/or certain plants </a:t>
            </a:r>
            <a:r>
              <a:rPr lang="en-US" sz="1400"/>
              <a:t>include, but are not limited to, tomatoes and other fruiting vegetables (EPA crop group 8), fruit trees, cucurbits (EPA crop group 9), grapes, beans, flowers, ornamentals, peas, potatoes, sunflower, tobacco and other broadleaf plants, including if these plants are in a greenhouse.</a:t>
            </a:r>
            <a:endParaRPr lang="en-US" sz="1400">
              <a:cs typeface="Arial"/>
            </a:endParaRPr>
          </a:p>
          <a:p>
            <a:pPr marL="457200" lvl="1" indent="0">
              <a:lnSpc>
                <a:spcPct val="100000"/>
              </a:lnSpc>
              <a:buNone/>
            </a:pPr>
            <a:endParaRPr lang="en-US" sz="1600" strike="sngStrike">
              <a:solidFill>
                <a:srgbClr val="FF0000"/>
              </a:solidFill>
            </a:endParaRPr>
          </a:p>
        </p:txBody>
      </p:sp>
      <p:sp>
        <p:nvSpPr>
          <p:cNvPr id="16" name="Title 4">
            <a:extLst>
              <a:ext uri="{FF2B5EF4-FFF2-40B4-BE49-F238E27FC236}">
                <a16:creationId xmlns:a16="http://schemas.microsoft.com/office/drawing/2014/main" id="{73A2D027-979E-4C71-8F25-7537B13BC9B6}"/>
              </a:ext>
            </a:extLst>
          </p:cNvPr>
          <p:cNvSpPr txBox="1">
            <a:spLocks/>
          </p:cNvSpPr>
          <p:nvPr/>
        </p:nvSpPr>
        <p:spPr>
          <a:xfrm>
            <a:off x="838200" y="228600"/>
            <a:ext cx="10515600" cy="10881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PROTECTION OF ADJACENT </a:t>
            </a:r>
            <a:br>
              <a:rPr kumimoji="0" lang="en-US" sz="32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br>
            <a:r>
              <a:rPr kumimoji="0" lang="en-US" sz="32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sensitive </a:t>
            </a:r>
            <a:r>
              <a:rPr lang="en-US" sz="3200"/>
              <a:t>CROPS AND CERTAIN PLANTS</a:t>
            </a:r>
            <a:r>
              <a:rPr kumimoji="0" lang="en-US" sz="32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 </a:t>
            </a:r>
          </a:p>
        </p:txBody>
      </p:sp>
      <p:cxnSp>
        <p:nvCxnSpPr>
          <p:cNvPr id="17" name="Straight Connector 16">
            <a:extLst>
              <a:ext uri="{FF2B5EF4-FFF2-40B4-BE49-F238E27FC236}">
                <a16:creationId xmlns:a16="http://schemas.microsoft.com/office/drawing/2014/main" id="{AC0336DC-6694-4ACB-B58B-D18FD57F7D0A}"/>
              </a:ext>
            </a:extLst>
          </p:cNvPr>
          <p:cNvCxnSpPr>
            <a:cxnSpLocks/>
          </p:cNvCxnSpPr>
          <p:nvPr/>
        </p:nvCxnSpPr>
        <p:spPr>
          <a:xfrm>
            <a:off x="1218329" y="3101006"/>
            <a:ext cx="0" cy="1496716"/>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97C0FD3-28DA-43FE-BDCB-62A3AE3ADF64}"/>
              </a:ext>
            </a:extLst>
          </p:cNvPr>
          <p:cNvSpPr/>
          <p:nvPr/>
        </p:nvSpPr>
        <p:spPr>
          <a:xfrm>
            <a:off x="838200" y="5180909"/>
            <a:ext cx="9936892" cy="9233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t>Contact with foliage, green stems, or fruit of crops, or any desirable plants that do not contain a dicamba tolerance gene or are not naturally tolerant to dicamba, </a:t>
            </a:r>
            <a:r>
              <a:rPr kumimoji="0" lang="en-US" sz="18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could result in severe plant injury or destruction.  </a:t>
            </a:r>
          </a:p>
        </p:txBody>
      </p:sp>
      <p:sp>
        <p:nvSpPr>
          <p:cNvPr id="2" name="Footer Placeholder 1">
            <a:extLst>
              <a:ext uri="{FF2B5EF4-FFF2-40B4-BE49-F238E27FC236}">
                <a16:creationId xmlns:a16="http://schemas.microsoft.com/office/drawing/2014/main" id="{55726DA2-4F4B-4CFF-9FFF-4E3926F7C6E9}"/>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E6366C8F-572D-4435-BDC9-FA4BA70660DE}"/>
              </a:ext>
            </a:extLst>
          </p:cNvPr>
          <p:cNvSpPr>
            <a:spLocks noGrp="1"/>
          </p:cNvSpPr>
          <p:nvPr>
            <p:ph type="sldNum" sz="quarter" idx="16"/>
          </p:nvPr>
        </p:nvSpPr>
        <p:spPr/>
        <p:txBody>
          <a:bodyPr/>
          <a:lstStyle/>
          <a:p>
            <a:fld id="{5382645D-9DD6-408C-B0EA-C65795F9B1DE}" type="slidenum">
              <a:rPr lang="en-US" smtClean="0"/>
              <a:pPr/>
              <a:t>26</a:t>
            </a:fld>
            <a:endParaRPr lang="en-US"/>
          </a:p>
        </p:txBody>
      </p:sp>
      <p:grpSp>
        <p:nvGrpSpPr>
          <p:cNvPr id="50" name="Group 49">
            <a:extLst>
              <a:ext uri="{FF2B5EF4-FFF2-40B4-BE49-F238E27FC236}">
                <a16:creationId xmlns:a16="http://schemas.microsoft.com/office/drawing/2014/main" id="{8992F9E1-65E3-41A3-8347-348D648734D2}"/>
              </a:ext>
            </a:extLst>
          </p:cNvPr>
          <p:cNvGrpSpPr/>
          <p:nvPr/>
        </p:nvGrpSpPr>
        <p:grpSpPr>
          <a:xfrm flipH="1">
            <a:off x="8113656" y="3157069"/>
            <a:ext cx="1536700" cy="407988"/>
            <a:chOff x="9229726" y="4735513"/>
            <a:chExt cx="1536700" cy="407988"/>
          </a:xfrm>
        </p:grpSpPr>
        <p:sp>
          <p:nvSpPr>
            <p:cNvPr id="52" name="Freeform 97">
              <a:extLst>
                <a:ext uri="{FF2B5EF4-FFF2-40B4-BE49-F238E27FC236}">
                  <a16:creationId xmlns:a16="http://schemas.microsoft.com/office/drawing/2014/main" id="{B9B5BBA5-38D0-48FF-B79C-6DA8E5591A21}"/>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98">
              <a:extLst>
                <a:ext uri="{FF2B5EF4-FFF2-40B4-BE49-F238E27FC236}">
                  <a16:creationId xmlns:a16="http://schemas.microsoft.com/office/drawing/2014/main" id="{9D818A19-6E2A-4D1A-894F-C49F19E4FB3B}"/>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9">
              <a:extLst>
                <a:ext uri="{FF2B5EF4-FFF2-40B4-BE49-F238E27FC236}">
                  <a16:creationId xmlns:a16="http://schemas.microsoft.com/office/drawing/2014/main" id="{A01D5FB8-5504-4987-9412-F5440665537A}"/>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0">
              <a:extLst>
                <a:ext uri="{FF2B5EF4-FFF2-40B4-BE49-F238E27FC236}">
                  <a16:creationId xmlns:a16="http://schemas.microsoft.com/office/drawing/2014/main" id="{C2581F3F-C5FF-4A8C-9D57-AD8071464103}"/>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1">
              <a:extLst>
                <a:ext uri="{FF2B5EF4-FFF2-40B4-BE49-F238E27FC236}">
                  <a16:creationId xmlns:a16="http://schemas.microsoft.com/office/drawing/2014/main" id="{7384A1C4-4C45-49DA-BF9A-5F6CDCACA0EC}"/>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2">
              <a:extLst>
                <a:ext uri="{FF2B5EF4-FFF2-40B4-BE49-F238E27FC236}">
                  <a16:creationId xmlns:a16="http://schemas.microsoft.com/office/drawing/2014/main" id="{133C444B-1DDD-4752-B779-08550286EBE6}"/>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3">
              <a:extLst>
                <a:ext uri="{FF2B5EF4-FFF2-40B4-BE49-F238E27FC236}">
                  <a16:creationId xmlns:a16="http://schemas.microsoft.com/office/drawing/2014/main" id="{40F406B6-F546-4351-A28F-3F0569BFFD3B}"/>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04">
              <a:extLst>
                <a:ext uri="{FF2B5EF4-FFF2-40B4-BE49-F238E27FC236}">
                  <a16:creationId xmlns:a16="http://schemas.microsoft.com/office/drawing/2014/main" id="{3E78C89D-0DD2-4825-B25A-629F6FE9361E}"/>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05">
              <a:extLst>
                <a:ext uri="{FF2B5EF4-FFF2-40B4-BE49-F238E27FC236}">
                  <a16:creationId xmlns:a16="http://schemas.microsoft.com/office/drawing/2014/main" id="{72064CB3-E4C9-489A-A2BC-1D81C7C806BA}"/>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06">
              <a:extLst>
                <a:ext uri="{FF2B5EF4-FFF2-40B4-BE49-F238E27FC236}">
                  <a16:creationId xmlns:a16="http://schemas.microsoft.com/office/drawing/2014/main" id="{98A90EA1-B79C-48A1-A901-B43F70EE8984}"/>
                </a:ext>
              </a:extLst>
            </p:cNvPr>
            <p:cNvSpPr>
              <a:spLocks noChangeArrowheads="1"/>
            </p:cNvSpPr>
            <p:nvPr/>
          </p:nvSpPr>
          <p:spPr bwMode="auto">
            <a:xfrm>
              <a:off x="953667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sp>
        <p:nvSpPr>
          <p:cNvPr id="4" name="Rectangle 3">
            <a:extLst>
              <a:ext uri="{FF2B5EF4-FFF2-40B4-BE49-F238E27FC236}">
                <a16:creationId xmlns:a16="http://schemas.microsoft.com/office/drawing/2014/main" id="{00506EB8-4298-460E-83CE-688117836FC8}"/>
              </a:ext>
            </a:extLst>
          </p:cNvPr>
          <p:cNvSpPr/>
          <p:nvPr/>
        </p:nvSpPr>
        <p:spPr>
          <a:xfrm>
            <a:off x="6488810" y="1489669"/>
            <a:ext cx="2318189" cy="369332"/>
          </a:xfrm>
          <a:prstGeom prst="rect">
            <a:avLst/>
          </a:prstGeom>
        </p:spPr>
        <p:txBody>
          <a:bodyPr wrap="square">
            <a:spAutoFit/>
          </a:bodyPr>
          <a:lstStyle/>
          <a:p>
            <a:pPr algn="ctr"/>
            <a:r>
              <a:rPr lang="en-US" b="1">
                <a:latin typeface="+mj-lt"/>
              </a:rPr>
              <a:t>DO NOT SPRAY </a:t>
            </a:r>
          </a:p>
        </p:txBody>
      </p:sp>
      <p:sp>
        <p:nvSpPr>
          <p:cNvPr id="24" name="Rectangle 41">
            <a:extLst>
              <a:ext uri="{FF2B5EF4-FFF2-40B4-BE49-F238E27FC236}">
                <a16:creationId xmlns:a16="http://schemas.microsoft.com/office/drawing/2014/main" id="{D44E5476-D191-4B04-97FF-E9BCC13D4D67}"/>
              </a:ext>
            </a:extLst>
          </p:cNvPr>
          <p:cNvSpPr>
            <a:spLocks noChangeArrowheads="1"/>
          </p:cNvSpPr>
          <p:nvPr/>
        </p:nvSpPr>
        <p:spPr bwMode="auto">
          <a:xfrm>
            <a:off x="6579505" y="2021288"/>
            <a:ext cx="20986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en-US" altLang="en-US" sz="1200" b="1" kern="0" spc="140">
                <a:latin typeface="Arial Narrow" charset="0"/>
              </a:rPr>
              <a:t>DICAMBA-TOLERANT CROP</a:t>
            </a:r>
          </a:p>
          <a:p>
            <a:pPr eaLnBrk="1" fontAlgn="auto" hangingPunct="1">
              <a:spcBef>
                <a:spcPts val="0"/>
              </a:spcBef>
              <a:spcAft>
                <a:spcPts val="0"/>
              </a:spcAft>
              <a:defRPr/>
            </a:pPr>
            <a:r>
              <a:rPr lang="en-US" altLang="en-US" sz="1200" b="1" kern="0" spc="140">
                <a:latin typeface="Arial Narrow" charset="0"/>
              </a:rPr>
              <a:t>APPROVED APPLICATION</a:t>
            </a:r>
            <a:endParaRPr lang="en-US" altLang="en-US" sz="1200" b="1" kern="0" spc="140">
              <a:latin typeface="+mj-lt"/>
            </a:endParaRPr>
          </a:p>
        </p:txBody>
      </p:sp>
      <p:sp>
        <p:nvSpPr>
          <p:cNvPr id="25" name="Rectangle 41">
            <a:extLst>
              <a:ext uri="{FF2B5EF4-FFF2-40B4-BE49-F238E27FC236}">
                <a16:creationId xmlns:a16="http://schemas.microsoft.com/office/drawing/2014/main" id="{D8D0294A-A124-46FC-80CD-C88066B6C3C6}"/>
              </a:ext>
            </a:extLst>
          </p:cNvPr>
          <p:cNvSpPr>
            <a:spLocks noChangeArrowheads="1"/>
          </p:cNvSpPr>
          <p:nvPr/>
        </p:nvSpPr>
        <p:spPr bwMode="auto">
          <a:xfrm>
            <a:off x="9025676" y="2021288"/>
            <a:ext cx="17501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en-US" altLang="en-US" sz="1200" b="1" kern="0" spc="140">
                <a:latin typeface="Arial Narrow"/>
              </a:rPr>
              <a:t>SENSITIVE CROP AND </a:t>
            </a:r>
            <a:endParaRPr lang="en-US" altLang="en-US" sz="1200" b="1" kern="0" spc="140">
              <a:latin typeface="Arial Black"/>
            </a:endParaRPr>
          </a:p>
          <a:p>
            <a:pPr>
              <a:spcBef>
                <a:spcPts val="0"/>
              </a:spcBef>
              <a:spcAft>
                <a:spcPts val="0"/>
              </a:spcAft>
              <a:defRPr/>
            </a:pPr>
            <a:r>
              <a:rPr lang="en-US" altLang="en-US" sz="1200" b="1" kern="0" spc="140">
                <a:latin typeface="Arial Narrow"/>
              </a:rPr>
              <a:t>CERTAIN PLANTS</a:t>
            </a:r>
            <a:endParaRPr lang="en-US" altLang="en-US" sz="1200" b="1" kern="0" spc="140">
              <a:latin typeface="+mj-lt"/>
            </a:endParaRPr>
          </a:p>
        </p:txBody>
      </p:sp>
      <p:pic>
        <p:nvPicPr>
          <p:cNvPr id="5" name="Picture 4">
            <a:extLst>
              <a:ext uri="{FF2B5EF4-FFF2-40B4-BE49-F238E27FC236}">
                <a16:creationId xmlns:a16="http://schemas.microsoft.com/office/drawing/2014/main" id="{07F5C1D5-CB97-4730-B5B5-5D8515C796F6}"/>
              </a:ext>
            </a:extLst>
          </p:cNvPr>
          <p:cNvPicPr>
            <a:picLocks noChangeAspect="1"/>
          </p:cNvPicPr>
          <p:nvPr/>
        </p:nvPicPr>
        <p:blipFill>
          <a:blip r:embed="rId3"/>
          <a:stretch>
            <a:fillRect/>
          </a:stretch>
        </p:blipFill>
        <p:spPr>
          <a:xfrm>
            <a:off x="914400" y="6319117"/>
            <a:ext cx="1171575" cy="495300"/>
          </a:xfrm>
          <a:prstGeom prst="rect">
            <a:avLst/>
          </a:prstGeom>
        </p:spPr>
      </p:pic>
      <p:pic>
        <p:nvPicPr>
          <p:cNvPr id="62" name="Picture 61">
            <a:extLst>
              <a:ext uri="{FF2B5EF4-FFF2-40B4-BE49-F238E27FC236}">
                <a16:creationId xmlns:a16="http://schemas.microsoft.com/office/drawing/2014/main" id="{D776D1F6-469D-413E-AA26-86CF5C4D71F1}"/>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345898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531A3D-D726-476C-8EBC-AB2E386DB42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29028" y="5440042"/>
            <a:ext cx="2257016" cy="621170"/>
          </a:xfrm>
          <a:prstGeom prst="rect">
            <a:avLst/>
          </a:prstGeom>
        </p:spPr>
      </p:pic>
      <p:pic>
        <p:nvPicPr>
          <p:cNvPr id="35" name="Picture 34">
            <a:extLst>
              <a:ext uri="{FF2B5EF4-FFF2-40B4-BE49-F238E27FC236}">
                <a16:creationId xmlns:a16="http://schemas.microsoft.com/office/drawing/2014/main" id="{4B335F9A-A664-4810-B586-80F4ED2BBA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38201" y="1749663"/>
            <a:ext cx="5180682" cy="3633701"/>
          </a:xfrm>
          <a:prstGeom prst="rect">
            <a:avLst/>
          </a:prstGeom>
        </p:spPr>
      </p:pic>
      <p:pic>
        <p:nvPicPr>
          <p:cNvPr id="36" name="Picture 11">
            <a:extLst>
              <a:ext uri="{FF2B5EF4-FFF2-40B4-BE49-F238E27FC236}">
                <a16:creationId xmlns:a16="http://schemas.microsoft.com/office/drawing/2014/main" id="{AB6E6915-4A5C-42D1-A7A3-6DA21D7F71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4668" y="5484288"/>
            <a:ext cx="1481463" cy="507759"/>
          </a:xfrm>
          <a:prstGeom prst="rect">
            <a:avLst/>
          </a:prstGeom>
        </p:spPr>
      </p:pic>
      <p:pic>
        <p:nvPicPr>
          <p:cNvPr id="51" name="Picture 50">
            <a:extLst>
              <a:ext uri="{FF2B5EF4-FFF2-40B4-BE49-F238E27FC236}">
                <a16:creationId xmlns:a16="http://schemas.microsoft.com/office/drawing/2014/main" id="{4B31EA78-9D06-455E-A83D-E2E150CCC48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27246" y="5556337"/>
            <a:ext cx="1190101" cy="411831"/>
          </a:xfrm>
          <a:prstGeom prst="rect">
            <a:avLst/>
          </a:prstGeom>
        </p:spPr>
      </p:pic>
      <p:pic>
        <p:nvPicPr>
          <p:cNvPr id="52" name="Picture 51">
            <a:extLst>
              <a:ext uri="{FF2B5EF4-FFF2-40B4-BE49-F238E27FC236}">
                <a16:creationId xmlns:a16="http://schemas.microsoft.com/office/drawing/2014/main" id="{F24C88A5-867F-461D-ABE5-6F11402F5A5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90044" y="5609000"/>
            <a:ext cx="1252743" cy="369398"/>
          </a:xfrm>
          <a:prstGeom prst="rect">
            <a:avLst/>
          </a:prstGeom>
        </p:spPr>
      </p:pic>
      <p:sp>
        <p:nvSpPr>
          <p:cNvPr id="5" name="Title 1"/>
          <p:cNvSpPr>
            <a:spLocks noGrp="1"/>
          </p:cNvSpPr>
          <p:nvPr>
            <p:ph type="title"/>
          </p:nvPr>
        </p:nvSpPr>
        <p:spPr>
          <a:xfrm>
            <a:off x="838200" y="228600"/>
            <a:ext cx="10515600" cy="1088136"/>
          </a:xfrm>
        </p:spPr>
        <p:txBody>
          <a:bodyPr>
            <a:noAutofit/>
          </a:bodyPr>
          <a:lstStyle/>
          <a:p>
            <a:r>
              <a:rPr lang="en-US" sz="3200"/>
              <a:t>confirm and document adjacent SENSITIVE CROPS AND CERTAIN PLANTS</a:t>
            </a:r>
          </a:p>
        </p:txBody>
      </p:sp>
      <p:sp>
        <p:nvSpPr>
          <p:cNvPr id="23" name="Rectangle 22">
            <a:extLst>
              <a:ext uri="{FF2B5EF4-FFF2-40B4-BE49-F238E27FC236}">
                <a16:creationId xmlns:a16="http://schemas.microsoft.com/office/drawing/2014/main" id="{F0AFB298-2AF8-4A4D-B9C6-2FA80543ADEE}"/>
              </a:ext>
            </a:extLst>
          </p:cNvPr>
          <p:cNvSpPr/>
          <p:nvPr/>
        </p:nvSpPr>
        <p:spPr>
          <a:xfrm>
            <a:off x="838200" y="2154227"/>
            <a:ext cx="5181600" cy="3229137"/>
          </a:xfrm>
          <a:prstGeom prst="rect">
            <a:avLst/>
          </a:prstGeom>
          <a:gradFill>
            <a:gsLst>
              <a:gs pos="0">
                <a:schemeClr val="tx1">
                  <a:alpha val="0"/>
                </a:schemeClr>
              </a:gs>
              <a:gs pos="22000">
                <a:schemeClr val="tx1">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ontent Placeholder 2">
            <a:extLst>
              <a:ext uri="{FF2B5EF4-FFF2-40B4-BE49-F238E27FC236}">
                <a16:creationId xmlns:a16="http://schemas.microsoft.com/office/drawing/2014/main" id="{EF055D78-9EDA-4BFC-BCF9-050A0037CD28}"/>
              </a:ext>
            </a:extLst>
          </p:cNvPr>
          <p:cNvSpPr txBox="1">
            <a:spLocks/>
          </p:cNvSpPr>
          <p:nvPr/>
        </p:nvSpPr>
        <p:spPr>
          <a:xfrm>
            <a:off x="1215443" y="2353028"/>
            <a:ext cx="4309058" cy="2780335"/>
          </a:xfrm>
          <a:prstGeom prst="rect">
            <a:avLst/>
          </a:prstGeom>
          <a:ln>
            <a:noFill/>
          </a:ln>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2400" b="0" i="0" u="none" strike="noStrike" kern="1200" cap="none" spc="0" normalizeH="0" baseline="0" noProof="0">
                <a:ln>
                  <a:noFill/>
                </a:ln>
                <a:solidFill>
                  <a:schemeClr val="bg1"/>
                </a:solidFill>
                <a:effectLst/>
                <a:uLnTx/>
                <a:uFillTx/>
                <a:latin typeface="+mn-lt"/>
                <a:ea typeface="+mn-ea"/>
                <a:cs typeface="+mn-cs"/>
              </a:rPr>
              <a:t>Confirm sensitive crops and certain plants</a:t>
            </a:r>
          </a:p>
          <a:p>
            <a:pPr marL="182880" marR="0" lvl="1" indent="0" algn="l" defTabSz="914400" rtl="0" eaLnBrk="1" fontAlgn="auto" latinLnBrk="0" hangingPunct="1">
              <a:lnSpc>
                <a:spcPct val="100000"/>
              </a:lnSpc>
              <a:spcBef>
                <a:spcPts val="1800"/>
              </a:spcBef>
              <a:spcAft>
                <a:spcPts val="600"/>
              </a:spcAft>
              <a:buClrTx/>
              <a:buSzTx/>
              <a:buFont typeface="Arial" panose="020B0604020202020204" pitchFamily="34" charset="0"/>
              <a:buNone/>
              <a:tabLst/>
              <a:defRPr/>
            </a:pPr>
            <a:r>
              <a:rPr kumimoji="0" lang="en-US" sz="1700" b="0" i="0" u="none" strike="noStrike" kern="1200" cap="none" spc="0" normalizeH="0" baseline="0" noProof="0">
                <a:ln>
                  <a:noFill/>
                </a:ln>
                <a:solidFill>
                  <a:schemeClr val="bg1"/>
                </a:solidFill>
                <a:effectLst/>
                <a:uLnTx/>
                <a:uFillTx/>
                <a:latin typeface="+mn-lt"/>
                <a:ea typeface="+mn-ea"/>
                <a:cs typeface="+mn-cs"/>
              </a:rPr>
              <a:t>Preseason consult with neighboring growers on all sides</a:t>
            </a:r>
          </a:p>
          <a:p>
            <a:pPr marL="18288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700" b="0" i="0" u="none" strike="noStrike" kern="1200" cap="none" spc="0" normalizeH="0" baseline="0" noProof="0">
                <a:ln>
                  <a:noFill/>
                </a:ln>
                <a:solidFill>
                  <a:schemeClr val="bg1"/>
                </a:solidFill>
                <a:effectLst/>
                <a:uLnTx/>
                <a:uFillTx/>
                <a:latin typeface="+mn-lt"/>
                <a:ea typeface="+mn-ea"/>
                <a:cs typeface="+mn-cs"/>
              </a:rPr>
              <a:t>Susceptible/sensitive crop registry, website, app, etc.</a:t>
            </a:r>
          </a:p>
          <a:p>
            <a:pPr marL="18288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700" b="0" i="0" u="none" strike="noStrike" kern="1200" cap="none" spc="0" normalizeH="0" baseline="0" noProof="0">
                <a:ln>
                  <a:noFill/>
                </a:ln>
                <a:solidFill>
                  <a:schemeClr val="bg1"/>
                </a:solidFill>
                <a:effectLst/>
                <a:uLnTx/>
                <a:uFillTx/>
                <a:latin typeface="+mn-lt"/>
                <a:ea typeface="+mn-ea"/>
                <a:cs typeface="+mn-cs"/>
              </a:rPr>
              <a:t>Follow-up prior to application to determine if there are any changes in intentions</a:t>
            </a:r>
          </a:p>
        </p:txBody>
      </p:sp>
      <p:sp>
        <p:nvSpPr>
          <p:cNvPr id="26" name="Rectangle 25">
            <a:extLst>
              <a:ext uri="{FF2B5EF4-FFF2-40B4-BE49-F238E27FC236}">
                <a16:creationId xmlns:a16="http://schemas.microsoft.com/office/drawing/2014/main" id="{06D0BEBD-69C0-4162-9704-1DED61F9B8DD}"/>
              </a:ext>
            </a:extLst>
          </p:cNvPr>
          <p:cNvSpPr/>
          <p:nvPr/>
        </p:nvSpPr>
        <p:spPr>
          <a:xfrm>
            <a:off x="1101687" y="2268860"/>
            <a:ext cx="4660136" cy="84872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Isosceles Triangle 26">
            <a:extLst>
              <a:ext uri="{FF2B5EF4-FFF2-40B4-BE49-F238E27FC236}">
                <a16:creationId xmlns:a16="http://schemas.microsoft.com/office/drawing/2014/main" id="{28DA34A7-E69F-48A0-8AAF-D477A9EC8E73}"/>
              </a:ext>
            </a:extLst>
          </p:cNvPr>
          <p:cNvSpPr/>
          <p:nvPr/>
        </p:nvSpPr>
        <p:spPr>
          <a:xfrm rot="10800000">
            <a:off x="1369075" y="3117588"/>
            <a:ext cx="267501" cy="13121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9" name="Straight Connector 28">
            <a:extLst>
              <a:ext uri="{FF2B5EF4-FFF2-40B4-BE49-F238E27FC236}">
                <a16:creationId xmlns:a16="http://schemas.microsoft.com/office/drawing/2014/main" id="{49AB93C1-F1EA-4E5B-B43E-970EE67507F6}"/>
              </a:ext>
            </a:extLst>
          </p:cNvPr>
          <p:cNvCxnSpPr>
            <a:cxnSpLocks/>
          </p:cNvCxnSpPr>
          <p:nvPr/>
        </p:nvCxnSpPr>
        <p:spPr>
          <a:xfrm>
            <a:off x="1495425" y="3871840"/>
            <a:ext cx="42663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BDA09A2-5374-41B6-8782-82A421CA7D26}"/>
              </a:ext>
            </a:extLst>
          </p:cNvPr>
          <p:cNvCxnSpPr>
            <a:cxnSpLocks/>
          </p:cNvCxnSpPr>
          <p:nvPr/>
        </p:nvCxnSpPr>
        <p:spPr>
          <a:xfrm>
            <a:off x="1495425" y="4491477"/>
            <a:ext cx="42663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838200" y="1570444"/>
            <a:ext cx="5180683" cy="451692"/>
          </a:xfrm>
          <a:custGeom>
            <a:avLst/>
            <a:gdLst>
              <a:gd name="connsiteX0" fmla="*/ 0 w 5180683"/>
              <a:gd name="connsiteY0" fmla="*/ 0 h 451692"/>
              <a:gd name="connsiteX1" fmla="*/ 5180683 w 5180683"/>
              <a:gd name="connsiteY1" fmla="*/ 0 h 451692"/>
              <a:gd name="connsiteX2" fmla="*/ 5180683 w 5180683"/>
              <a:gd name="connsiteY2" fmla="*/ 451692 h 451692"/>
              <a:gd name="connsiteX3" fmla="*/ 0 w 5180683"/>
              <a:gd name="connsiteY3" fmla="*/ 451692 h 451692"/>
              <a:gd name="connsiteX4" fmla="*/ 0 w 5180683"/>
              <a:gd name="connsiteY4" fmla="*/ 0 h 451692"/>
              <a:gd name="connsiteX0" fmla="*/ 0 w 5180683"/>
              <a:gd name="connsiteY0" fmla="*/ 0 h 451692"/>
              <a:gd name="connsiteX1" fmla="*/ 5180683 w 5180683"/>
              <a:gd name="connsiteY1" fmla="*/ 0 h 451692"/>
              <a:gd name="connsiteX2" fmla="*/ 5180683 w 5180683"/>
              <a:gd name="connsiteY2" fmla="*/ 451692 h 451692"/>
              <a:gd name="connsiteX3" fmla="*/ 621145 w 5180683"/>
              <a:gd name="connsiteY3" fmla="*/ 451692 h 451692"/>
              <a:gd name="connsiteX4" fmla="*/ 0 w 5180683"/>
              <a:gd name="connsiteY4" fmla="*/ 451692 h 451692"/>
              <a:gd name="connsiteX5" fmla="*/ 0 w 5180683"/>
              <a:gd name="connsiteY5" fmla="*/ 0 h 451692"/>
              <a:gd name="connsiteX0" fmla="*/ 0 w 5180683"/>
              <a:gd name="connsiteY0" fmla="*/ 0 h 451692"/>
              <a:gd name="connsiteX1" fmla="*/ 5180683 w 5180683"/>
              <a:gd name="connsiteY1" fmla="*/ 0 h 451692"/>
              <a:gd name="connsiteX2" fmla="*/ 5180683 w 5180683"/>
              <a:gd name="connsiteY2" fmla="*/ 451692 h 451692"/>
              <a:gd name="connsiteX3" fmla="*/ 1632527 w 5180683"/>
              <a:gd name="connsiteY3" fmla="*/ 447074 h 451692"/>
              <a:gd name="connsiteX4" fmla="*/ 621145 w 5180683"/>
              <a:gd name="connsiteY4" fmla="*/ 451692 h 451692"/>
              <a:gd name="connsiteX5" fmla="*/ 0 w 5180683"/>
              <a:gd name="connsiteY5" fmla="*/ 451692 h 451692"/>
              <a:gd name="connsiteX6" fmla="*/ 0 w 5180683"/>
              <a:gd name="connsiteY6" fmla="*/ 0 h 451692"/>
              <a:gd name="connsiteX0" fmla="*/ 0 w 5180683"/>
              <a:gd name="connsiteY0" fmla="*/ 0 h 451692"/>
              <a:gd name="connsiteX1" fmla="*/ 5180683 w 5180683"/>
              <a:gd name="connsiteY1" fmla="*/ 0 h 451692"/>
              <a:gd name="connsiteX2" fmla="*/ 5180683 w 5180683"/>
              <a:gd name="connsiteY2" fmla="*/ 451692 h 451692"/>
              <a:gd name="connsiteX3" fmla="*/ 1632527 w 5180683"/>
              <a:gd name="connsiteY3" fmla="*/ 447074 h 451692"/>
              <a:gd name="connsiteX4" fmla="*/ 1129145 w 5180683"/>
              <a:gd name="connsiteY4" fmla="*/ 206928 h 451692"/>
              <a:gd name="connsiteX5" fmla="*/ 621145 w 5180683"/>
              <a:gd name="connsiteY5" fmla="*/ 451692 h 451692"/>
              <a:gd name="connsiteX6" fmla="*/ 0 w 5180683"/>
              <a:gd name="connsiteY6" fmla="*/ 451692 h 451692"/>
              <a:gd name="connsiteX7" fmla="*/ 0 w 5180683"/>
              <a:gd name="connsiteY7" fmla="*/ 0 h 451692"/>
              <a:gd name="connsiteX0" fmla="*/ 0 w 5180683"/>
              <a:gd name="connsiteY0" fmla="*/ 0 h 451692"/>
              <a:gd name="connsiteX1" fmla="*/ 5180683 w 5180683"/>
              <a:gd name="connsiteY1" fmla="*/ 0 h 451692"/>
              <a:gd name="connsiteX2" fmla="*/ 5180683 w 5180683"/>
              <a:gd name="connsiteY2" fmla="*/ 451692 h 451692"/>
              <a:gd name="connsiteX3" fmla="*/ 1632527 w 5180683"/>
              <a:gd name="connsiteY3" fmla="*/ 447074 h 451692"/>
              <a:gd name="connsiteX4" fmla="*/ 1129145 w 5180683"/>
              <a:gd name="connsiteY4" fmla="*/ 206928 h 451692"/>
              <a:gd name="connsiteX5" fmla="*/ 621145 w 5180683"/>
              <a:gd name="connsiteY5" fmla="*/ 451692 h 451692"/>
              <a:gd name="connsiteX6" fmla="*/ 0 w 5180683"/>
              <a:gd name="connsiteY6" fmla="*/ 451692 h 451692"/>
              <a:gd name="connsiteX7" fmla="*/ 0 w 5180683"/>
              <a:gd name="connsiteY7" fmla="*/ 0 h 451692"/>
              <a:gd name="connsiteX0" fmla="*/ 0 w 5180683"/>
              <a:gd name="connsiteY0" fmla="*/ 0 h 457744"/>
              <a:gd name="connsiteX1" fmla="*/ 5180683 w 5180683"/>
              <a:gd name="connsiteY1" fmla="*/ 0 h 457744"/>
              <a:gd name="connsiteX2" fmla="*/ 5180683 w 5180683"/>
              <a:gd name="connsiteY2" fmla="*/ 451692 h 457744"/>
              <a:gd name="connsiteX3" fmla="*/ 1632527 w 5180683"/>
              <a:gd name="connsiteY3" fmla="*/ 447074 h 457744"/>
              <a:gd name="connsiteX4" fmla="*/ 1563255 w 5180683"/>
              <a:gd name="connsiteY4" fmla="*/ 437837 h 457744"/>
              <a:gd name="connsiteX5" fmla="*/ 1129145 w 5180683"/>
              <a:gd name="connsiteY5" fmla="*/ 206928 h 457744"/>
              <a:gd name="connsiteX6" fmla="*/ 621145 w 5180683"/>
              <a:gd name="connsiteY6" fmla="*/ 451692 h 457744"/>
              <a:gd name="connsiteX7" fmla="*/ 0 w 5180683"/>
              <a:gd name="connsiteY7" fmla="*/ 451692 h 457744"/>
              <a:gd name="connsiteX8" fmla="*/ 0 w 5180683"/>
              <a:gd name="connsiteY8" fmla="*/ 0 h 457744"/>
              <a:gd name="connsiteX0" fmla="*/ 0 w 5180683"/>
              <a:gd name="connsiteY0" fmla="*/ 0 h 451692"/>
              <a:gd name="connsiteX1" fmla="*/ 5180683 w 5180683"/>
              <a:gd name="connsiteY1" fmla="*/ 0 h 451692"/>
              <a:gd name="connsiteX2" fmla="*/ 5180683 w 5180683"/>
              <a:gd name="connsiteY2" fmla="*/ 451692 h 451692"/>
              <a:gd name="connsiteX3" fmla="*/ 1632527 w 5180683"/>
              <a:gd name="connsiteY3" fmla="*/ 447074 h 451692"/>
              <a:gd name="connsiteX4" fmla="*/ 1447800 w 5180683"/>
              <a:gd name="connsiteY4" fmla="*/ 359328 h 451692"/>
              <a:gd name="connsiteX5" fmla="*/ 1129145 w 5180683"/>
              <a:gd name="connsiteY5" fmla="*/ 206928 h 451692"/>
              <a:gd name="connsiteX6" fmla="*/ 621145 w 5180683"/>
              <a:gd name="connsiteY6" fmla="*/ 451692 h 451692"/>
              <a:gd name="connsiteX7" fmla="*/ 0 w 5180683"/>
              <a:gd name="connsiteY7" fmla="*/ 451692 h 451692"/>
              <a:gd name="connsiteX8" fmla="*/ 0 w 5180683"/>
              <a:gd name="connsiteY8" fmla="*/ 0 h 451692"/>
              <a:gd name="connsiteX0" fmla="*/ 0 w 5180683"/>
              <a:gd name="connsiteY0" fmla="*/ 0 h 451692"/>
              <a:gd name="connsiteX1" fmla="*/ 5180683 w 5180683"/>
              <a:gd name="connsiteY1" fmla="*/ 0 h 451692"/>
              <a:gd name="connsiteX2" fmla="*/ 5180683 w 5180683"/>
              <a:gd name="connsiteY2" fmla="*/ 451692 h 451692"/>
              <a:gd name="connsiteX3" fmla="*/ 1632527 w 5180683"/>
              <a:gd name="connsiteY3" fmla="*/ 447074 h 451692"/>
              <a:gd name="connsiteX4" fmla="*/ 1447800 w 5180683"/>
              <a:gd name="connsiteY4" fmla="*/ 359328 h 451692"/>
              <a:gd name="connsiteX5" fmla="*/ 1129145 w 5180683"/>
              <a:gd name="connsiteY5" fmla="*/ 206928 h 451692"/>
              <a:gd name="connsiteX6" fmla="*/ 621145 w 5180683"/>
              <a:gd name="connsiteY6" fmla="*/ 451692 h 451692"/>
              <a:gd name="connsiteX7" fmla="*/ 0 w 5180683"/>
              <a:gd name="connsiteY7" fmla="*/ 451692 h 451692"/>
              <a:gd name="connsiteX8" fmla="*/ 0 w 5180683"/>
              <a:gd name="connsiteY8"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447800 w 5180683"/>
              <a:gd name="connsiteY5" fmla="*/ 359328 h 451692"/>
              <a:gd name="connsiteX6" fmla="*/ 1129145 w 5180683"/>
              <a:gd name="connsiteY6" fmla="*/ 206928 h 451692"/>
              <a:gd name="connsiteX7" fmla="*/ 621145 w 5180683"/>
              <a:gd name="connsiteY7" fmla="*/ 451692 h 451692"/>
              <a:gd name="connsiteX8" fmla="*/ 0 w 5180683"/>
              <a:gd name="connsiteY8" fmla="*/ 451692 h 451692"/>
              <a:gd name="connsiteX9" fmla="*/ 0 w 5180683"/>
              <a:gd name="connsiteY9"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447800 w 5180683"/>
              <a:gd name="connsiteY5" fmla="*/ 359328 h 451692"/>
              <a:gd name="connsiteX6" fmla="*/ 1129145 w 5180683"/>
              <a:gd name="connsiteY6" fmla="*/ 206928 h 451692"/>
              <a:gd name="connsiteX7" fmla="*/ 621145 w 5180683"/>
              <a:gd name="connsiteY7" fmla="*/ 451692 h 451692"/>
              <a:gd name="connsiteX8" fmla="*/ 0 w 5180683"/>
              <a:gd name="connsiteY8" fmla="*/ 451692 h 451692"/>
              <a:gd name="connsiteX9" fmla="*/ 0 w 5180683"/>
              <a:gd name="connsiteY9"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447800 w 5180683"/>
              <a:gd name="connsiteY5" fmla="*/ 294674 h 451692"/>
              <a:gd name="connsiteX6" fmla="*/ 1129145 w 5180683"/>
              <a:gd name="connsiteY6" fmla="*/ 206928 h 451692"/>
              <a:gd name="connsiteX7" fmla="*/ 621145 w 5180683"/>
              <a:gd name="connsiteY7" fmla="*/ 451692 h 451692"/>
              <a:gd name="connsiteX8" fmla="*/ 0 w 5180683"/>
              <a:gd name="connsiteY8" fmla="*/ 451692 h 451692"/>
              <a:gd name="connsiteX9" fmla="*/ 0 w 5180683"/>
              <a:gd name="connsiteY9"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457036 w 5180683"/>
              <a:gd name="connsiteY5" fmla="*/ 206928 h 451692"/>
              <a:gd name="connsiteX6" fmla="*/ 1129145 w 5180683"/>
              <a:gd name="connsiteY6" fmla="*/ 206928 h 451692"/>
              <a:gd name="connsiteX7" fmla="*/ 621145 w 5180683"/>
              <a:gd name="connsiteY7" fmla="*/ 451692 h 451692"/>
              <a:gd name="connsiteX8" fmla="*/ 0 w 5180683"/>
              <a:gd name="connsiteY8" fmla="*/ 451692 h 451692"/>
              <a:gd name="connsiteX9" fmla="*/ 0 w 5180683"/>
              <a:gd name="connsiteY9"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29145 w 5180683"/>
              <a:gd name="connsiteY6" fmla="*/ 206928 h 451692"/>
              <a:gd name="connsiteX7" fmla="*/ 621145 w 5180683"/>
              <a:gd name="connsiteY7" fmla="*/ 451692 h 451692"/>
              <a:gd name="connsiteX8" fmla="*/ 0 w 5180683"/>
              <a:gd name="connsiteY8" fmla="*/ 451692 h 451692"/>
              <a:gd name="connsiteX9" fmla="*/ 0 w 5180683"/>
              <a:gd name="connsiteY9"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29145 w 5180683"/>
              <a:gd name="connsiteY6" fmla="*/ 206928 h 451692"/>
              <a:gd name="connsiteX7" fmla="*/ 621145 w 5180683"/>
              <a:gd name="connsiteY7" fmla="*/ 451692 h 451692"/>
              <a:gd name="connsiteX8" fmla="*/ 0 w 5180683"/>
              <a:gd name="connsiteY8" fmla="*/ 451692 h 451692"/>
              <a:gd name="connsiteX9" fmla="*/ 0 w 5180683"/>
              <a:gd name="connsiteY9"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29145 w 5180683"/>
              <a:gd name="connsiteY6" fmla="*/ 206928 h 451692"/>
              <a:gd name="connsiteX7" fmla="*/ 847436 w 5180683"/>
              <a:gd name="connsiteY7" fmla="*/ 248492 h 451692"/>
              <a:gd name="connsiteX8" fmla="*/ 621145 w 5180683"/>
              <a:gd name="connsiteY8" fmla="*/ 451692 h 451692"/>
              <a:gd name="connsiteX9" fmla="*/ 0 w 5180683"/>
              <a:gd name="connsiteY9" fmla="*/ 451692 h 451692"/>
              <a:gd name="connsiteX10" fmla="*/ 0 w 5180683"/>
              <a:gd name="connsiteY10"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29145 w 5180683"/>
              <a:gd name="connsiteY6" fmla="*/ 206928 h 451692"/>
              <a:gd name="connsiteX7" fmla="*/ 847436 w 5180683"/>
              <a:gd name="connsiteY7" fmla="*/ 248492 h 451692"/>
              <a:gd name="connsiteX8" fmla="*/ 621145 w 5180683"/>
              <a:gd name="connsiteY8" fmla="*/ 451692 h 451692"/>
              <a:gd name="connsiteX9" fmla="*/ 0 w 5180683"/>
              <a:gd name="connsiteY9" fmla="*/ 451692 h 451692"/>
              <a:gd name="connsiteX10" fmla="*/ 0 w 5180683"/>
              <a:gd name="connsiteY10"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29145 w 5180683"/>
              <a:gd name="connsiteY6" fmla="*/ 206928 h 451692"/>
              <a:gd name="connsiteX7" fmla="*/ 847436 w 5180683"/>
              <a:gd name="connsiteY7" fmla="*/ 248492 h 451692"/>
              <a:gd name="connsiteX8" fmla="*/ 621145 w 5180683"/>
              <a:gd name="connsiteY8" fmla="*/ 451692 h 451692"/>
              <a:gd name="connsiteX9" fmla="*/ 0 w 5180683"/>
              <a:gd name="connsiteY9" fmla="*/ 451692 h 451692"/>
              <a:gd name="connsiteX10" fmla="*/ 0 w 5180683"/>
              <a:gd name="connsiteY10"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29145 w 5180683"/>
              <a:gd name="connsiteY6" fmla="*/ 206928 h 451692"/>
              <a:gd name="connsiteX7" fmla="*/ 852055 w 5180683"/>
              <a:gd name="connsiteY7" fmla="*/ 253110 h 451692"/>
              <a:gd name="connsiteX8" fmla="*/ 621145 w 5180683"/>
              <a:gd name="connsiteY8" fmla="*/ 451692 h 451692"/>
              <a:gd name="connsiteX9" fmla="*/ 0 w 5180683"/>
              <a:gd name="connsiteY9" fmla="*/ 451692 h 451692"/>
              <a:gd name="connsiteX10" fmla="*/ 0 w 5180683"/>
              <a:gd name="connsiteY10"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01436 w 5180683"/>
              <a:gd name="connsiteY6" fmla="*/ 216165 h 451692"/>
              <a:gd name="connsiteX7" fmla="*/ 852055 w 5180683"/>
              <a:gd name="connsiteY7" fmla="*/ 253110 h 451692"/>
              <a:gd name="connsiteX8" fmla="*/ 621145 w 5180683"/>
              <a:gd name="connsiteY8" fmla="*/ 451692 h 451692"/>
              <a:gd name="connsiteX9" fmla="*/ 0 w 5180683"/>
              <a:gd name="connsiteY9" fmla="*/ 451692 h 451692"/>
              <a:gd name="connsiteX10" fmla="*/ 0 w 5180683"/>
              <a:gd name="connsiteY10"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01436 w 5180683"/>
              <a:gd name="connsiteY6" fmla="*/ 216165 h 451692"/>
              <a:gd name="connsiteX7" fmla="*/ 842819 w 5180683"/>
              <a:gd name="connsiteY7" fmla="*/ 276201 h 451692"/>
              <a:gd name="connsiteX8" fmla="*/ 621145 w 5180683"/>
              <a:gd name="connsiteY8" fmla="*/ 451692 h 451692"/>
              <a:gd name="connsiteX9" fmla="*/ 0 w 5180683"/>
              <a:gd name="connsiteY9" fmla="*/ 451692 h 451692"/>
              <a:gd name="connsiteX10" fmla="*/ 0 w 5180683"/>
              <a:gd name="connsiteY10"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69291 w 5180683"/>
              <a:gd name="connsiteY5" fmla="*/ 253110 h 451692"/>
              <a:gd name="connsiteX6" fmla="*/ 1101436 w 5180683"/>
              <a:gd name="connsiteY6" fmla="*/ 234637 h 451692"/>
              <a:gd name="connsiteX7" fmla="*/ 842819 w 5180683"/>
              <a:gd name="connsiteY7" fmla="*/ 276201 h 451692"/>
              <a:gd name="connsiteX8" fmla="*/ 621145 w 5180683"/>
              <a:gd name="connsiteY8" fmla="*/ 451692 h 451692"/>
              <a:gd name="connsiteX9" fmla="*/ 0 w 5180683"/>
              <a:gd name="connsiteY9" fmla="*/ 451692 h 451692"/>
              <a:gd name="connsiteX10" fmla="*/ 0 w 5180683"/>
              <a:gd name="connsiteY10" fmla="*/ 0 h 451692"/>
              <a:gd name="connsiteX0" fmla="*/ 0 w 5180683"/>
              <a:gd name="connsiteY0" fmla="*/ 0 h 451692"/>
              <a:gd name="connsiteX1" fmla="*/ 5180683 w 5180683"/>
              <a:gd name="connsiteY1" fmla="*/ 0 h 451692"/>
              <a:gd name="connsiteX2" fmla="*/ 5180683 w 5180683"/>
              <a:gd name="connsiteY2" fmla="*/ 451692 h 451692"/>
              <a:gd name="connsiteX3" fmla="*/ 1701800 w 5180683"/>
              <a:gd name="connsiteY3" fmla="*/ 442456 h 451692"/>
              <a:gd name="connsiteX4" fmla="*/ 1632527 w 5180683"/>
              <a:gd name="connsiteY4" fmla="*/ 447074 h 451692"/>
              <a:gd name="connsiteX5" fmla="*/ 1350818 w 5180683"/>
              <a:gd name="connsiteY5" fmla="*/ 262346 h 451692"/>
              <a:gd name="connsiteX6" fmla="*/ 1101436 w 5180683"/>
              <a:gd name="connsiteY6" fmla="*/ 234637 h 451692"/>
              <a:gd name="connsiteX7" fmla="*/ 842819 w 5180683"/>
              <a:gd name="connsiteY7" fmla="*/ 276201 h 451692"/>
              <a:gd name="connsiteX8" fmla="*/ 621145 w 5180683"/>
              <a:gd name="connsiteY8" fmla="*/ 451692 h 451692"/>
              <a:gd name="connsiteX9" fmla="*/ 0 w 5180683"/>
              <a:gd name="connsiteY9" fmla="*/ 451692 h 451692"/>
              <a:gd name="connsiteX10" fmla="*/ 0 w 5180683"/>
              <a:gd name="connsiteY10" fmla="*/ 0 h 45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0683" h="451692">
                <a:moveTo>
                  <a:pt x="0" y="0"/>
                </a:moveTo>
                <a:lnTo>
                  <a:pt x="5180683" y="0"/>
                </a:lnTo>
                <a:lnTo>
                  <a:pt x="5180683" y="451692"/>
                </a:lnTo>
                <a:lnTo>
                  <a:pt x="1701800" y="442456"/>
                </a:lnTo>
                <a:lnTo>
                  <a:pt x="1632527" y="447074"/>
                </a:lnTo>
                <a:cubicBezTo>
                  <a:pt x="1588422" y="440146"/>
                  <a:pt x="1480897" y="270042"/>
                  <a:pt x="1350818" y="262346"/>
                </a:cubicBezTo>
                <a:cubicBezTo>
                  <a:pt x="1266921" y="222322"/>
                  <a:pt x="1258454" y="232328"/>
                  <a:pt x="1101436" y="234637"/>
                </a:cubicBezTo>
                <a:cubicBezTo>
                  <a:pt x="1014460" y="233867"/>
                  <a:pt x="927486" y="235407"/>
                  <a:pt x="842819" y="276201"/>
                </a:cubicBezTo>
                <a:cubicBezTo>
                  <a:pt x="601133" y="413977"/>
                  <a:pt x="762384" y="417825"/>
                  <a:pt x="621145" y="451692"/>
                </a:cubicBezTo>
                <a:lnTo>
                  <a:pt x="0" y="45169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Rectangle 16"/>
          <p:cNvSpPr/>
          <p:nvPr/>
        </p:nvSpPr>
        <p:spPr>
          <a:xfrm>
            <a:off x="6165614" y="1535630"/>
            <a:ext cx="5252459" cy="486507"/>
          </a:xfrm>
          <a:custGeom>
            <a:avLst/>
            <a:gdLst>
              <a:gd name="connsiteX0" fmla="*/ 0 w 5180683"/>
              <a:gd name="connsiteY0" fmla="*/ 0 h 486507"/>
              <a:gd name="connsiteX1" fmla="*/ 5180683 w 5180683"/>
              <a:gd name="connsiteY1" fmla="*/ 0 h 486507"/>
              <a:gd name="connsiteX2" fmla="*/ 5180683 w 5180683"/>
              <a:gd name="connsiteY2" fmla="*/ 486507 h 486507"/>
              <a:gd name="connsiteX3" fmla="*/ 0 w 5180683"/>
              <a:gd name="connsiteY3" fmla="*/ 486507 h 486507"/>
              <a:gd name="connsiteX4" fmla="*/ 0 w 5180683"/>
              <a:gd name="connsiteY4" fmla="*/ 0 h 486507"/>
              <a:gd name="connsiteX0" fmla="*/ 0 w 5180683"/>
              <a:gd name="connsiteY0" fmla="*/ 0 h 486507"/>
              <a:gd name="connsiteX1" fmla="*/ 5180683 w 5180683"/>
              <a:gd name="connsiteY1" fmla="*/ 0 h 486507"/>
              <a:gd name="connsiteX2" fmla="*/ 5180683 w 5180683"/>
              <a:gd name="connsiteY2" fmla="*/ 486507 h 486507"/>
              <a:gd name="connsiteX3" fmla="*/ 3049948 w 5180683"/>
              <a:gd name="connsiteY3" fmla="*/ 486506 h 486507"/>
              <a:gd name="connsiteX4" fmla="*/ 0 w 5180683"/>
              <a:gd name="connsiteY4" fmla="*/ 486507 h 486507"/>
              <a:gd name="connsiteX5" fmla="*/ 0 w 5180683"/>
              <a:gd name="connsiteY5" fmla="*/ 0 h 486507"/>
              <a:gd name="connsiteX0" fmla="*/ 0 w 5180683"/>
              <a:gd name="connsiteY0" fmla="*/ 0 h 486507"/>
              <a:gd name="connsiteX1" fmla="*/ 5180683 w 5180683"/>
              <a:gd name="connsiteY1" fmla="*/ 0 h 486507"/>
              <a:gd name="connsiteX2" fmla="*/ 5180683 w 5180683"/>
              <a:gd name="connsiteY2" fmla="*/ 128699 h 486507"/>
              <a:gd name="connsiteX3" fmla="*/ 3049948 w 5180683"/>
              <a:gd name="connsiteY3" fmla="*/ 486506 h 486507"/>
              <a:gd name="connsiteX4" fmla="*/ 0 w 5180683"/>
              <a:gd name="connsiteY4" fmla="*/ 486507 h 486507"/>
              <a:gd name="connsiteX5" fmla="*/ 0 w 5180683"/>
              <a:gd name="connsiteY5" fmla="*/ 0 h 486507"/>
              <a:gd name="connsiteX0" fmla="*/ 0 w 5180683"/>
              <a:gd name="connsiteY0" fmla="*/ 0 h 486507"/>
              <a:gd name="connsiteX1" fmla="*/ 5180683 w 5180683"/>
              <a:gd name="connsiteY1" fmla="*/ 0 h 486507"/>
              <a:gd name="connsiteX2" fmla="*/ 5172731 w 5180683"/>
              <a:gd name="connsiteY2" fmla="*/ 160504 h 486507"/>
              <a:gd name="connsiteX3" fmla="*/ 3049948 w 5180683"/>
              <a:gd name="connsiteY3" fmla="*/ 486506 h 486507"/>
              <a:gd name="connsiteX4" fmla="*/ 0 w 5180683"/>
              <a:gd name="connsiteY4" fmla="*/ 486507 h 486507"/>
              <a:gd name="connsiteX5" fmla="*/ 0 w 5180683"/>
              <a:gd name="connsiteY5" fmla="*/ 0 h 486507"/>
              <a:gd name="connsiteX0" fmla="*/ 0 w 5180683"/>
              <a:gd name="connsiteY0" fmla="*/ 0 h 486507"/>
              <a:gd name="connsiteX1" fmla="*/ 5180683 w 5180683"/>
              <a:gd name="connsiteY1" fmla="*/ 0 h 486507"/>
              <a:gd name="connsiteX2" fmla="*/ 5172731 w 5180683"/>
              <a:gd name="connsiteY2" fmla="*/ 160504 h 486507"/>
              <a:gd name="connsiteX3" fmla="*/ 3049948 w 5180683"/>
              <a:gd name="connsiteY3" fmla="*/ 486506 h 486507"/>
              <a:gd name="connsiteX4" fmla="*/ 0 w 5180683"/>
              <a:gd name="connsiteY4" fmla="*/ 486507 h 486507"/>
              <a:gd name="connsiteX5" fmla="*/ 0 w 5180683"/>
              <a:gd name="connsiteY5" fmla="*/ 0 h 486507"/>
              <a:gd name="connsiteX0" fmla="*/ 0 w 5180683"/>
              <a:gd name="connsiteY0" fmla="*/ 0 h 486507"/>
              <a:gd name="connsiteX1" fmla="*/ 5180683 w 5180683"/>
              <a:gd name="connsiteY1" fmla="*/ 0 h 486507"/>
              <a:gd name="connsiteX2" fmla="*/ 5172731 w 5180683"/>
              <a:gd name="connsiteY2" fmla="*/ 160504 h 486507"/>
              <a:gd name="connsiteX3" fmla="*/ 3049948 w 5180683"/>
              <a:gd name="connsiteY3" fmla="*/ 486506 h 486507"/>
              <a:gd name="connsiteX4" fmla="*/ 0 w 5180683"/>
              <a:gd name="connsiteY4" fmla="*/ 486507 h 486507"/>
              <a:gd name="connsiteX5" fmla="*/ 0 w 5180683"/>
              <a:gd name="connsiteY5" fmla="*/ 0 h 486507"/>
              <a:gd name="connsiteX0" fmla="*/ 0 w 5180683"/>
              <a:gd name="connsiteY0" fmla="*/ 0 h 486507"/>
              <a:gd name="connsiteX1" fmla="*/ 5180683 w 5180683"/>
              <a:gd name="connsiteY1" fmla="*/ 0 h 486507"/>
              <a:gd name="connsiteX2" fmla="*/ 5172731 w 5180683"/>
              <a:gd name="connsiteY2" fmla="*/ 160504 h 486507"/>
              <a:gd name="connsiteX3" fmla="*/ 3049948 w 5180683"/>
              <a:gd name="connsiteY3" fmla="*/ 486506 h 486507"/>
              <a:gd name="connsiteX4" fmla="*/ 1620121 w 5180683"/>
              <a:gd name="connsiteY4" fmla="*/ 486506 h 486507"/>
              <a:gd name="connsiteX5" fmla="*/ 0 w 5180683"/>
              <a:gd name="connsiteY5" fmla="*/ 486507 h 486507"/>
              <a:gd name="connsiteX6" fmla="*/ 0 w 5180683"/>
              <a:gd name="connsiteY6" fmla="*/ 0 h 486507"/>
              <a:gd name="connsiteX0" fmla="*/ 0 w 5180683"/>
              <a:gd name="connsiteY0" fmla="*/ 0 h 486507"/>
              <a:gd name="connsiteX1" fmla="*/ 5180683 w 5180683"/>
              <a:gd name="connsiteY1" fmla="*/ 0 h 486507"/>
              <a:gd name="connsiteX2" fmla="*/ 5172731 w 5180683"/>
              <a:gd name="connsiteY2" fmla="*/ 160504 h 486507"/>
              <a:gd name="connsiteX3" fmla="*/ 3089162 w 5180683"/>
              <a:gd name="connsiteY3" fmla="*/ 319528 h 486507"/>
              <a:gd name="connsiteX4" fmla="*/ 1620121 w 5180683"/>
              <a:gd name="connsiteY4" fmla="*/ 486506 h 486507"/>
              <a:gd name="connsiteX5" fmla="*/ 0 w 5180683"/>
              <a:gd name="connsiteY5" fmla="*/ 486507 h 486507"/>
              <a:gd name="connsiteX6" fmla="*/ 0 w 5180683"/>
              <a:gd name="connsiteY6" fmla="*/ 0 h 486507"/>
              <a:gd name="connsiteX0" fmla="*/ 0 w 5180683"/>
              <a:gd name="connsiteY0" fmla="*/ 0 h 486507"/>
              <a:gd name="connsiteX1" fmla="*/ 5180683 w 5180683"/>
              <a:gd name="connsiteY1" fmla="*/ 0 h 486507"/>
              <a:gd name="connsiteX2" fmla="*/ 5172731 w 5180683"/>
              <a:gd name="connsiteY2" fmla="*/ 160504 h 486507"/>
              <a:gd name="connsiteX3" fmla="*/ 3402868 w 5180683"/>
              <a:gd name="connsiteY3" fmla="*/ 375187 h 486507"/>
              <a:gd name="connsiteX4" fmla="*/ 1620121 w 5180683"/>
              <a:gd name="connsiteY4" fmla="*/ 486506 h 486507"/>
              <a:gd name="connsiteX5" fmla="*/ 0 w 5180683"/>
              <a:gd name="connsiteY5" fmla="*/ 486507 h 486507"/>
              <a:gd name="connsiteX6" fmla="*/ 0 w 5180683"/>
              <a:gd name="connsiteY6" fmla="*/ 0 h 486507"/>
              <a:gd name="connsiteX0" fmla="*/ 0 w 5180683"/>
              <a:gd name="connsiteY0" fmla="*/ 0 h 486507"/>
              <a:gd name="connsiteX1" fmla="*/ 5180683 w 5180683"/>
              <a:gd name="connsiteY1" fmla="*/ 0 h 486507"/>
              <a:gd name="connsiteX2" fmla="*/ 5172731 w 5180683"/>
              <a:gd name="connsiteY2" fmla="*/ 160504 h 486507"/>
              <a:gd name="connsiteX3" fmla="*/ 3402868 w 5180683"/>
              <a:gd name="connsiteY3" fmla="*/ 375187 h 486507"/>
              <a:gd name="connsiteX4" fmla="*/ 2482812 w 5180683"/>
              <a:gd name="connsiteY4" fmla="*/ 247967 h 486507"/>
              <a:gd name="connsiteX5" fmla="*/ 1620121 w 5180683"/>
              <a:gd name="connsiteY5" fmla="*/ 486506 h 486507"/>
              <a:gd name="connsiteX6" fmla="*/ 0 w 5180683"/>
              <a:gd name="connsiteY6" fmla="*/ 486507 h 486507"/>
              <a:gd name="connsiteX7" fmla="*/ 0 w 5180683"/>
              <a:gd name="connsiteY7" fmla="*/ 0 h 486507"/>
              <a:gd name="connsiteX0" fmla="*/ 0 w 5180683"/>
              <a:gd name="connsiteY0" fmla="*/ 0 h 486507"/>
              <a:gd name="connsiteX1" fmla="*/ 5180683 w 5180683"/>
              <a:gd name="connsiteY1" fmla="*/ 0 h 486507"/>
              <a:gd name="connsiteX2" fmla="*/ 5172731 w 5180683"/>
              <a:gd name="connsiteY2" fmla="*/ 160504 h 486507"/>
              <a:gd name="connsiteX3" fmla="*/ 3402868 w 5180683"/>
              <a:gd name="connsiteY3" fmla="*/ 375187 h 486507"/>
              <a:gd name="connsiteX4" fmla="*/ 2474969 w 5180683"/>
              <a:gd name="connsiteY4" fmla="*/ 359285 h 486507"/>
              <a:gd name="connsiteX5" fmla="*/ 1620121 w 5180683"/>
              <a:gd name="connsiteY5" fmla="*/ 486506 h 486507"/>
              <a:gd name="connsiteX6" fmla="*/ 0 w 5180683"/>
              <a:gd name="connsiteY6" fmla="*/ 486507 h 486507"/>
              <a:gd name="connsiteX7" fmla="*/ 0 w 5180683"/>
              <a:gd name="connsiteY7" fmla="*/ 0 h 486507"/>
              <a:gd name="connsiteX0" fmla="*/ 0 w 5180683"/>
              <a:gd name="connsiteY0" fmla="*/ 0 h 486507"/>
              <a:gd name="connsiteX1" fmla="*/ 5180683 w 5180683"/>
              <a:gd name="connsiteY1" fmla="*/ 0 h 486507"/>
              <a:gd name="connsiteX2" fmla="*/ 5172731 w 5180683"/>
              <a:gd name="connsiteY2" fmla="*/ 160504 h 486507"/>
              <a:gd name="connsiteX3" fmla="*/ 3402868 w 5180683"/>
              <a:gd name="connsiteY3" fmla="*/ 375187 h 486507"/>
              <a:gd name="connsiteX4" fmla="*/ 2474969 w 5180683"/>
              <a:gd name="connsiteY4" fmla="*/ 359285 h 486507"/>
              <a:gd name="connsiteX5" fmla="*/ 1620121 w 5180683"/>
              <a:gd name="connsiteY5" fmla="*/ 486506 h 486507"/>
              <a:gd name="connsiteX6" fmla="*/ 0 w 5180683"/>
              <a:gd name="connsiteY6" fmla="*/ 486507 h 486507"/>
              <a:gd name="connsiteX7" fmla="*/ 0 w 5180683"/>
              <a:gd name="connsiteY7" fmla="*/ 0 h 48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0683" h="486507">
                <a:moveTo>
                  <a:pt x="0" y="0"/>
                </a:moveTo>
                <a:lnTo>
                  <a:pt x="5180683" y="0"/>
                </a:lnTo>
                <a:lnTo>
                  <a:pt x="5172731" y="160504"/>
                </a:lnTo>
                <a:cubicBezTo>
                  <a:pt x="3582542" y="293025"/>
                  <a:pt x="4110462" y="266520"/>
                  <a:pt x="3402868" y="375187"/>
                </a:cubicBezTo>
                <a:cubicBezTo>
                  <a:pt x="3085726" y="393740"/>
                  <a:pt x="3035234" y="316878"/>
                  <a:pt x="2474969" y="359285"/>
                </a:cubicBezTo>
                <a:lnTo>
                  <a:pt x="1620121" y="486506"/>
                </a:lnTo>
                <a:lnTo>
                  <a:pt x="0" y="48650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ooter Placeholder 11">
            <a:extLst>
              <a:ext uri="{FF2B5EF4-FFF2-40B4-BE49-F238E27FC236}">
                <a16:creationId xmlns:a16="http://schemas.microsoft.com/office/drawing/2014/main" id="{907D8B8D-7D5D-4B77-BBA5-87BFBBE96E7E}"/>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3" name="Slide Number Placeholder 12">
            <a:extLst>
              <a:ext uri="{FF2B5EF4-FFF2-40B4-BE49-F238E27FC236}">
                <a16:creationId xmlns:a16="http://schemas.microsoft.com/office/drawing/2014/main" id="{1E14E9C0-5232-4224-960D-8C80D79D1D2B}"/>
              </a:ext>
            </a:extLst>
          </p:cNvPr>
          <p:cNvSpPr>
            <a:spLocks noGrp="1"/>
          </p:cNvSpPr>
          <p:nvPr>
            <p:ph type="sldNum" sz="quarter" idx="16"/>
          </p:nvPr>
        </p:nvSpPr>
        <p:spPr/>
        <p:txBody>
          <a:bodyPr/>
          <a:lstStyle/>
          <a:p>
            <a:fld id="{5382645D-9DD6-408C-B0EA-C65795F9B1DE}" type="slidenum">
              <a:rPr lang="en-US" smtClean="0"/>
              <a:pPr/>
              <a:t>27</a:t>
            </a:fld>
            <a:endParaRPr lang="en-US"/>
          </a:p>
        </p:txBody>
      </p:sp>
      <p:sp>
        <p:nvSpPr>
          <p:cNvPr id="2" name="Text Placeholder 1"/>
          <p:cNvSpPr>
            <a:spLocks noGrp="1"/>
          </p:cNvSpPr>
          <p:nvPr>
            <p:ph type="body" sz="quarter" idx="14"/>
          </p:nvPr>
        </p:nvSpPr>
        <p:spPr>
          <a:xfrm>
            <a:off x="838200" y="1307592"/>
            <a:ext cx="11014276" cy="341632"/>
          </a:xfrm>
        </p:spPr>
        <p:txBody>
          <a:bodyPr/>
          <a:lstStyle/>
          <a:p>
            <a:r>
              <a:rPr lang="en-US"/>
              <a:t>Take time to know Your neighbors and your surroundings</a:t>
            </a:r>
          </a:p>
        </p:txBody>
      </p:sp>
      <p:sp>
        <p:nvSpPr>
          <p:cNvPr id="30" name="Rectangle 29">
            <a:extLst>
              <a:ext uri="{FF2B5EF4-FFF2-40B4-BE49-F238E27FC236}">
                <a16:creationId xmlns:a16="http://schemas.microsoft.com/office/drawing/2014/main" id="{6EAEA2B8-7CB3-4678-BB07-7E2AF6A2BD4C}"/>
              </a:ext>
            </a:extLst>
          </p:cNvPr>
          <p:cNvSpPr/>
          <p:nvPr/>
        </p:nvSpPr>
        <p:spPr>
          <a:xfrm>
            <a:off x="6165614" y="2022136"/>
            <a:ext cx="5174257" cy="33612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Rectangle 37">
            <a:extLst>
              <a:ext uri="{FF2B5EF4-FFF2-40B4-BE49-F238E27FC236}">
                <a16:creationId xmlns:a16="http://schemas.microsoft.com/office/drawing/2014/main" id="{8396322B-055F-41F7-A7A0-A449EBB046C7}"/>
              </a:ext>
            </a:extLst>
          </p:cNvPr>
          <p:cNvSpPr/>
          <p:nvPr/>
        </p:nvSpPr>
        <p:spPr>
          <a:xfrm>
            <a:off x="6390274" y="2887144"/>
            <a:ext cx="4582526" cy="1631216"/>
          </a:xfrm>
          <a:prstGeom prst="rect">
            <a:avLst/>
          </a:prstGeom>
        </p:spPr>
        <p:txBody>
          <a:bodyPr wrap="square" anchor="ctr">
            <a:spAutoFit/>
          </a:bodyPr>
          <a:lstStyle/>
          <a:p>
            <a:pPr lvl="0" algn="ctr">
              <a:defRPr/>
            </a:pPr>
            <a:r>
              <a:rPr lang="en-US" sz="2000" b="1" kern="0">
                <a:solidFill>
                  <a:schemeClr val="bg1"/>
                </a:solidFill>
                <a:latin typeface="Arial Narrow"/>
              </a:rPr>
              <a:t>Document in the application records that a sensitive crop registry (registry name and date) was consulted AND that adjacent areas were surveyed for sensitive crops and certain plants prior to application</a:t>
            </a:r>
            <a:endParaRPr kumimoji="0" lang="en-US" b="1" i="0" u="none" strike="noStrike" kern="0" cap="none" spc="0" normalizeH="0" baseline="30000" noProof="0">
              <a:ln>
                <a:noFill/>
              </a:ln>
              <a:solidFill>
                <a:schemeClr val="bg1"/>
              </a:solidFill>
              <a:effectLst/>
              <a:uLnTx/>
              <a:uFillTx/>
              <a:latin typeface="Arial Narrow"/>
            </a:endParaRPr>
          </a:p>
        </p:txBody>
      </p:sp>
      <p:sp>
        <p:nvSpPr>
          <p:cNvPr id="39" name="TextBox 38">
            <a:extLst>
              <a:ext uri="{FF2B5EF4-FFF2-40B4-BE49-F238E27FC236}">
                <a16:creationId xmlns:a16="http://schemas.microsoft.com/office/drawing/2014/main" id="{17F6D992-05A3-4E04-B248-E058A2C6D8B5}"/>
              </a:ext>
            </a:extLst>
          </p:cNvPr>
          <p:cNvSpPr txBox="1"/>
          <p:nvPr/>
        </p:nvSpPr>
        <p:spPr>
          <a:xfrm>
            <a:off x="754841" y="5493472"/>
            <a:ext cx="33028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rPr>
              <a:t>*</a:t>
            </a:r>
          </a:p>
        </p:txBody>
      </p:sp>
      <p:sp>
        <p:nvSpPr>
          <p:cNvPr id="41" name="Content Placeholder 5">
            <a:extLst>
              <a:ext uri="{FF2B5EF4-FFF2-40B4-BE49-F238E27FC236}">
                <a16:creationId xmlns:a16="http://schemas.microsoft.com/office/drawing/2014/main" id="{F2E57A28-CB96-4DD0-BE19-81BB7EC6DDFC}"/>
              </a:ext>
            </a:extLst>
          </p:cNvPr>
          <p:cNvSpPr txBox="1">
            <a:spLocks/>
          </p:cNvSpPr>
          <p:nvPr/>
        </p:nvSpPr>
        <p:spPr>
          <a:xfrm>
            <a:off x="1030769" y="6022715"/>
            <a:ext cx="6029249" cy="2308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lang="en-US" sz="1000">
                <a:latin typeface="Arial Narrow" charset="0"/>
              </a:rPr>
              <a:t>*Registry examples; consult your state authority for other crop registries.  Contact Bayer at 844-RRXTEND for questions.</a:t>
            </a:r>
            <a:endParaRPr kumimoji="0" lang="en-US" sz="1000" b="0" i="0" u="none" strike="noStrike" kern="1200" cap="none" spc="0" normalizeH="0" baseline="0" noProof="0">
              <a:ln>
                <a:noFill/>
              </a:ln>
              <a:solidFill>
                <a:schemeClr val="tx1"/>
              </a:solidFill>
              <a:effectLst/>
              <a:uLnTx/>
              <a:uFillTx/>
              <a:latin typeface="Arial Narrow" charset="0"/>
              <a:ea typeface="+mn-ea"/>
              <a:cs typeface="+mn-cs"/>
            </a:endParaRPr>
          </a:p>
        </p:txBody>
      </p:sp>
      <p:pic>
        <p:nvPicPr>
          <p:cNvPr id="4" name="Picture 3">
            <a:extLst>
              <a:ext uri="{FF2B5EF4-FFF2-40B4-BE49-F238E27FC236}">
                <a16:creationId xmlns:a16="http://schemas.microsoft.com/office/drawing/2014/main" id="{47B32B40-5D97-49FB-AA00-CD1AE626041D}"/>
              </a:ext>
            </a:extLst>
          </p:cNvPr>
          <p:cNvPicPr>
            <a:picLocks noChangeAspect="1"/>
          </p:cNvPicPr>
          <p:nvPr/>
        </p:nvPicPr>
        <p:blipFill>
          <a:blip r:embed="rId8"/>
          <a:stretch>
            <a:fillRect/>
          </a:stretch>
        </p:blipFill>
        <p:spPr>
          <a:xfrm>
            <a:off x="909637" y="6341274"/>
            <a:ext cx="1171575" cy="495300"/>
          </a:xfrm>
          <a:prstGeom prst="rect">
            <a:avLst/>
          </a:prstGeom>
        </p:spPr>
      </p:pic>
      <p:pic>
        <p:nvPicPr>
          <p:cNvPr id="6" name="Picture 5">
            <a:extLst>
              <a:ext uri="{FF2B5EF4-FFF2-40B4-BE49-F238E27FC236}">
                <a16:creationId xmlns:a16="http://schemas.microsoft.com/office/drawing/2014/main" id="{7376F8D9-BF21-48C8-AD21-665A95CFA5F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013427" y="5610964"/>
            <a:ext cx="1376847" cy="369398"/>
          </a:xfrm>
          <a:prstGeom prst="rect">
            <a:avLst/>
          </a:prstGeom>
        </p:spPr>
      </p:pic>
      <p:pic>
        <p:nvPicPr>
          <p:cNvPr id="24" name="Picture 23">
            <a:extLst>
              <a:ext uri="{FF2B5EF4-FFF2-40B4-BE49-F238E27FC236}">
                <a16:creationId xmlns:a16="http://schemas.microsoft.com/office/drawing/2014/main" id="{AB7D02E7-8BA1-4D86-98F2-D8775D5A02A8}"/>
              </a:ext>
            </a:extLst>
          </p:cNvPr>
          <p:cNvPicPr>
            <a:picLocks noChangeAspect="1"/>
          </p:cNvPicPr>
          <p:nvPr/>
        </p:nvPicPr>
        <p:blipFill>
          <a:blip r:embed="rId10"/>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222215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FDDA2FF6-1FD6-4F21-B09D-655588E8F01E}"/>
              </a:ext>
            </a:extLst>
          </p:cNvPr>
          <p:cNvSpPr/>
          <p:nvPr/>
        </p:nvSpPr>
        <p:spPr>
          <a:xfrm>
            <a:off x="0" y="2766790"/>
            <a:ext cx="12172055" cy="131246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Rectangle 53"/>
          <p:cNvSpPr/>
          <p:nvPr/>
        </p:nvSpPr>
        <p:spPr>
          <a:xfrm>
            <a:off x="838199" y="2013694"/>
            <a:ext cx="10515600" cy="32675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Text Placeholder 3"/>
          <p:cNvSpPr txBox="1">
            <a:spLocks/>
          </p:cNvSpPr>
          <p:nvPr/>
        </p:nvSpPr>
        <p:spPr>
          <a:xfrm>
            <a:off x="946760" y="1748537"/>
            <a:ext cx="10307192" cy="369332"/>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Arial Black" panose="020B0A04020102020204" pitchFamily="34" charset="0"/>
              </a:rPr>
              <a:t>VISUAL SYMPTOMOLOGY SCALE FOR DICAMBA</a:t>
            </a:r>
          </a:p>
        </p:txBody>
      </p:sp>
      <p:sp>
        <p:nvSpPr>
          <p:cNvPr id="60" name="Isosceles Triangle 59">
            <a:extLst>
              <a:ext uri="{FF2B5EF4-FFF2-40B4-BE49-F238E27FC236}">
                <a16:creationId xmlns:a16="http://schemas.microsoft.com/office/drawing/2014/main" id="{A6ADE790-3EA4-46B9-BE66-3492D0679610}"/>
              </a:ext>
            </a:extLst>
          </p:cNvPr>
          <p:cNvSpPr/>
          <p:nvPr/>
        </p:nvSpPr>
        <p:spPr>
          <a:xfrm rot="16200000">
            <a:off x="529273" y="3320995"/>
            <a:ext cx="416000" cy="20405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Isosceles Triangle 60">
            <a:extLst>
              <a:ext uri="{FF2B5EF4-FFF2-40B4-BE49-F238E27FC236}">
                <a16:creationId xmlns:a16="http://schemas.microsoft.com/office/drawing/2014/main" id="{A6ADE790-3EA4-46B9-BE66-3492D0679610}"/>
              </a:ext>
            </a:extLst>
          </p:cNvPr>
          <p:cNvSpPr/>
          <p:nvPr/>
        </p:nvSpPr>
        <p:spPr>
          <a:xfrm rot="5400000" flipH="1">
            <a:off x="11248279" y="3320995"/>
            <a:ext cx="416000" cy="20405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Content Placeholder 18">
            <a:extLst>
              <a:ext uri="{FF2B5EF4-FFF2-40B4-BE49-F238E27FC236}">
                <a16:creationId xmlns:a16="http://schemas.microsoft.com/office/drawing/2014/main" id="{6F900175-9AA1-4744-93C3-DBDEA46FF489}"/>
              </a:ext>
            </a:extLst>
          </p:cNvPr>
          <p:cNvSpPr txBox="1">
            <a:spLocks/>
          </p:cNvSpPr>
          <p:nvPr/>
        </p:nvSpPr>
        <p:spPr>
          <a:xfrm>
            <a:off x="838199" y="5310574"/>
            <a:ext cx="10515600" cy="136909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Herbicide Rate of Visually Detectable Symptomology: </a:t>
            </a:r>
            <a:r>
              <a:rPr kumimoji="0" lang="en-US" sz="16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rPr>
              <a:t>For relative comparison, tomato, squash, </a:t>
            </a:r>
            <a:br>
              <a:rPr kumimoji="0" lang="en-US" sz="16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rPr>
              <a:t>and watermelon response to glyphosate for visual symptomology would be in the “lower” category</a:t>
            </a:r>
            <a:r>
              <a:rPr kumimoji="0" lang="en-US" sz="1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rPr>
              <a:t>.</a:t>
            </a:r>
          </a:p>
        </p:txBody>
      </p:sp>
      <p:sp>
        <p:nvSpPr>
          <p:cNvPr id="63" name="Rectangle 62"/>
          <p:cNvSpPr/>
          <p:nvPr/>
        </p:nvSpPr>
        <p:spPr>
          <a:xfrm>
            <a:off x="960924" y="2210469"/>
            <a:ext cx="2475182" cy="2535762"/>
          </a:xfrm>
          <a:prstGeom prst="rect">
            <a:avLst/>
          </a:prstGeom>
          <a:solidFill>
            <a:schemeClr val="accent4">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TextBox 63"/>
          <p:cNvSpPr txBox="1"/>
          <p:nvPr/>
        </p:nvSpPr>
        <p:spPr>
          <a:xfrm>
            <a:off x="1591611" y="2356227"/>
            <a:ext cx="1281866" cy="276999"/>
          </a:xfrm>
          <a:prstGeom prst="rect">
            <a:avLst/>
          </a:prstGeom>
          <a:noFill/>
          <a:ln w="38100">
            <a:solidFill>
              <a:schemeClr val="tx1"/>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LOWER</a:t>
            </a:r>
          </a:p>
        </p:txBody>
      </p:sp>
      <p:sp>
        <p:nvSpPr>
          <p:cNvPr id="65" name="Rectangle 64"/>
          <p:cNvSpPr/>
          <p:nvPr/>
        </p:nvSpPr>
        <p:spPr>
          <a:xfrm>
            <a:off x="954936" y="2210469"/>
            <a:ext cx="2466212" cy="2973496"/>
          </a:xfrm>
          <a:prstGeom prst="rect">
            <a:avLst/>
          </a:prstGeom>
          <a:noFill/>
          <a:ln w="381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TextBox 65"/>
          <p:cNvSpPr txBox="1"/>
          <p:nvPr/>
        </p:nvSpPr>
        <p:spPr>
          <a:xfrm>
            <a:off x="946760" y="2743640"/>
            <a:ext cx="2474387" cy="1837426"/>
          </a:xfrm>
          <a:prstGeom prst="rect">
            <a:avLst/>
          </a:prstGeom>
          <a:noFill/>
        </p:spPr>
        <p:txBody>
          <a:bodyPr wrap="square" rtlCol="0">
            <a:sp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Broccoli</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Collards</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Cabbage</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Kale</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Mustard</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Pecan</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Turnip</a:t>
            </a:r>
            <a:endParaRPr kumimoji="0" lang="en-US" sz="1800" b="0" i="0" u="none" strike="noStrike" kern="0" cap="none" spc="0" normalizeH="0" baseline="0" noProof="0">
              <a:ln>
                <a:noFill/>
              </a:ln>
              <a:solidFill>
                <a:sysClr val="windowText" lastClr="000000"/>
              </a:solidFill>
              <a:effectLst/>
              <a:uLnTx/>
              <a:uFillTx/>
            </a:endParaRPr>
          </a:p>
        </p:txBody>
      </p:sp>
      <p:sp>
        <p:nvSpPr>
          <p:cNvPr id="67" name="TextBox 66"/>
          <p:cNvSpPr txBox="1"/>
          <p:nvPr/>
        </p:nvSpPr>
        <p:spPr>
          <a:xfrm>
            <a:off x="946760" y="4780432"/>
            <a:ext cx="2462947"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solidFill>
                  <a:sysClr val="windowText" lastClr="000000"/>
                </a:solidFill>
                <a:effectLst/>
                <a:uLnTx/>
                <a:uFillTx/>
                <a:latin typeface="Arial Narrow" charset="0"/>
                <a:ea typeface="Arial Narrow" charset="0"/>
                <a:cs typeface="Arial Narrow" charset="0"/>
              </a:rPr>
              <a:t>&gt;1/75X</a:t>
            </a:r>
          </a:p>
        </p:txBody>
      </p:sp>
      <p:sp>
        <p:nvSpPr>
          <p:cNvPr id="69" name="Rectangle 68"/>
          <p:cNvSpPr/>
          <p:nvPr/>
        </p:nvSpPr>
        <p:spPr>
          <a:xfrm>
            <a:off x="3543880" y="2210469"/>
            <a:ext cx="2495682" cy="2535762"/>
          </a:xfrm>
          <a:prstGeom prst="rect">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TextBox 69"/>
          <p:cNvSpPr txBox="1"/>
          <p:nvPr/>
        </p:nvSpPr>
        <p:spPr>
          <a:xfrm>
            <a:off x="4195290" y="2356227"/>
            <a:ext cx="1281866" cy="276999"/>
          </a:xfrm>
          <a:prstGeom prst="rect">
            <a:avLst/>
          </a:prstGeom>
          <a:noFill/>
          <a:ln w="38100">
            <a:solidFill>
              <a:schemeClr val="tx1"/>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MODERATE</a:t>
            </a:r>
          </a:p>
        </p:txBody>
      </p:sp>
      <p:sp>
        <p:nvSpPr>
          <p:cNvPr id="71" name="Rectangle 70"/>
          <p:cNvSpPr/>
          <p:nvPr/>
        </p:nvSpPr>
        <p:spPr>
          <a:xfrm>
            <a:off x="3558615" y="2210469"/>
            <a:ext cx="2466212" cy="2973496"/>
          </a:xfrm>
          <a:prstGeom prst="rect">
            <a:avLst/>
          </a:prstGeom>
          <a:noFill/>
          <a:ln w="381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TextBox 71"/>
          <p:cNvSpPr txBox="1"/>
          <p:nvPr/>
        </p:nvSpPr>
        <p:spPr>
          <a:xfrm>
            <a:off x="3550439" y="2743640"/>
            <a:ext cx="2474387" cy="1588127"/>
          </a:xfrm>
          <a:prstGeom prst="rect">
            <a:avLst/>
          </a:prstGeom>
          <a:noFill/>
        </p:spPr>
        <p:txBody>
          <a:bodyPr wrap="square" rtlCol="0">
            <a:sp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Cantaloupe</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Canola*</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Cucumber</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Peach</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Peanut</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Squash</a:t>
            </a:r>
            <a:endParaRPr kumimoji="0" lang="en-US" sz="1800" b="0" i="0" u="none" strike="noStrike" kern="0" cap="none" spc="0" normalizeH="0" baseline="0" noProof="0">
              <a:ln>
                <a:noFill/>
              </a:ln>
              <a:solidFill>
                <a:sysClr val="windowText" lastClr="000000"/>
              </a:solidFill>
              <a:effectLst/>
              <a:uLnTx/>
              <a:uFillTx/>
              <a:cs typeface="Times New Roman" panose="02020603050405020304" pitchFamily="18" charset="0"/>
            </a:endParaRPr>
          </a:p>
        </p:txBody>
      </p:sp>
      <p:sp>
        <p:nvSpPr>
          <p:cNvPr id="73" name="TextBox 72"/>
          <p:cNvSpPr txBox="1"/>
          <p:nvPr/>
        </p:nvSpPr>
        <p:spPr>
          <a:xfrm>
            <a:off x="3550439" y="4780432"/>
            <a:ext cx="2474387"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solidFill>
                  <a:sysClr val="windowText" lastClr="000000"/>
                </a:solidFill>
                <a:effectLst/>
                <a:uLnTx/>
                <a:uFillTx/>
                <a:latin typeface="Arial Narrow" charset="0"/>
                <a:ea typeface="Arial Narrow" charset="0"/>
                <a:cs typeface="Arial Narrow" charset="0"/>
              </a:rPr>
              <a:t>1/75-1/300X</a:t>
            </a:r>
          </a:p>
        </p:txBody>
      </p:sp>
      <p:sp>
        <p:nvSpPr>
          <p:cNvPr id="75" name="Rectangle 74"/>
          <p:cNvSpPr/>
          <p:nvPr/>
        </p:nvSpPr>
        <p:spPr>
          <a:xfrm>
            <a:off x="6154118" y="2210469"/>
            <a:ext cx="2485533" cy="2535762"/>
          </a:xfrm>
          <a:prstGeom prst="rect">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TextBox 75"/>
          <p:cNvSpPr txBox="1"/>
          <p:nvPr/>
        </p:nvSpPr>
        <p:spPr>
          <a:xfrm>
            <a:off x="6792642" y="2356227"/>
            <a:ext cx="1281866" cy="276999"/>
          </a:xfrm>
          <a:prstGeom prst="rect">
            <a:avLst/>
          </a:prstGeom>
          <a:noFill/>
          <a:ln w="38100">
            <a:solidFill>
              <a:schemeClr val="tx1"/>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140" normalizeH="0" baseline="0" noProof="0">
                <a:ln>
                  <a:noFill/>
                </a:ln>
                <a:solidFill>
                  <a:sysClr val="windowText" lastClr="000000"/>
                </a:solidFill>
                <a:effectLst/>
                <a:uLnTx/>
                <a:uFillTx/>
                <a:latin typeface="Arial Narrow" charset="0"/>
                <a:ea typeface="Arial Narrow" charset="0"/>
                <a:cs typeface="Arial Narrow" charset="0"/>
              </a:rPr>
              <a:t>SEVERE</a:t>
            </a:r>
          </a:p>
        </p:txBody>
      </p:sp>
      <p:sp>
        <p:nvSpPr>
          <p:cNvPr id="77" name="Rectangle 76"/>
          <p:cNvSpPr/>
          <p:nvPr/>
        </p:nvSpPr>
        <p:spPr>
          <a:xfrm>
            <a:off x="6155967" y="2210469"/>
            <a:ext cx="2466212" cy="2973496"/>
          </a:xfrm>
          <a:prstGeom prst="rect">
            <a:avLst/>
          </a:prstGeom>
          <a:noFill/>
          <a:ln w="381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TextBox 77"/>
          <p:cNvSpPr txBox="1"/>
          <p:nvPr/>
        </p:nvSpPr>
        <p:spPr>
          <a:xfrm>
            <a:off x="6147791" y="2743640"/>
            <a:ext cx="2474387" cy="1338828"/>
          </a:xfrm>
          <a:prstGeom prst="rect">
            <a:avLst/>
          </a:prstGeom>
          <a:noFill/>
        </p:spPr>
        <p:txBody>
          <a:bodyPr wrap="square" rtlCol="0">
            <a:sp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Cotton</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Pepper</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Tomato</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cs typeface="Times New Roman" panose="02020603050405020304" pitchFamily="18" charset="0"/>
              </a:rPr>
              <a:t>Watermelon</a:t>
            </a:r>
          </a:p>
          <a:p>
            <a:pPr marL="0" marR="0" lvl="0" indent="0" algn="ctr" defTabSz="91440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Times New Roman" panose="02020603050405020304" pitchFamily="18" charset="0"/>
            </a:endParaRPr>
          </a:p>
        </p:txBody>
      </p:sp>
      <p:sp>
        <p:nvSpPr>
          <p:cNvPr id="79" name="TextBox 78"/>
          <p:cNvSpPr txBox="1"/>
          <p:nvPr/>
        </p:nvSpPr>
        <p:spPr>
          <a:xfrm>
            <a:off x="6147791" y="4780432"/>
            <a:ext cx="2474387"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solidFill>
                  <a:sysClr val="windowText" lastClr="000000"/>
                </a:solidFill>
                <a:effectLst/>
                <a:uLnTx/>
                <a:uFillTx/>
                <a:latin typeface="Arial Narrow" charset="0"/>
                <a:ea typeface="Arial Narrow" charset="0"/>
                <a:cs typeface="Arial Narrow" charset="0"/>
              </a:rPr>
              <a:t>1/300-1/800X</a:t>
            </a:r>
          </a:p>
        </p:txBody>
      </p:sp>
      <p:sp>
        <p:nvSpPr>
          <p:cNvPr id="80" name="Rectangle 79"/>
          <p:cNvSpPr/>
          <p:nvPr/>
        </p:nvSpPr>
        <p:spPr>
          <a:xfrm>
            <a:off x="8761380" y="2210469"/>
            <a:ext cx="2472538" cy="2535762"/>
          </a:xfrm>
          <a:prstGeom prst="rect">
            <a:avLst/>
          </a:prstGeom>
          <a:solidFill>
            <a:schemeClr val="accent4"/>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TextBox 80"/>
          <p:cNvSpPr txBox="1"/>
          <p:nvPr/>
        </p:nvSpPr>
        <p:spPr>
          <a:xfrm>
            <a:off x="9404382" y="2356227"/>
            <a:ext cx="1281866" cy="276999"/>
          </a:xfrm>
          <a:prstGeom prst="rect">
            <a:avLst/>
          </a:prstGeom>
          <a:noFill/>
          <a:ln w="38100">
            <a:solidFill>
              <a:schemeClr val="bg1"/>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140" normalizeH="0" baseline="0" noProof="0">
                <a:ln>
                  <a:noFill/>
                </a:ln>
                <a:solidFill>
                  <a:schemeClr val="bg1"/>
                </a:solidFill>
                <a:effectLst/>
                <a:uLnTx/>
                <a:uFillTx/>
                <a:latin typeface="Arial Narrow" charset="0"/>
                <a:ea typeface="Arial Narrow" charset="0"/>
                <a:cs typeface="Arial Narrow" charset="0"/>
              </a:rPr>
              <a:t>EXTREME</a:t>
            </a:r>
          </a:p>
        </p:txBody>
      </p:sp>
      <p:sp>
        <p:nvSpPr>
          <p:cNvPr id="82" name="Rectangle 81"/>
          <p:cNvSpPr/>
          <p:nvPr/>
        </p:nvSpPr>
        <p:spPr>
          <a:xfrm>
            <a:off x="8767707" y="2210469"/>
            <a:ext cx="2466212" cy="2973496"/>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TextBox 82"/>
          <p:cNvSpPr txBox="1"/>
          <p:nvPr/>
        </p:nvSpPr>
        <p:spPr>
          <a:xfrm>
            <a:off x="8759531" y="2743640"/>
            <a:ext cx="2474387" cy="1837426"/>
          </a:xfrm>
          <a:prstGeom prst="rect">
            <a:avLst/>
          </a:prstGeom>
          <a:noFill/>
        </p:spPr>
        <p:txBody>
          <a:bodyPr wrap="square" rtlCol="0">
            <a:sp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chemeClr val="bg1"/>
                </a:solidFill>
                <a:effectLst/>
                <a:uLnTx/>
                <a:uFillTx/>
                <a:cs typeface="Times New Roman" panose="02020603050405020304" pitchFamily="18" charset="0"/>
              </a:rPr>
              <a:t>Grapes*</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chemeClr val="bg1"/>
                </a:solidFill>
                <a:effectLst/>
                <a:uLnTx/>
                <a:uFillTx/>
                <a:cs typeface="Times New Roman" panose="02020603050405020304" pitchFamily="18" charset="0"/>
              </a:rPr>
              <a:t>Lima Bean</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chemeClr val="bg1"/>
                </a:solidFill>
                <a:effectLst/>
                <a:uLnTx/>
                <a:uFillTx/>
                <a:cs typeface="Times New Roman" panose="02020603050405020304" pitchFamily="18" charset="0"/>
              </a:rPr>
              <a:t>Southern Pea</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chemeClr val="bg1"/>
                </a:solidFill>
                <a:effectLst/>
                <a:uLnTx/>
                <a:uFillTx/>
                <a:cs typeface="Times New Roman" panose="02020603050405020304" pitchFamily="18" charset="0"/>
              </a:rPr>
              <a:t>Snap Bean</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chemeClr val="bg1"/>
                </a:solidFill>
                <a:effectLst/>
                <a:uLnTx/>
                <a:uFillTx/>
                <a:cs typeface="Times New Roman" panose="02020603050405020304" pitchFamily="18" charset="0"/>
              </a:rPr>
              <a:t>Soybean</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chemeClr val="bg1"/>
                </a:solidFill>
                <a:effectLst/>
                <a:uLnTx/>
                <a:uFillTx/>
                <a:cs typeface="Times New Roman" panose="02020603050405020304" pitchFamily="18" charset="0"/>
              </a:rPr>
              <a:t>Sweet potato*</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en-US" sz="1800" b="0" i="0" u="none" strike="noStrike" kern="0" cap="none" spc="0" normalizeH="0" baseline="0" noProof="0">
                <a:ln>
                  <a:noFill/>
                </a:ln>
                <a:solidFill>
                  <a:schemeClr val="bg1"/>
                </a:solidFill>
                <a:effectLst/>
                <a:uLnTx/>
                <a:uFillTx/>
                <a:cs typeface="Times New Roman" panose="02020603050405020304" pitchFamily="18" charset="0"/>
              </a:rPr>
              <a:t>Tobacco*</a:t>
            </a:r>
          </a:p>
        </p:txBody>
      </p:sp>
      <p:sp>
        <p:nvSpPr>
          <p:cNvPr id="84" name="TextBox 83"/>
          <p:cNvSpPr txBox="1"/>
          <p:nvPr/>
        </p:nvSpPr>
        <p:spPr>
          <a:xfrm>
            <a:off x="8759531" y="4780432"/>
            <a:ext cx="2474387"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solidFill>
                  <a:sysClr val="windowText" lastClr="000000"/>
                </a:solidFill>
                <a:effectLst/>
                <a:uLnTx/>
                <a:uFillTx/>
                <a:latin typeface="Arial Narrow" charset="0"/>
                <a:ea typeface="Arial Narrow" charset="0"/>
                <a:cs typeface="Arial Narrow" charset="0"/>
              </a:rPr>
              <a:t>&lt; 1/800X</a:t>
            </a:r>
          </a:p>
        </p:txBody>
      </p:sp>
      <p:sp>
        <p:nvSpPr>
          <p:cNvPr id="85" name="Content Placeholder 5">
            <a:extLst>
              <a:ext uri="{FF2B5EF4-FFF2-40B4-BE49-F238E27FC236}">
                <a16:creationId xmlns:a16="http://schemas.microsoft.com/office/drawing/2014/main" id="{90272721-DFFA-48E5-AD5A-EAF46885A71F}"/>
              </a:ext>
            </a:extLst>
          </p:cNvPr>
          <p:cNvSpPr txBox="1">
            <a:spLocks/>
          </p:cNvSpPr>
          <p:nvPr/>
        </p:nvSpPr>
        <p:spPr>
          <a:xfrm>
            <a:off x="1328482" y="5948284"/>
            <a:ext cx="9796718" cy="3831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chemeClr val="tx1"/>
                </a:solidFill>
                <a:effectLst/>
                <a:uLnTx/>
                <a:uFillTx/>
                <a:latin typeface="Arial Narrow" charset="0"/>
                <a:ea typeface="+mn-ea"/>
                <a:cs typeface="+mn-cs"/>
              </a:rPr>
              <a:t>Information adapted from Dr. Stanley Culpepper, University of Georgia Cooperative Extension. Categories indicate sensitivity of listed plants to glyphosate exposure; not the degree of symptomology </a:t>
            </a:r>
            <a:br>
              <a:rPr kumimoji="0" lang="en-US" sz="1050" b="0" i="0" u="none" strike="noStrike" kern="1200" cap="none" spc="0" normalizeH="0" baseline="0" noProof="0">
                <a:ln>
                  <a:noFill/>
                </a:ln>
                <a:solidFill>
                  <a:schemeClr val="tx1"/>
                </a:solidFill>
                <a:effectLst/>
                <a:uLnTx/>
                <a:uFillTx/>
                <a:latin typeface="Arial Narrow" charset="0"/>
                <a:ea typeface="+mn-ea"/>
                <a:cs typeface="+mn-cs"/>
              </a:rPr>
            </a:br>
            <a:r>
              <a:rPr kumimoji="0" lang="en-US" sz="1050" b="0" i="0" u="none" strike="noStrike" kern="1200" cap="none" spc="0" normalizeH="0" baseline="0" noProof="0">
                <a:ln>
                  <a:noFill/>
                </a:ln>
                <a:solidFill>
                  <a:schemeClr val="tx1"/>
                </a:solidFill>
                <a:effectLst/>
                <a:uLnTx/>
                <a:uFillTx/>
                <a:latin typeface="Arial Narrow" charset="0"/>
                <a:ea typeface="+mn-ea"/>
                <a:cs typeface="+mn-cs"/>
              </a:rPr>
              <a:t>*Data from literature; all other data generated in over 72 UGA field experiments  |  Source: GA-018*.</a:t>
            </a:r>
          </a:p>
        </p:txBody>
      </p:sp>
      <p:sp>
        <p:nvSpPr>
          <p:cNvPr id="2" name="Footer Placeholder 1">
            <a:extLst>
              <a:ext uri="{FF2B5EF4-FFF2-40B4-BE49-F238E27FC236}">
                <a16:creationId xmlns:a16="http://schemas.microsoft.com/office/drawing/2014/main" id="{2FF094DE-161B-4B3F-9E65-87352CC9FC1A}"/>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DA84A7BF-F650-4516-891E-047B2B3D800B}"/>
              </a:ext>
            </a:extLst>
          </p:cNvPr>
          <p:cNvSpPr>
            <a:spLocks noGrp="1"/>
          </p:cNvSpPr>
          <p:nvPr>
            <p:ph type="sldNum" sz="quarter" idx="16"/>
          </p:nvPr>
        </p:nvSpPr>
        <p:spPr/>
        <p:txBody>
          <a:bodyPr/>
          <a:lstStyle/>
          <a:p>
            <a:fld id="{5382645D-9DD6-408C-B0EA-C65795F9B1DE}" type="slidenum">
              <a:rPr lang="en-US" smtClean="0"/>
              <a:pPr/>
              <a:t>28</a:t>
            </a:fld>
            <a:endParaRPr lang="en-US"/>
          </a:p>
        </p:txBody>
      </p:sp>
      <p:sp>
        <p:nvSpPr>
          <p:cNvPr id="33" name="Title 4">
            <a:extLst>
              <a:ext uri="{FF2B5EF4-FFF2-40B4-BE49-F238E27FC236}">
                <a16:creationId xmlns:a16="http://schemas.microsoft.com/office/drawing/2014/main" id="{2320A2FF-9FE8-4DA3-B9BB-B2E4CA0ED524}"/>
              </a:ext>
            </a:extLst>
          </p:cNvPr>
          <p:cNvSpPr txBox="1">
            <a:spLocks/>
          </p:cNvSpPr>
          <p:nvPr/>
        </p:nvSpPr>
        <p:spPr>
          <a:xfrm>
            <a:off x="838200" y="228600"/>
            <a:ext cx="10395718" cy="10881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Additional Examples of Dicamba </a:t>
            </a:r>
            <a:br>
              <a:rPr lang="en-US"/>
            </a:br>
            <a:r>
              <a:rPr lang="en-US"/>
              <a:t>Sensitive Crops </a:t>
            </a:r>
            <a:endParaRPr lang="en-US" sz="6000"/>
          </a:p>
        </p:txBody>
      </p:sp>
      <p:pic>
        <p:nvPicPr>
          <p:cNvPr id="32" name="Picture 31">
            <a:extLst>
              <a:ext uri="{FF2B5EF4-FFF2-40B4-BE49-F238E27FC236}">
                <a16:creationId xmlns:a16="http://schemas.microsoft.com/office/drawing/2014/main" id="{D53AE19A-5981-4894-A165-1A2EF05BF567}"/>
              </a:ext>
            </a:extLst>
          </p:cNvPr>
          <p:cNvPicPr>
            <a:picLocks noChangeAspect="1"/>
          </p:cNvPicPr>
          <p:nvPr/>
        </p:nvPicPr>
        <p:blipFill>
          <a:blip r:embed="rId3"/>
          <a:stretch>
            <a:fillRect/>
          </a:stretch>
        </p:blipFill>
        <p:spPr>
          <a:xfrm>
            <a:off x="914400" y="6319117"/>
            <a:ext cx="1171575" cy="495300"/>
          </a:xfrm>
          <a:prstGeom prst="rect">
            <a:avLst/>
          </a:prstGeom>
        </p:spPr>
      </p:pic>
      <p:pic>
        <p:nvPicPr>
          <p:cNvPr id="34" name="Picture 33">
            <a:extLst>
              <a:ext uri="{FF2B5EF4-FFF2-40B4-BE49-F238E27FC236}">
                <a16:creationId xmlns:a16="http://schemas.microsoft.com/office/drawing/2014/main" id="{239FCA76-8A49-4719-AD54-791D2A671CE0}"/>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32409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
            <a:extLst>
              <a:ext uri="{FF2B5EF4-FFF2-40B4-BE49-F238E27FC236}">
                <a16:creationId xmlns:a16="http://schemas.microsoft.com/office/drawing/2014/main" id="{CA2AF3D2-18F4-4009-825D-6406F7F498A0}"/>
              </a:ext>
            </a:extLst>
          </p:cNvPr>
          <p:cNvSpPr>
            <a:spLocks noChangeArrowheads="1"/>
          </p:cNvSpPr>
          <p:nvPr/>
        </p:nvSpPr>
        <p:spPr bwMode="auto">
          <a:xfrm>
            <a:off x="6351588" y="1470025"/>
            <a:ext cx="2151063"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687D2E7-519B-4617-B559-0ED168573FC3}"/>
              </a:ext>
            </a:extLst>
          </p:cNvPr>
          <p:cNvSpPr>
            <a:spLocks/>
          </p:cNvSpPr>
          <p:nvPr/>
        </p:nvSpPr>
        <p:spPr bwMode="auto">
          <a:xfrm>
            <a:off x="8555038" y="1470025"/>
            <a:ext cx="2706688" cy="3124200"/>
          </a:xfrm>
          <a:custGeom>
            <a:avLst/>
            <a:gdLst>
              <a:gd name="T0" fmla="*/ 0 w 1705"/>
              <a:gd name="T1" fmla="*/ 1968 h 1968"/>
              <a:gd name="T2" fmla="*/ 1705 w 1705"/>
              <a:gd name="T3" fmla="*/ 1220 h 1968"/>
              <a:gd name="T4" fmla="*/ 1705 w 1705"/>
              <a:gd name="T5" fmla="*/ 0 h 1968"/>
              <a:gd name="T6" fmla="*/ 0 w 1705"/>
              <a:gd name="T7" fmla="*/ 0 h 1968"/>
              <a:gd name="T8" fmla="*/ 0 w 1705"/>
              <a:gd name="T9" fmla="*/ 1968 h 1968"/>
            </a:gdLst>
            <a:ahLst/>
            <a:cxnLst>
              <a:cxn ang="0">
                <a:pos x="T0" y="T1"/>
              </a:cxn>
              <a:cxn ang="0">
                <a:pos x="T2" y="T3"/>
              </a:cxn>
              <a:cxn ang="0">
                <a:pos x="T4" y="T5"/>
              </a:cxn>
              <a:cxn ang="0">
                <a:pos x="T6" y="T7"/>
              </a:cxn>
              <a:cxn ang="0">
                <a:pos x="T8" y="T9"/>
              </a:cxn>
            </a:cxnLst>
            <a:rect l="0" t="0" r="r" b="b"/>
            <a:pathLst>
              <a:path w="1705" h="1968">
                <a:moveTo>
                  <a:pt x="0" y="1968"/>
                </a:moveTo>
                <a:lnTo>
                  <a:pt x="1705" y="1220"/>
                </a:lnTo>
                <a:lnTo>
                  <a:pt x="1705" y="0"/>
                </a:lnTo>
                <a:lnTo>
                  <a:pt x="0" y="0"/>
                </a:lnTo>
                <a:lnTo>
                  <a:pt x="0" y="19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9">
            <a:extLst>
              <a:ext uri="{FF2B5EF4-FFF2-40B4-BE49-F238E27FC236}">
                <a16:creationId xmlns:a16="http://schemas.microsoft.com/office/drawing/2014/main" id="{A36E3E8E-88CB-4A09-98E3-9964CDE19661}"/>
              </a:ext>
            </a:extLst>
          </p:cNvPr>
          <p:cNvSpPr>
            <a:spLocks noChangeArrowheads="1"/>
          </p:cNvSpPr>
          <p:nvPr/>
        </p:nvSpPr>
        <p:spPr bwMode="auto">
          <a:xfrm>
            <a:off x="3459163" y="1470025"/>
            <a:ext cx="2841625"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1DE99310-1D53-4A9E-BAC4-03BC1E2D9111}"/>
              </a:ext>
            </a:extLst>
          </p:cNvPr>
          <p:cNvSpPr>
            <a:spLocks/>
          </p:cNvSpPr>
          <p:nvPr/>
        </p:nvSpPr>
        <p:spPr bwMode="auto">
          <a:xfrm>
            <a:off x="6361113" y="4122738"/>
            <a:ext cx="3390900" cy="1843088"/>
          </a:xfrm>
          <a:custGeom>
            <a:avLst/>
            <a:gdLst>
              <a:gd name="T0" fmla="*/ 2136 w 2136"/>
              <a:gd name="T1" fmla="*/ 0 h 1161"/>
              <a:gd name="T2" fmla="*/ 401 w 2136"/>
              <a:gd name="T3" fmla="*/ 761 h 1161"/>
              <a:gd name="T4" fmla="*/ 0 w 2136"/>
              <a:gd name="T5" fmla="*/ 761 h 1161"/>
              <a:gd name="T6" fmla="*/ 0 w 2136"/>
              <a:gd name="T7" fmla="*/ 1161 h 1161"/>
              <a:gd name="T8" fmla="*/ 2136 w 2136"/>
              <a:gd name="T9" fmla="*/ 1161 h 1161"/>
              <a:gd name="T10" fmla="*/ 2136 w 2136"/>
              <a:gd name="T11" fmla="*/ 0 h 1161"/>
            </a:gdLst>
            <a:ahLst/>
            <a:cxnLst>
              <a:cxn ang="0">
                <a:pos x="T0" y="T1"/>
              </a:cxn>
              <a:cxn ang="0">
                <a:pos x="T2" y="T3"/>
              </a:cxn>
              <a:cxn ang="0">
                <a:pos x="T4" y="T5"/>
              </a:cxn>
              <a:cxn ang="0">
                <a:pos x="T6" y="T7"/>
              </a:cxn>
              <a:cxn ang="0">
                <a:pos x="T8" y="T9"/>
              </a:cxn>
              <a:cxn ang="0">
                <a:pos x="T10" y="T11"/>
              </a:cxn>
            </a:cxnLst>
            <a:rect l="0" t="0" r="r" b="b"/>
            <a:pathLst>
              <a:path w="2136" h="1161">
                <a:moveTo>
                  <a:pt x="2136" y="0"/>
                </a:moveTo>
                <a:lnTo>
                  <a:pt x="401" y="761"/>
                </a:lnTo>
                <a:lnTo>
                  <a:pt x="0" y="761"/>
                </a:lnTo>
                <a:lnTo>
                  <a:pt x="0" y="1161"/>
                </a:lnTo>
                <a:lnTo>
                  <a:pt x="2136" y="1161"/>
                </a:lnTo>
                <a:lnTo>
                  <a:pt x="2136"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03C5520D-672B-4F52-B9A3-0D0AD00B4DCA}"/>
              </a:ext>
            </a:extLst>
          </p:cNvPr>
          <p:cNvSpPr>
            <a:spLocks/>
          </p:cNvSpPr>
          <p:nvPr/>
        </p:nvSpPr>
        <p:spPr bwMode="auto">
          <a:xfrm>
            <a:off x="9804401" y="3460750"/>
            <a:ext cx="1457325" cy="2508250"/>
          </a:xfrm>
          <a:custGeom>
            <a:avLst/>
            <a:gdLst>
              <a:gd name="T0" fmla="*/ 0 w 918"/>
              <a:gd name="T1" fmla="*/ 403 h 1580"/>
              <a:gd name="T2" fmla="*/ 0 w 918"/>
              <a:gd name="T3" fmla="*/ 1580 h 1580"/>
              <a:gd name="T4" fmla="*/ 918 w 918"/>
              <a:gd name="T5" fmla="*/ 1580 h 1580"/>
              <a:gd name="T6" fmla="*/ 918 w 918"/>
              <a:gd name="T7" fmla="*/ 0 h 1580"/>
              <a:gd name="T8" fmla="*/ 0 w 918"/>
              <a:gd name="T9" fmla="*/ 403 h 1580"/>
            </a:gdLst>
            <a:ahLst/>
            <a:cxnLst>
              <a:cxn ang="0">
                <a:pos x="T0" y="T1"/>
              </a:cxn>
              <a:cxn ang="0">
                <a:pos x="T2" y="T3"/>
              </a:cxn>
              <a:cxn ang="0">
                <a:pos x="T4" y="T5"/>
              </a:cxn>
              <a:cxn ang="0">
                <a:pos x="T6" y="T7"/>
              </a:cxn>
              <a:cxn ang="0">
                <a:pos x="T8" y="T9"/>
              </a:cxn>
            </a:cxnLst>
            <a:rect l="0" t="0" r="r" b="b"/>
            <a:pathLst>
              <a:path w="918" h="1580">
                <a:moveTo>
                  <a:pt x="0" y="403"/>
                </a:moveTo>
                <a:lnTo>
                  <a:pt x="0" y="1580"/>
                </a:lnTo>
                <a:lnTo>
                  <a:pt x="918" y="1580"/>
                </a:lnTo>
                <a:lnTo>
                  <a:pt x="918" y="0"/>
                </a:lnTo>
                <a:lnTo>
                  <a:pt x="0" y="40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
            <a:extLst>
              <a:ext uri="{FF2B5EF4-FFF2-40B4-BE49-F238E27FC236}">
                <a16:creationId xmlns:a16="http://schemas.microsoft.com/office/drawing/2014/main" id="{236C6A5D-4F43-4543-AB49-22A5051FCD79}"/>
              </a:ext>
            </a:extLst>
          </p:cNvPr>
          <p:cNvSpPr>
            <a:spLocks noChangeArrowheads="1"/>
          </p:cNvSpPr>
          <p:nvPr/>
        </p:nvSpPr>
        <p:spPr bwMode="auto">
          <a:xfrm>
            <a:off x="3459163" y="3136900"/>
            <a:ext cx="2841625" cy="283210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06">
            <a:extLst>
              <a:ext uri="{FF2B5EF4-FFF2-40B4-BE49-F238E27FC236}">
                <a16:creationId xmlns:a16="http://schemas.microsoft.com/office/drawing/2014/main" id="{BDBF304A-7386-4E44-A8C8-355B5244537C}"/>
              </a:ext>
            </a:extLst>
          </p:cNvPr>
          <p:cNvSpPr>
            <a:spLocks noChangeArrowheads="1"/>
          </p:cNvSpPr>
          <p:nvPr/>
        </p:nvSpPr>
        <p:spPr bwMode="auto">
          <a:xfrm>
            <a:off x="78024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38" name="Rectangle 106">
            <a:extLst>
              <a:ext uri="{FF2B5EF4-FFF2-40B4-BE49-F238E27FC236}">
                <a16:creationId xmlns:a16="http://schemas.microsoft.com/office/drawing/2014/main" id="{91E0ACCD-CBE2-41D9-8C29-2BD77EC4D6C2}"/>
              </a:ext>
            </a:extLst>
          </p:cNvPr>
          <p:cNvSpPr>
            <a:spLocks noChangeArrowheads="1"/>
          </p:cNvSpPr>
          <p:nvPr/>
        </p:nvSpPr>
        <p:spPr bwMode="auto">
          <a:xfrm>
            <a:off x="102789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0" name="Rectangle 106">
            <a:extLst>
              <a:ext uri="{FF2B5EF4-FFF2-40B4-BE49-F238E27FC236}">
                <a16:creationId xmlns:a16="http://schemas.microsoft.com/office/drawing/2014/main" id="{CF58D40A-33C1-45D4-9B73-630309EAE284}"/>
              </a:ext>
            </a:extLst>
          </p:cNvPr>
          <p:cNvSpPr>
            <a:spLocks noChangeArrowheads="1"/>
          </p:cNvSpPr>
          <p:nvPr/>
        </p:nvSpPr>
        <p:spPr bwMode="auto">
          <a:xfrm>
            <a:off x="4374713" y="4122063"/>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sp>
        <p:nvSpPr>
          <p:cNvPr id="143" name="Rectangle 106">
            <a:extLst>
              <a:ext uri="{FF2B5EF4-FFF2-40B4-BE49-F238E27FC236}">
                <a16:creationId xmlns:a16="http://schemas.microsoft.com/office/drawing/2014/main" id="{D479E799-39C2-416C-972A-19134C24F21E}"/>
              </a:ext>
            </a:extLst>
          </p:cNvPr>
          <p:cNvSpPr>
            <a:spLocks noChangeArrowheads="1"/>
          </p:cNvSpPr>
          <p:nvPr/>
        </p:nvSpPr>
        <p:spPr bwMode="auto">
          <a:xfrm>
            <a:off x="7173043" y="217034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4" name="Rectangle 106">
            <a:extLst>
              <a:ext uri="{FF2B5EF4-FFF2-40B4-BE49-F238E27FC236}">
                <a16:creationId xmlns:a16="http://schemas.microsoft.com/office/drawing/2014/main" id="{A783EB0C-9C7D-4C55-BE1B-7BC71F3A734C}"/>
              </a:ext>
            </a:extLst>
          </p:cNvPr>
          <p:cNvSpPr>
            <a:spLocks noChangeArrowheads="1"/>
          </p:cNvSpPr>
          <p:nvPr/>
        </p:nvSpPr>
        <p:spPr bwMode="auto">
          <a:xfrm>
            <a:off x="9267983" y="2378963"/>
            <a:ext cx="128079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solidFill>
                  <a:schemeClr val="bg1"/>
                </a:solidFill>
                <a:effectLst/>
                <a:latin typeface="Arial Narrow" panose="020B0606020202030204" pitchFamily="34" charset="0"/>
              </a:rPr>
              <a:t>NON-DICAMBA</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TOLERANT</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SOYBEANS</a:t>
            </a:r>
            <a:endParaRPr kumimoji="0" lang="en-US" altLang="en-US" sz="1800" b="0" i="0" u="none" strike="noStrike" cap="none" spc="150" normalizeH="0">
              <a:ln>
                <a:noFill/>
              </a:ln>
              <a:solidFill>
                <a:schemeClr val="bg1"/>
              </a:solidFill>
              <a:effectLst/>
            </a:endParaRPr>
          </a:p>
        </p:txBody>
      </p:sp>
      <p:sp>
        <p:nvSpPr>
          <p:cNvPr id="13" name="Freeform 10">
            <a:extLst>
              <a:ext uri="{FF2B5EF4-FFF2-40B4-BE49-F238E27FC236}">
                <a16:creationId xmlns:a16="http://schemas.microsoft.com/office/drawing/2014/main" id="{7B96F78D-65F1-49A6-9A12-F72E0AD74375}"/>
              </a:ext>
            </a:extLst>
          </p:cNvPr>
          <p:cNvSpPr>
            <a:spLocks/>
          </p:cNvSpPr>
          <p:nvPr/>
        </p:nvSpPr>
        <p:spPr bwMode="auto">
          <a:xfrm>
            <a:off x="6351588" y="3136900"/>
            <a:ext cx="2151063" cy="2146300"/>
          </a:xfrm>
          <a:custGeom>
            <a:avLst/>
            <a:gdLst>
              <a:gd name="T0" fmla="*/ 0 w 1355"/>
              <a:gd name="T1" fmla="*/ 0 h 1352"/>
              <a:gd name="T2" fmla="*/ 0 w 1355"/>
              <a:gd name="T3" fmla="*/ 1352 h 1352"/>
              <a:gd name="T4" fmla="*/ 391 w 1355"/>
              <a:gd name="T5" fmla="*/ 1352 h 1352"/>
              <a:gd name="T6" fmla="*/ 1355 w 1355"/>
              <a:gd name="T7" fmla="*/ 932 h 1352"/>
              <a:gd name="T8" fmla="*/ 1355 w 1355"/>
              <a:gd name="T9" fmla="*/ 0 h 1352"/>
              <a:gd name="T10" fmla="*/ 0 w 1355"/>
              <a:gd name="T11" fmla="*/ 0 h 1352"/>
            </a:gdLst>
            <a:ahLst/>
            <a:cxnLst>
              <a:cxn ang="0">
                <a:pos x="T0" y="T1"/>
              </a:cxn>
              <a:cxn ang="0">
                <a:pos x="T2" y="T3"/>
              </a:cxn>
              <a:cxn ang="0">
                <a:pos x="T4" y="T5"/>
              </a:cxn>
              <a:cxn ang="0">
                <a:pos x="T6" y="T7"/>
              </a:cxn>
              <a:cxn ang="0">
                <a:pos x="T8" y="T9"/>
              </a:cxn>
              <a:cxn ang="0">
                <a:pos x="T10" y="T11"/>
              </a:cxn>
            </a:cxnLst>
            <a:rect l="0" t="0" r="r" b="b"/>
            <a:pathLst>
              <a:path w="1355" h="1352">
                <a:moveTo>
                  <a:pt x="0" y="0"/>
                </a:moveTo>
                <a:lnTo>
                  <a:pt x="0" y="1352"/>
                </a:lnTo>
                <a:lnTo>
                  <a:pt x="391" y="1352"/>
                </a:lnTo>
                <a:lnTo>
                  <a:pt x="1355" y="932"/>
                </a:lnTo>
                <a:lnTo>
                  <a:pt x="1355" y="0"/>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111">
            <a:extLst>
              <a:ext uri="{FF2B5EF4-FFF2-40B4-BE49-F238E27FC236}">
                <a16:creationId xmlns:a16="http://schemas.microsoft.com/office/drawing/2014/main" id="{BAD217C1-7D20-4D3F-8540-5DCF1448EA4C}"/>
              </a:ext>
            </a:extLst>
          </p:cNvPr>
          <p:cNvSpPr>
            <a:spLocks noChangeArrowheads="1"/>
          </p:cNvSpPr>
          <p:nvPr/>
        </p:nvSpPr>
        <p:spPr bwMode="auto">
          <a:xfrm>
            <a:off x="942976" y="4813300"/>
            <a:ext cx="228600" cy="2286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7E89B8D8-67A8-41EE-A93C-719B253492CF}"/>
              </a:ext>
            </a:extLst>
          </p:cNvPr>
          <p:cNvGrpSpPr/>
          <p:nvPr/>
        </p:nvGrpSpPr>
        <p:grpSpPr>
          <a:xfrm>
            <a:off x="942976" y="4829175"/>
            <a:ext cx="1704627" cy="1139825"/>
            <a:chOff x="942976" y="4829175"/>
            <a:chExt cx="1704627" cy="1139825"/>
          </a:xfrm>
        </p:grpSpPr>
        <p:sp>
          <p:nvSpPr>
            <p:cNvPr id="113" name="Rectangle 110">
              <a:extLst>
                <a:ext uri="{FF2B5EF4-FFF2-40B4-BE49-F238E27FC236}">
                  <a16:creationId xmlns:a16="http://schemas.microsoft.com/office/drawing/2014/main" id="{A2E0A347-112D-474C-965A-848046BB2B72}"/>
                </a:ext>
              </a:extLst>
            </p:cNvPr>
            <p:cNvSpPr>
              <a:spLocks noChangeArrowheads="1"/>
            </p:cNvSpPr>
            <p:nvPr/>
          </p:nvSpPr>
          <p:spPr bwMode="auto">
            <a:xfrm>
              <a:off x="1357313" y="4829175"/>
              <a:ext cx="9699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Application 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112">
              <a:extLst>
                <a:ext uri="{FF2B5EF4-FFF2-40B4-BE49-F238E27FC236}">
                  <a16:creationId xmlns:a16="http://schemas.microsoft.com/office/drawing/2014/main" id="{CAC77972-D303-4797-ADBB-0A72C9A73646}"/>
                </a:ext>
              </a:extLst>
            </p:cNvPr>
            <p:cNvSpPr>
              <a:spLocks noChangeArrowheads="1"/>
            </p:cNvSpPr>
            <p:nvPr/>
          </p:nvSpPr>
          <p:spPr bwMode="auto">
            <a:xfrm>
              <a:off x="1357313" y="5137150"/>
              <a:ext cx="12902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Dicamba Tolerant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Rectangle 116">
              <a:extLst>
                <a:ext uri="{FF2B5EF4-FFF2-40B4-BE49-F238E27FC236}">
                  <a16:creationId xmlns:a16="http://schemas.microsoft.com/office/drawing/2014/main" id="{9E44489D-96D2-4258-AC18-CCA14F0EA719}"/>
                </a:ext>
              </a:extLst>
            </p:cNvPr>
            <p:cNvSpPr>
              <a:spLocks noChangeArrowheads="1"/>
            </p:cNvSpPr>
            <p:nvPr/>
          </p:nvSpPr>
          <p:spPr bwMode="auto">
            <a:xfrm>
              <a:off x="1357313" y="5446713"/>
              <a:ext cx="5222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No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1" name="Rectangle 118">
              <a:extLst>
                <a:ext uri="{FF2B5EF4-FFF2-40B4-BE49-F238E27FC236}">
                  <a16:creationId xmlns:a16="http://schemas.microsoft.com/office/drawing/2014/main" id="{746FF963-E3D5-4A9F-A156-059F323BA7D4}"/>
                </a:ext>
              </a:extLst>
            </p:cNvPr>
            <p:cNvSpPr>
              <a:spLocks noChangeArrowheads="1"/>
            </p:cNvSpPr>
            <p:nvPr/>
          </p:nvSpPr>
          <p:spPr bwMode="auto">
            <a:xfrm>
              <a:off x="1357313" y="5754688"/>
              <a:ext cx="8667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Sensitive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 name="Group 1">
              <a:extLst>
                <a:ext uri="{FF2B5EF4-FFF2-40B4-BE49-F238E27FC236}">
                  <a16:creationId xmlns:a16="http://schemas.microsoft.com/office/drawing/2014/main" id="{B25F37F8-5862-4869-B477-B6A45F4B4453}"/>
                </a:ext>
              </a:extLst>
            </p:cNvPr>
            <p:cNvGrpSpPr/>
            <p:nvPr/>
          </p:nvGrpSpPr>
          <p:grpSpPr>
            <a:xfrm>
              <a:off x="942976" y="5122863"/>
              <a:ext cx="228600" cy="846137"/>
              <a:chOff x="942976" y="5122863"/>
              <a:chExt cx="228600" cy="846137"/>
            </a:xfrm>
          </p:grpSpPr>
          <p:sp>
            <p:nvSpPr>
              <p:cNvPr id="118" name="Oval 115">
                <a:extLst>
                  <a:ext uri="{FF2B5EF4-FFF2-40B4-BE49-F238E27FC236}">
                    <a16:creationId xmlns:a16="http://schemas.microsoft.com/office/drawing/2014/main" id="{7FBBD618-0257-44D1-B094-0E333F3CF45F}"/>
                  </a:ext>
                </a:extLst>
              </p:cNvPr>
              <p:cNvSpPr>
                <a:spLocks noChangeArrowheads="1"/>
              </p:cNvSpPr>
              <p:nvPr/>
            </p:nvSpPr>
            <p:spPr bwMode="auto">
              <a:xfrm>
                <a:off x="942976" y="5122863"/>
                <a:ext cx="228600" cy="228600"/>
              </a:xfrm>
              <a:prstGeom prst="ellipse">
                <a:avLst/>
              </a:prstGeom>
              <a:solidFill>
                <a:srgbClr val="B2B4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17">
                <a:extLst>
                  <a:ext uri="{FF2B5EF4-FFF2-40B4-BE49-F238E27FC236}">
                    <a16:creationId xmlns:a16="http://schemas.microsoft.com/office/drawing/2014/main" id="{7F0AB5B6-3F11-46D9-A579-40C9929B4C0F}"/>
                  </a:ext>
                </a:extLst>
              </p:cNvPr>
              <p:cNvSpPr>
                <a:spLocks noChangeArrowheads="1"/>
              </p:cNvSpPr>
              <p:nvPr/>
            </p:nvSpPr>
            <p:spPr bwMode="auto">
              <a:xfrm>
                <a:off x="942976" y="5430838"/>
                <a:ext cx="228600" cy="228600"/>
              </a:xfrm>
              <a:prstGeom prst="ellipse">
                <a:avLst/>
              </a:prstGeom>
              <a:solidFill>
                <a:srgbClr val="6C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119">
                <a:extLst>
                  <a:ext uri="{FF2B5EF4-FFF2-40B4-BE49-F238E27FC236}">
                    <a16:creationId xmlns:a16="http://schemas.microsoft.com/office/drawing/2014/main" id="{0CA3E211-2864-47ED-883E-FABF2E9082F1}"/>
                  </a:ext>
                </a:extLst>
              </p:cNvPr>
              <p:cNvSpPr>
                <a:spLocks noChangeArrowheads="1"/>
              </p:cNvSpPr>
              <p:nvPr/>
            </p:nvSpPr>
            <p:spPr bwMode="auto">
              <a:xfrm>
                <a:off x="942976" y="5740400"/>
                <a:ext cx="228600" cy="228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51" name="Title 4">
            <a:extLst>
              <a:ext uri="{FF2B5EF4-FFF2-40B4-BE49-F238E27FC236}">
                <a16:creationId xmlns:a16="http://schemas.microsoft.com/office/drawing/2014/main" id="{70160AEF-C7DC-41A3-B1CF-AE83E8159A31}"/>
              </a:ext>
            </a:extLst>
          </p:cNvPr>
          <p:cNvSpPr txBox="1">
            <a:spLocks/>
          </p:cNvSpPr>
          <p:nvPr/>
        </p:nvSpPr>
        <p:spPr>
          <a:xfrm>
            <a:off x="838200" y="228600"/>
            <a:ext cx="10515600" cy="10881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a:defRPr/>
            </a:pPr>
            <a:r>
              <a:rPr lang="en-US" sz="3200"/>
              <a:t>Protection of Adjacent Sensitive Crops and certain plants</a:t>
            </a:r>
          </a:p>
        </p:txBody>
      </p:sp>
      <p:sp>
        <p:nvSpPr>
          <p:cNvPr id="5" name="Footer Placeholder 4">
            <a:extLst>
              <a:ext uri="{FF2B5EF4-FFF2-40B4-BE49-F238E27FC236}">
                <a16:creationId xmlns:a16="http://schemas.microsoft.com/office/drawing/2014/main" id="{CE062E0A-72DC-4F50-BF7B-1A6EA88FE6E3}"/>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a:extLst>
              <a:ext uri="{FF2B5EF4-FFF2-40B4-BE49-F238E27FC236}">
                <a16:creationId xmlns:a16="http://schemas.microsoft.com/office/drawing/2014/main" id="{6E6E73EC-7807-4536-8BC6-FD1F253411B8}"/>
              </a:ext>
            </a:extLst>
          </p:cNvPr>
          <p:cNvSpPr>
            <a:spLocks noGrp="1"/>
          </p:cNvSpPr>
          <p:nvPr>
            <p:ph type="sldNum" sz="quarter" idx="16"/>
          </p:nvPr>
        </p:nvSpPr>
        <p:spPr/>
        <p:txBody>
          <a:bodyPr/>
          <a:lstStyle/>
          <a:p>
            <a:fld id="{5382645D-9DD6-408C-B0EA-C65795F9B1DE}" type="slidenum">
              <a:rPr lang="en-US" smtClean="0"/>
              <a:pPr/>
              <a:t>29</a:t>
            </a:fld>
            <a:endParaRPr lang="en-US"/>
          </a:p>
        </p:txBody>
      </p:sp>
      <p:sp>
        <p:nvSpPr>
          <p:cNvPr id="55" name="Rectangle 12">
            <a:extLst>
              <a:ext uri="{FF2B5EF4-FFF2-40B4-BE49-F238E27FC236}">
                <a16:creationId xmlns:a16="http://schemas.microsoft.com/office/drawing/2014/main" id="{5CAAE61A-314C-456F-9DD4-148E43DF4843}"/>
              </a:ext>
            </a:extLst>
          </p:cNvPr>
          <p:cNvSpPr>
            <a:spLocks noChangeArrowheads="1"/>
          </p:cNvSpPr>
          <p:nvPr/>
        </p:nvSpPr>
        <p:spPr bwMode="auto">
          <a:xfrm>
            <a:off x="1323976" y="1606550"/>
            <a:ext cx="1160463"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6">
            <a:extLst>
              <a:ext uri="{FF2B5EF4-FFF2-40B4-BE49-F238E27FC236}">
                <a16:creationId xmlns:a16="http://schemas.microsoft.com/office/drawing/2014/main" id="{BF796723-17F3-4C2F-B726-6E3B767B801C}"/>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moveTo>
                  <a:pt x="1193" y="0"/>
                </a:moveTo>
                <a:lnTo>
                  <a:pt x="0" y="0"/>
                </a:lnTo>
                <a:lnTo>
                  <a:pt x="0" y="232"/>
                </a:lnTo>
                <a:lnTo>
                  <a:pt x="584" y="232"/>
                </a:lnTo>
                <a:lnTo>
                  <a:pt x="608" y="232"/>
                </a:lnTo>
                <a:lnTo>
                  <a:pt x="1193" y="232"/>
                </a:lnTo>
                <a:lnTo>
                  <a:pt x="1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 name="Group 60">
            <a:extLst>
              <a:ext uri="{FF2B5EF4-FFF2-40B4-BE49-F238E27FC236}">
                <a16:creationId xmlns:a16="http://schemas.microsoft.com/office/drawing/2014/main" id="{E904E09A-5881-4ADD-9158-7CF6632535EA}"/>
              </a:ext>
            </a:extLst>
          </p:cNvPr>
          <p:cNvGrpSpPr/>
          <p:nvPr/>
        </p:nvGrpSpPr>
        <p:grpSpPr>
          <a:xfrm>
            <a:off x="960438" y="1476375"/>
            <a:ext cx="1893888" cy="576263"/>
            <a:chOff x="960438" y="1476375"/>
            <a:chExt cx="1893888" cy="576263"/>
          </a:xfrm>
        </p:grpSpPr>
        <p:grpSp>
          <p:nvGrpSpPr>
            <p:cNvPr id="62" name="Group 61">
              <a:extLst>
                <a:ext uri="{FF2B5EF4-FFF2-40B4-BE49-F238E27FC236}">
                  <a16:creationId xmlns:a16="http://schemas.microsoft.com/office/drawing/2014/main" id="{58771377-9F91-4703-9AA6-2C8D171060DE}"/>
                </a:ext>
              </a:extLst>
            </p:cNvPr>
            <p:cNvGrpSpPr/>
            <p:nvPr/>
          </p:nvGrpSpPr>
          <p:grpSpPr>
            <a:xfrm>
              <a:off x="960438" y="1476375"/>
              <a:ext cx="1893888" cy="576263"/>
              <a:chOff x="960438" y="1476375"/>
              <a:chExt cx="1893888" cy="576263"/>
            </a:xfrm>
          </p:grpSpPr>
          <p:sp>
            <p:nvSpPr>
              <p:cNvPr id="64" name="Freeform 11">
                <a:extLst>
                  <a:ext uri="{FF2B5EF4-FFF2-40B4-BE49-F238E27FC236}">
                    <a16:creationId xmlns:a16="http://schemas.microsoft.com/office/drawing/2014/main" id="{B8A1F3EE-38FC-4ECF-9D5D-0E02E2D86F42}"/>
                  </a:ext>
                </a:extLst>
              </p:cNvPr>
              <p:cNvSpPr>
                <a:spLocks/>
              </p:cNvSpPr>
              <p:nvPr/>
            </p:nvSpPr>
            <p:spPr bwMode="auto">
              <a:xfrm>
                <a:off x="1817688" y="1844675"/>
                <a:ext cx="179388" cy="207963"/>
              </a:xfrm>
              <a:custGeom>
                <a:avLst/>
                <a:gdLst>
                  <a:gd name="T0" fmla="*/ 167 w 277"/>
                  <a:gd name="T1" fmla="*/ 0 h 322"/>
                  <a:gd name="T2" fmla="*/ 107 w 277"/>
                  <a:gd name="T3" fmla="*/ 0 h 322"/>
                  <a:gd name="T4" fmla="*/ 107 w 277"/>
                  <a:gd name="T5" fmla="*/ 211 h 322"/>
                  <a:gd name="T6" fmla="*/ 55 w 277"/>
                  <a:gd name="T7" fmla="*/ 150 h 322"/>
                  <a:gd name="T8" fmla="*/ 33 w 277"/>
                  <a:gd name="T9" fmla="*/ 140 h 322"/>
                  <a:gd name="T10" fmla="*/ 13 w 277"/>
                  <a:gd name="T11" fmla="*/ 147 h 322"/>
                  <a:gd name="T12" fmla="*/ 10 w 277"/>
                  <a:gd name="T13" fmla="*/ 189 h 322"/>
                  <a:gd name="T14" fmla="*/ 116 w 277"/>
                  <a:gd name="T15" fmla="*/ 311 h 322"/>
                  <a:gd name="T16" fmla="*/ 138 w 277"/>
                  <a:gd name="T17" fmla="*/ 322 h 322"/>
                  <a:gd name="T18" fmla="*/ 160 w 277"/>
                  <a:gd name="T19" fmla="*/ 311 h 322"/>
                  <a:gd name="T20" fmla="*/ 266 w 277"/>
                  <a:gd name="T21" fmla="*/ 189 h 322"/>
                  <a:gd name="T22" fmla="*/ 263 w 277"/>
                  <a:gd name="T23" fmla="*/ 147 h 322"/>
                  <a:gd name="T24" fmla="*/ 244 w 277"/>
                  <a:gd name="T25" fmla="*/ 140 h 322"/>
                  <a:gd name="T26" fmla="*/ 221 w 277"/>
                  <a:gd name="T27" fmla="*/ 150 h 322"/>
                  <a:gd name="T28" fmla="*/ 167 w 277"/>
                  <a:gd name="T29" fmla="*/ 214 h 322"/>
                  <a:gd name="T30" fmla="*/ 167 w 277"/>
                  <a:gd name="T3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2">
                    <a:moveTo>
                      <a:pt x="167" y="0"/>
                    </a:moveTo>
                    <a:cubicBezTo>
                      <a:pt x="107" y="0"/>
                      <a:pt x="107" y="0"/>
                      <a:pt x="107" y="0"/>
                    </a:cubicBezTo>
                    <a:cubicBezTo>
                      <a:pt x="107" y="211"/>
                      <a:pt x="107" y="211"/>
                      <a:pt x="107" y="211"/>
                    </a:cubicBezTo>
                    <a:cubicBezTo>
                      <a:pt x="55" y="150"/>
                      <a:pt x="55" y="150"/>
                      <a:pt x="55" y="150"/>
                    </a:cubicBezTo>
                    <a:cubicBezTo>
                      <a:pt x="49" y="144"/>
                      <a:pt x="41" y="140"/>
                      <a:pt x="33" y="140"/>
                    </a:cubicBezTo>
                    <a:cubicBezTo>
                      <a:pt x="26" y="140"/>
                      <a:pt x="19" y="142"/>
                      <a:pt x="13" y="147"/>
                    </a:cubicBezTo>
                    <a:cubicBezTo>
                      <a:pt x="1" y="158"/>
                      <a:pt x="0" y="177"/>
                      <a:pt x="10" y="189"/>
                    </a:cubicBezTo>
                    <a:cubicBezTo>
                      <a:pt x="116" y="311"/>
                      <a:pt x="116" y="311"/>
                      <a:pt x="116" y="311"/>
                    </a:cubicBezTo>
                    <a:cubicBezTo>
                      <a:pt x="121" y="318"/>
                      <a:pt x="130" y="322"/>
                      <a:pt x="138" y="322"/>
                    </a:cubicBezTo>
                    <a:cubicBezTo>
                      <a:pt x="147" y="322"/>
                      <a:pt x="155" y="318"/>
                      <a:pt x="160" y="311"/>
                    </a:cubicBezTo>
                    <a:cubicBezTo>
                      <a:pt x="266" y="189"/>
                      <a:pt x="266" y="189"/>
                      <a:pt x="266" y="189"/>
                    </a:cubicBezTo>
                    <a:cubicBezTo>
                      <a:pt x="277" y="177"/>
                      <a:pt x="275" y="158"/>
                      <a:pt x="263" y="147"/>
                    </a:cubicBezTo>
                    <a:cubicBezTo>
                      <a:pt x="257" y="142"/>
                      <a:pt x="251" y="140"/>
                      <a:pt x="244" y="140"/>
                    </a:cubicBezTo>
                    <a:cubicBezTo>
                      <a:pt x="235" y="140"/>
                      <a:pt x="227" y="144"/>
                      <a:pt x="221" y="150"/>
                    </a:cubicBezTo>
                    <a:cubicBezTo>
                      <a:pt x="167" y="214"/>
                      <a:pt x="167" y="214"/>
                      <a:pt x="167" y="214"/>
                    </a:cubicBezTo>
                    <a:cubicBezTo>
                      <a:pt x="167" y="0"/>
                      <a:pt x="167" y="0"/>
                      <a:pt x="167"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15">
                <a:extLst>
                  <a:ext uri="{FF2B5EF4-FFF2-40B4-BE49-F238E27FC236}">
                    <a16:creationId xmlns:a16="http://schemas.microsoft.com/office/drawing/2014/main" id="{8FB55F9F-C6D5-4438-928F-BA7D6B12E2D2}"/>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close/>
                    <a:moveTo>
                      <a:pt x="1193" y="0"/>
                    </a:moveTo>
                    <a:lnTo>
                      <a:pt x="0" y="0"/>
                    </a:lnTo>
                    <a:lnTo>
                      <a:pt x="0" y="232"/>
                    </a:lnTo>
                    <a:lnTo>
                      <a:pt x="584" y="232"/>
                    </a:lnTo>
                    <a:lnTo>
                      <a:pt x="608" y="232"/>
                    </a:lnTo>
                    <a:lnTo>
                      <a:pt x="1193" y="232"/>
                    </a:lnTo>
                    <a:lnTo>
                      <a:pt x="119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3" name="Rectangle 14">
              <a:extLst>
                <a:ext uri="{FF2B5EF4-FFF2-40B4-BE49-F238E27FC236}">
                  <a16:creationId xmlns:a16="http://schemas.microsoft.com/office/drawing/2014/main" id="{654C8EE7-E710-4E81-9864-82CAB3E61F6F}"/>
                </a:ext>
              </a:extLst>
            </p:cNvPr>
            <p:cNvSpPr>
              <a:spLocks noChangeArrowheads="1"/>
            </p:cNvSpPr>
            <p:nvPr/>
          </p:nvSpPr>
          <p:spPr bwMode="auto">
            <a:xfrm>
              <a:off x="1316547" y="1574720"/>
              <a:ext cx="11816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a:t>W</a:t>
              </a:r>
              <a:r>
                <a:rPr kumimoji="0" lang="en-US" altLang="en-US" sz="1200" b="1" i="0" u="none" strike="noStrike" cap="none" normalizeH="0" baseline="0">
                  <a:ln>
                    <a:noFill/>
                  </a:ln>
                  <a:effectLst/>
                  <a:latin typeface="Arial" panose="020B0604020202020204" pitchFamily="34" charset="0"/>
                </a:rPr>
                <a:t>ind Direction?</a:t>
              </a:r>
              <a:endParaRPr kumimoji="0" lang="en-US" altLang="en-US" sz="1800" b="0" i="0" u="none" strike="noStrike" cap="none" normalizeH="0" baseline="0">
                <a:ln>
                  <a:noFill/>
                </a:ln>
                <a:effectLst/>
                <a:latin typeface="Arial" panose="020B0604020202020204" pitchFamily="34" charset="0"/>
              </a:endParaRPr>
            </a:p>
          </p:txBody>
        </p:sp>
      </p:grpSp>
      <p:grpSp>
        <p:nvGrpSpPr>
          <p:cNvPr id="66" name="Group 65">
            <a:extLst>
              <a:ext uri="{FF2B5EF4-FFF2-40B4-BE49-F238E27FC236}">
                <a16:creationId xmlns:a16="http://schemas.microsoft.com/office/drawing/2014/main" id="{73A8C0DC-0F72-42C6-A868-8017A78D6109}"/>
              </a:ext>
            </a:extLst>
          </p:cNvPr>
          <p:cNvGrpSpPr/>
          <p:nvPr/>
        </p:nvGrpSpPr>
        <p:grpSpPr>
          <a:xfrm>
            <a:off x="1116156" y="2283083"/>
            <a:ext cx="1536700" cy="407988"/>
            <a:chOff x="9229726" y="4735513"/>
            <a:chExt cx="1536700" cy="407988"/>
          </a:xfrm>
        </p:grpSpPr>
        <p:sp>
          <p:nvSpPr>
            <p:cNvPr id="67" name="Freeform 97">
              <a:extLst>
                <a:ext uri="{FF2B5EF4-FFF2-40B4-BE49-F238E27FC236}">
                  <a16:creationId xmlns:a16="http://schemas.microsoft.com/office/drawing/2014/main" id="{2EBD507E-8339-41DA-B9BD-C7B98233D737}"/>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98">
              <a:extLst>
                <a:ext uri="{FF2B5EF4-FFF2-40B4-BE49-F238E27FC236}">
                  <a16:creationId xmlns:a16="http://schemas.microsoft.com/office/drawing/2014/main" id="{AA23A735-302B-484C-B3BF-CF60011423EA}"/>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99">
              <a:extLst>
                <a:ext uri="{FF2B5EF4-FFF2-40B4-BE49-F238E27FC236}">
                  <a16:creationId xmlns:a16="http://schemas.microsoft.com/office/drawing/2014/main" id="{D18981F0-FEC8-4B73-B5C4-7BBD575A9546}"/>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00">
              <a:extLst>
                <a:ext uri="{FF2B5EF4-FFF2-40B4-BE49-F238E27FC236}">
                  <a16:creationId xmlns:a16="http://schemas.microsoft.com/office/drawing/2014/main" id="{772364D5-58F4-4F3B-8790-25029BD718B3}"/>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01">
              <a:extLst>
                <a:ext uri="{FF2B5EF4-FFF2-40B4-BE49-F238E27FC236}">
                  <a16:creationId xmlns:a16="http://schemas.microsoft.com/office/drawing/2014/main" id="{2886D282-7FF0-42B2-A065-9903F4651417}"/>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02">
              <a:extLst>
                <a:ext uri="{FF2B5EF4-FFF2-40B4-BE49-F238E27FC236}">
                  <a16:creationId xmlns:a16="http://schemas.microsoft.com/office/drawing/2014/main" id="{5536A61D-C0CA-4DB4-8A0B-FAC1C2FAA411}"/>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03">
              <a:extLst>
                <a:ext uri="{FF2B5EF4-FFF2-40B4-BE49-F238E27FC236}">
                  <a16:creationId xmlns:a16="http://schemas.microsoft.com/office/drawing/2014/main" id="{F800B8F3-D9D1-4921-9D5B-0F63761BF0E7}"/>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4">
              <a:extLst>
                <a:ext uri="{FF2B5EF4-FFF2-40B4-BE49-F238E27FC236}">
                  <a16:creationId xmlns:a16="http://schemas.microsoft.com/office/drawing/2014/main" id="{A6320F26-34E7-4AC5-9076-79C7318954CD}"/>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05">
              <a:extLst>
                <a:ext uri="{FF2B5EF4-FFF2-40B4-BE49-F238E27FC236}">
                  <a16:creationId xmlns:a16="http://schemas.microsoft.com/office/drawing/2014/main" id="{5A687A8B-277B-401E-83D4-F1A9C59A973B}"/>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06">
              <a:extLst>
                <a:ext uri="{FF2B5EF4-FFF2-40B4-BE49-F238E27FC236}">
                  <a16:creationId xmlns:a16="http://schemas.microsoft.com/office/drawing/2014/main" id="{A16C94C5-C7B4-4FDD-99E8-E7A679A63F58}"/>
                </a:ext>
              </a:extLst>
            </p:cNvPr>
            <p:cNvSpPr>
              <a:spLocks noChangeArrowheads="1"/>
            </p:cNvSpPr>
            <p:nvPr/>
          </p:nvSpPr>
          <p:spPr bwMode="auto">
            <a:xfrm>
              <a:off x="955699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sp>
        <p:nvSpPr>
          <p:cNvPr id="80" name="TextBox 79">
            <a:extLst>
              <a:ext uri="{FF2B5EF4-FFF2-40B4-BE49-F238E27FC236}">
                <a16:creationId xmlns:a16="http://schemas.microsoft.com/office/drawing/2014/main" id="{2FA38A8D-024D-43CC-9E85-E559A2CE913E}"/>
              </a:ext>
            </a:extLst>
          </p:cNvPr>
          <p:cNvSpPr txBox="1"/>
          <p:nvPr/>
        </p:nvSpPr>
        <p:spPr>
          <a:xfrm>
            <a:off x="888984" y="3790204"/>
            <a:ext cx="2037145" cy="369332"/>
          </a:xfrm>
          <a:prstGeom prst="rect">
            <a:avLst/>
          </a:prstGeom>
          <a:noFill/>
        </p:spPr>
        <p:txBody>
          <a:bodyPr wrap="square" rtlCol="0">
            <a:spAutoFit/>
          </a:bodyPr>
          <a:lstStyle/>
          <a:p>
            <a:pPr algn="ctr"/>
            <a:r>
              <a:rPr lang="en-US">
                <a:solidFill>
                  <a:schemeClr val="accent6"/>
                </a:solidFill>
                <a:latin typeface="+mj-lt"/>
              </a:rPr>
              <a:t>SPRAY</a:t>
            </a:r>
          </a:p>
        </p:txBody>
      </p:sp>
      <p:grpSp>
        <p:nvGrpSpPr>
          <p:cNvPr id="52" name="Group 51">
            <a:extLst>
              <a:ext uri="{FF2B5EF4-FFF2-40B4-BE49-F238E27FC236}">
                <a16:creationId xmlns:a16="http://schemas.microsoft.com/office/drawing/2014/main" id="{19BB5626-912F-4EF2-A6AB-1D9EC46A6A1A}"/>
              </a:ext>
            </a:extLst>
          </p:cNvPr>
          <p:cNvGrpSpPr>
            <a:grpSpLocks noChangeAspect="1"/>
          </p:cNvGrpSpPr>
          <p:nvPr/>
        </p:nvGrpSpPr>
        <p:grpSpPr>
          <a:xfrm>
            <a:off x="1578372" y="3053120"/>
            <a:ext cx="656906" cy="658368"/>
            <a:chOff x="-1143000" y="-2349500"/>
            <a:chExt cx="2139950" cy="2144712"/>
          </a:xfrm>
        </p:grpSpPr>
        <p:sp>
          <p:nvSpPr>
            <p:cNvPr id="53" name="Oval 52">
              <a:extLst>
                <a:ext uri="{FF2B5EF4-FFF2-40B4-BE49-F238E27FC236}">
                  <a16:creationId xmlns:a16="http://schemas.microsoft.com/office/drawing/2014/main" id="{53E051CF-100E-44DB-92BD-E2B31849BD29}"/>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8">
              <a:extLst>
                <a:ext uri="{FF2B5EF4-FFF2-40B4-BE49-F238E27FC236}">
                  <a16:creationId xmlns:a16="http://schemas.microsoft.com/office/drawing/2014/main" id="{64E2478B-026B-42CD-A286-2586A1D0D3DD}"/>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 name="Picture 7">
            <a:extLst>
              <a:ext uri="{FF2B5EF4-FFF2-40B4-BE49-F238E27FC236}">
                <a16:creationId xmlns:a16="http://schemas.microsoft.com/office/drawing/2014/main" id="{9A65C9EC-5FB6-46AD-814E-9F213F79155E}"/>
              </a:ext>
            </a:extLst>
          </p:cNvPr>
          <p:cNvPicPr>
            <a:picLocks noChangeAspect="1"/>
          </p:cNvPicPr>
          <p:nvPr/>
        </p:nvPicPr>
        <p:blipFill>
          <a:blip r:embed="rId3"/>
          <a:stretch>
            <a:fillRect/>
          </a:stretch>
        </p:blipFill>
        <p:spPr>
          <a:xfrm>
            <a:off x="914400" y="6337268"/>
            <a:ext cx="1171575" cy="495300"/>
          </a:xfrm>
          <a:prstGeom prst="rect">
            <a:avLst/>
          </a:prstGeom>
        </p:spPr>
      </p:pic>
      <p:pic>
        <p:nvPicPr>
          <p:cNvPr id="56" name="Picture 55">
            <a:extLst>
              <a:ext uri="{FF2B5EF4-FFF2-40B4-BE49-F238E27FC236}">
                <a16:creationId xmlns:a16="http://schemas.microsoft.com/office/drawing/2014/main" id="{7B0070E2-632F-4A34-B33F-1437D1CEDCCD}"/>
              </a:ext>
            </a:extLst>
          </p:cNvPr>
          <p:cNvPicPr>
            <a:picLocks noChangeAspect="1"/>
          </p:cNvPicPr>
          <p:nvPr/>
        </p:nvPicPr>
        <p:blipFill>
          <a:blip r:embed="rId4"/>
          <a:stretch>
            <a:fillRect/>
          </a:stretch>
        </p:blipFill>
        <p:spPr>
          <a:xfrm>
            <a:off x="838200" y="6393164"/>
            <a:ext cx="1333500" cy="378995"/>
          </a:xfrm>
          <a:prstGeom prst="rect">
            <a:avLst/>
          </a:prstGeom>
        </p:spPr>
      </p:pic>
      <p:sp>
        <p:nvSpPr>
          <p:cNvPr id="57" name="Rectangle 41">
            <a:extLst>
              <a:ext uri="{FF2B5EF4-FFF2-40B4-BE49-F238E27FC236}">
                <a16:creationId xmlns:a16="http://schemas.microsoft.com/office/drawing/2014/main" id="{9C9F39C7-F135-4EAE-AEF5-C1BD114670D3}"/>
              </a:ext>
            </a:extLst>
          </p:cNvPr>
          <p:cNvSpPr>
            <a:spLocks noChangeArrowheads="1"/>
          </p:cNvSpPr>
          <p:nvPr/>
        </p:nvSpPr>
        <p:spPr bwMode="auto">
          <a:xfrm>
            <a:off x="6653772" y="3573658"/>
            <a:ext cx="155747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dirty="0">
                <a:solidFill>
                  <a:schemeClr val="bg1"/>
                </a:solidFill>
                <a:latin typeface="Arial Narrow"/>
              </a:rPr>
              <a:t>DICAMBA </a:t>
            </a:r>
            <a:endParaRPr lang="en-US" dirty="0">
              <a:solidFill>
                <a:schemeClr val="bg1"/>
              </a:solidFill>
            </a:endParaRPr>
          </a:p>
          <a:p>
            <a:pPr algn="ctr">
              <a:spcBef>
                <a:spcPts val="0"/>
              </a:spcBef>
              <a:spcAft>
                <a:spcPts val="0"/>
              </a:spcAft>
              <a:defRPr/>
            </a:pPr>
            <a:r>
              <a:rPr lang="en-US" altLang="en-US" sz="1400" b="1" kern="0" spc="140" dirty="0">
                <a:solidFill>
                  <a:schemeClr val="bg1"/>
                </a:solidFill>
                <a:latin typeface="Arial Narrow"/>
              </a:rPr>
              <a:t>TOLERANT CROP</a:t>
            </a:r>
            <a:endParaRPr lang="en-US" dirty="0">
              <a:solidFill>
                <a:schemeClr val="bg1"/>
              </a:solidFill>
            </a:endParaRPr>
          </a:p>
          <a:p>
            <a:pPr algn="ctr" eaLnBrk="1" fontAlgn="auto" hangingPunct="1">
              <a:spcBef>
                <a:spcPts val="0"/>
              </a:spcBef>
              <a:spcAft>
                <a:spcPts val="0"/>
              </a:spcAft>
              <a:defRPr/>
            </a:pPr>
            <a:r>
              <a:rPr lang="en-US" altLang="en-US" sz="1400" b="1" kern="0" spc="140" dirty="0">
                <a:solidFill>
                  <a:schemeClr val="bg1"/>
                </a:solidFill>
                <a:latin typeface="Arial Narrow"/>
              </a:rPr>
              <a:t>APPROVED APPLICATION</a:t>
            </a:r>
          </a:p>
        </p:txBody>
      </p:sp>
      <p:sp>
        <p:nvSpPr>
          <p:cNvPr id="58" name="Rectangle 106">
            <a:extLst>
              <a:ext uri="{FF2B5EF4-FFF2-40B4-BE49-F238E27FC236}">
                <a16:creationId xmlns:a16="http://schemas.microsoft.com/office/drawing/2014/main" id="{10A1C3FA-6153-4B3E-AD9C-DFEEF3B478F0}"/>
              </a:ext>
            </a:extLst>
          </p:cNvPr>
          <p:cNvSpPr>
            <a:spLocks noChangeArrowheads="1"/>
          </p:cNvSpPr>
          <p:nvPr/>
        </p:nvSpPr>
        <p:spPr bwMode="auto">
          <a:xfrm>
            <a:off x="4328814" y="1994367"/>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sp>
        <p:nvSpPr>
          <p:cNvPr id="7" name="Rectangle 6">
            <a:extLst>
              <a:ext uri="{FF2B5EF4-FFF2-40B4-BE49-F238E27FC236}">
                <a16:creationId xmlns:a16="http://schemas.microsoft.com/office/drawing/2014/main" id="{314DD408-1057-4E5A-8F69-6AE62D2DB36D}"/>
              </a:ext>
            </a:extLst>
          </p:cNvPr>
          <p:cNvSpPr/>
          <p:nvPr/>
        </p:nvSpPr>
        <p:spPr>
          <a:xfrm>
            <a:off x="4010168" y="1643331"/>
            <a:ext cx="3864030" cy="1317136"/>
          </a:xfrm>
          <a:prstGeom prst="rect">
            <a:avLst/>
          </a:prstGeom>
          <a:solidFill>
            <a:srgbClr val="FFFFF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0" fontAlgn="base" hangingPunct="0">
              <a:lnSpc>
                <a:spcPct val="90000"/>
              </a:lnSpc>
              <a:spcBef>
                <a:spcPct val="0"/>
              </a:spcBef>
              <a:spcAft>
                <a:spcPct val="0"/>
              </a:spcAft>
            </a:pPr>
            <a:r>
              <a:rPr lang="en-US" sz="1600">
                <a:solidFill>
                  <a:schemeClr val="tx1"/>
                </a:solidFill>
                <a:latin typeface="Arial Narrow" panose="020B0606020202030204" pitchFamily="34" charset="0"/>
              </a:rPr>
              <a:t>It is important for the applicator to be aware that wind direction may vary during the application. If wind direction shifts such that the wind is blowing toward adjacent non-dicamba tolerant sensitive crops, the applicator </a:t>
            </a:r>
            <a:r>
              <a:rPr lang="en-US" sz="1600" b="1">
                <a:solidFill>
                  <a:schemeClr val="tx1"/>
                </a:solidFill>
                <a:latin typeface="Arial Narrow" panose="020B0606020202030204" pitchFamily="34" charset="0"/>
              </a:rPr>
              <a:t>must STOP</a:t>
            </a:r>
            <a:r>
              <a:rPr lang="en-US" sz="1600">
                <a:solidFill>
                  <a:schemeClr val="tx1"/>
                </a:solidFill>
                <a:latin typeface="Arial Narrow" panose="020B0606020202030204" pitchFamily="34" charset="0"/>
              </a:rPr>
              <a:t> the application.</a:t>
            </a:r>
          </a:p>
        </p:txBody>
      </p:sp>
    </p:spTree>
    <p:extLst>
      <p:ext uri="{BB962C8B-B14F-4D97-AF65-F5344CB8AC3E}">
        <p14:creationId xmlns:p14="http://schemas.microsoft.com/office/powerpoint/2010/main" val="80116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anim calcmode="lin" valueType="num">
                                      <p:cBhvr>
                                        <p:cTn id="8" dur="500" fill="hold"/>
                                        <p:tgtEl>
                                          <p:spTgt spid="52"/>
                                        </p:tgtEl>
                                        <p:attrNameLst>
                                          <p:attrName>ppt_x</p:attrName>
                                        </p:attrNameLst>
                                      </p:cBhvr>
                                      <p:tavLst>
                                        <p:tav tm="0">
                                          <p:val>
                                            <p:strVal val="#ppt_x"/>
                                          </p:val>
                                        </p:tav>
                                        <p:tav tm="100000">
                                          <p:val>
                                            <p:strVal val="#ppt_x"/>
                                          </p:val>
                                        </p:tav>
                                      </p:tavLst>
                                    </p:anim>
                                    <p:anim calcmode="lin" valueType="num">
                                      <p:cBhvr>
                                        <p:cTn id="9" dur="500" fill="hold"/>
                                        <p:tgtEl>
                                          <p:spTgt spid="5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80"/>
                                        </p:tgtEl>
                                        <p:attrNameLst>
                                          <p:attrName>style.visibility</p:attrName>
                                        </p:attrNameLst>
                                      </p:cBhvr>
                                      <p:to>
                                        <p:strVal val="visible"/>
                                      </p:to>
                                    </p:set>
                                    <p:animEffect transition="in" filter="fade">
                                      <p:cBhvr>
                                        <p:cTn id="13" dur="500"/>
                                        <p:tgtEl>
                                          <p:spTgt spid="8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53B704B-A89B-42DE-AA08-283F9E91A6C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8045" t="-121"/>
          <a:stretch/>
        </p:blipFill>
        <p:spPr>
          <a:xfrm>
            <a:off x="-347083" y="188575"/>
            <a:ext cx="5730631" cy="6010208"/>
          </a:xfrm>
          <a:prstGeom prst="rect">
            <a:avLst/>
          </a:prstGeom>
        </p:spPr>
      </p:pic>
      <p:sp>
        <p:nvSpPr>
          <p:cNvPr id="21" name="Rectangle 20">
            <a:extLst>
              <a:ext uri="{FF2B5EF4-FFF2-40B4-BE49-F238E27FC236}">
                <a16:creationId xmlns:a16="http://schemas.microsoft.com/office/drawing/2014/main" id="{304286B6-E3C6-48F5-B80A-5F4C58E0BE74}"/>
              </a:ext>
            </a:extLst>
          </p:cNvPr>
          <p:cNvSpPr/>
          <p:nvPr/>
        </p:nvSpPr>
        <p:spPr>
          <a:xfrm>
            <a:off x="9664068" y="6314739"/>
            <a:ext cx="2045491" cy="543261"/>
          </a:xfrm>
          <a:prstGeom prst="rect">
            <a:avLst/>
          </a:prstGeom>
          <a:gradFill flip="none" rotWithShape="1">
            <a:gsLst>
              <a:gs pos="0">
                <a:schemeClr val="tx1"/>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1" name="Group 10">
            <a:extLst>
              <a:ext uri="{FF2B5EF4-FFF2-40B4-BE49-F238E27FC236}">
                <a16:creationId xmlns:a16="http://schemas.microsoft.com/office/drawing/2014/main" id="{60D6E55E-3C3C-4323-A836-898D195F8EFF}"/>
              </a:ext>
            </a:extLst>
          </p:cNvPr>
          <p:cNvGrpSpPr/>
          <p:nvPr/>
        </p:nvGrpSpPr>
        <p:grpSpPr>
          <a:xfrm>
            <a:off x="5532507" y="3219550"/>
            <a:ext cx="5977006" cy="850616"/>
            <a:chOff x="5532507" y="2188187"/>
            <a:chExt cx="5745093" cy="850616"/>
          </a:xfrm>
        </p:grpSpPr>
        <p:sp>
          <p:nvSpPr>
            <p:cNvPr id="70" name="Rectangle 69">
              <a:extLst>
                <a:ext uri="{FF2B5EF4-FFF2-40B4-BE49-F238E27FC236}">
                  <a16:creationId xmlns:a16="http://schemas.microsoft.com/office/drawing/2014/main" id="{DC41FA07-74A5-411E-A2BD-C82918D9B4E7}"/>
                </a:ext>
              </a:extLst>
            </p:cNvPr>
            <p:cNvSpPr/>
            <p:nvPr/>
          </p:nvSpPr>
          <p:spPr>
            <a:xfrm flipV="1">
              <a:off x="5532507" y="2188187"/>
              <a:ext cx="5735154" cy="8241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Content Placeholder 2">
              <a:extLst>
                <a:ext uri="{FF2B5EF4-FFF2-40B4-BE49-F238E27FC236}">
                  <a16:creationId xmlns:a16="http://schemas.microsoft.com/office/drawing/2014/main" id="{FC5769B6-3EE7-4C63-9199-EE74B3D3A4B4}"/>
                </a:ext>
              </a:extLst>
            </p:cNvPr>
            <p:cNvSpPr txBox="1">
              <a:spLocks/>
            </p:cNvSpPr>
            <p:nvPr/>
          </p:nvSpPr>
          <p:spPr>
            <a:xfrm>
              <a:off x="5642359" y="2198573"/>
              <a:ext cx="5635241" cy="840230"/>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1"/>
                  </a:solidFill>
                  <a:latin typeface="+mj-lt"/>
                </a:rPr>
                <a:t>ALL APPLICATORS MUST COMPLETE</a:t>
              </a:r>
              <a:br>
                <a:rPr lang="en-US" sz="1800" dirty="0">
                  <a:solidFill>
                    <a:schemeClr val="bg1"/>
                  </a:solidFill>
                  <a:latin typeface="+mj-lt"/>
                </a:rPr>
              </a:br>
              <a:r>
                <a:rPr lang="en-US" sz="1800" dirty="0">
                  <a:solidFill>
                    <a:schemeClr val="bg1"/>
                  </a:solidFill>
                  <a:latin typeface="+mj-lt"/>
                </a:rPr>
                <a:t>ANNUAL DICAMBA TRAINING PROVIDED BY:</a:t>
              </a:r>
            </a:p>
          </p:txBody>
        </p:sp>
      </p:grpSp>
      <p:sp>
        <p:nvSpPr>
          <p:cNvPr id="117" name="Slide Number Placeholder 116">
            <a:extLst>
              <a:ext uri="{FF2B5EF4-FFF2-40B4-BE49-F238E27FC236}">
                <a16:creationId xmlns:a16="http://schemas.microsoft.com/office/drawing/2014/main" id="{987B6F06-5C81-47C7-86F8-42B3CA068567}"/>
              </a:ext>
            </a:extLst>
          </p:cNvPr>
          <p:cNvSpPr>
            <a:spLocks noGrp="1"/>
          </p:cNvSpPr>
          <p:nvPr>
            <p:ph type="sldNum" sz="quarter" idx="16"/>
          </p:nvPr>
        </p:nvSpPr>
        <p:spPr/>
        <p:txBody>
          <a:bodyPr/>
          <a:lstStyle/>
          <a:p>
            <a:fld id="{5382645D-9DD6-408C-B0EA-C65795F9B1DE}" type="slidenum">
              <a:rPr lang="en-US" smtClean="0"/>
              <a:pPr/>
              <a:t>3</a:t>
            </a:fld>
            <a:endParaRPr lang="en-US"/>
          </a:p>
        </p:txBody>
      </p:sp>
      <p:sp>
        <p:nvSpPr>
          <p:cNvPr id="2" name="Footer Placeholder 1">
            <a:extLst>
              <a:ext uri="{FF2B5EF4-FFF2-40B4-BE49-F238E27FC236}">
                <a16:creationId xmlns:a16="http://schemas.microsoft.com/office/drawing/2014/main" id="{DB2CB66F-0333-42CA-9B53-688220FC48BF}"/>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38" name="Title 12">
            <a:extLst>
              <a:ext uri="{FF2B5EF4-FFF2-40B4-BE49-F238E27FC236}">
                <a16:creationId xmlns:a16="http://schemas.microsoft.com/office/drawing/2014/main" id="{AAE6D0F8-9E80-4A1C-AA4B-199DEC5BA91A}"/>
              </a:ext>
            </a:extLst>
          </p:cNvPr>
          <p:cNvSpPr txBox="1">
            <a:spLocks/>
          </p:cNvSpPr>
          <p:nvPr/>
        </p:nvSpPr>
        <p:spPr>
          <a:xfrm>
            <a:off x="5396948" y="321109"/>
            <a:ext cx="7543799" cy="48013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r>
              <a:rPr lang="en-US" sz="2800"/>
              <a:t>General label information</a:t>
            </a:r>
          </a:p>
        </p:txBody>
      </p:sp>
      <p:grpSp>
        <p:nvGrpSpPr>
          <p:cNvPr id="7" name="Group 6">
            <a:extLst>
              <a:ext uri="{FF2B5EF4-FFF2-40B4-BE49-F238E27FC236}">
                <a16:creationId xmlns:a16="http://schemas.microsoft.com/office/drawing/2014/main" id="{BE3DB512-0D69-4011-919B-E1F18CBD5012}"/>
              </a:ext>
            </a:extLst>
          </p:cNvPr>
          <p:cNvGrpSpPr/>
          <p:nvPr/>
        </p:nvGrpSpPr>
        <p:grpSpPr>
          <a:xfrm>
            <a:off x="5541676" y="4044646"/>
            <a:ext cx="5735924" cy="1419241"/>
            <a:chOff x="5541676" y="2690171"/>
            <a:chExt cx="5735924" cy="1419241"/>
          </a:xfrm>
        </p:grpSpPr>
        <p:sp>
          <p:nvSpPr>
            <p:cNvPr id="72" name="Isosceles Triangle 20">
              <a:extLst>
                <a:ext uri="{FF2B5EF4-FFF2-40B4-BE49-F238E27FC236}">
                  <a16:creationId xmlns:a16="http://schemas.microsoft.com/office/drawing/2014/main" id="{E4DBAD85-9302-48DA-8F9A-66FA1812378A}"/>
                </a:ext>
              </a:extLst>
            </p:cNvPr>
            <p:cNvSpPr/>
            <p:nvPr/>
          </p:nvSpPr>
          <p:spPr>
            <a:xfrm rot="10800000">
              <a:off x="8276273" y="2690171"/>
              <a:ext cx="267501" cy="13121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99" name="Group 98">
              <a:extLst>
                <a:ext uri="{FF2B5EF4-FFF2-40B4-BE49-F238E27FC236}">
                  <a16:creationId xmlns:a16="http://schemas.microsoft.com/office/drawing/2014/main" id="{80CCF4E0-8F5A-4083-ACC4-8A0EF4756AF9}"/>
                </a:ext>
              </a:extLst>
            </p:cNvPr>
            <p:cNvGrpSpPr/>
            <p:nvPr/>
          </p:nvGrpSpPr>
          <p:grpSpPr>
            <a:xfrm>
              <a:off x="5541676" y="2916293"/>
              <a:ext cx="5735924" cy="1193119"/>
              <a:chOff x="5541676" y="4913292"/>
              <a:chExt cx="5260146" cy="1193119"/>
            </a:xfrm>
          </p:grpSpPr>
          <p:sp>
            <p:nvSpPr>
              <p:cNvPr id="100" name="Rectangle 99">
                <a:extLst>
                  <a:ext uri="{FF2B5EF4-FFF2-40B4-BE49-F238E27FC236}">
                    <a16:creationId xmlns:a16="http://schemas.microsoft.com/office/drawing/2014/main" id="{923116CC-704F-401A-8977-5E128A39A0D3}"/>
                  </a:ext>
                </a:extLst>
              </p:cNvPr>
              <p:cNvSpPr/>
              <p:nvPr/>
            </p:nvSpPr>
            <p:spPr>
              <a:xfrm>
                <a:off x="9441692" y="4913292"/>
                <a:ext cx="1360130" cy="1193119"/>
              </a:xfrm>
              <a:prstGeom prst="rect">
                <a:avLst/>
              </a:prstGeom>
              <a:solidFill>
                <a:schemeClr val="bg2">
                  <a:lumMod val="75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7BC7B3E8-5246-4C4C-B801-CC86F9DF67BB}"/>
                  </a:ext>
                </a:extLst>
              </p:cNvPr>
              <p:cNvSpPr/>
              <p:nvPr/>
            </p:nvSpPr>
            <p:spPr>
              <a:xfrm>
                <a:off x="5541676" y="4913292"/>
                <a:ext cx="1360130" cy="1193119"/>
              </a:xfrm>
              <a:prstGeom prst="rect">
                <a:avLst/>
              </a:prstGeom>
              <a:solidFill>
                <a:schemeClr val="bg2">
                  <a:lumMod val="75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C2E2305F-F3AD-4928-8BE8-E38BEEB124A9}"/>
                  </a:ext>
                </a:extLst>
              </p:cNvPr>
              <p:cNvSpPr/>
              <p:nvPr/>
            </p:nvSpPr>
            <p:spPr>
              <a:xfrm>
                <a:off x="7489631" y="4913292"/>
                <a:ext cx="1360130" cy="1193119"/>
              </a:xfrm>
              <a:prstGeom prst="rect">
                <a:avLst/>
              </a:prstGeom>
              <a:solidFill>
                <a:schemeClr val="bg2">
                  <a:lumMod val="75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Box 102">
                <a:extLst>
                  <a:ext uri="{FF2B5EF4-FFF2-40B4-BE49-F238E27FC236}">
                    <a16:creationId xmlns:a16="http://schemas.microsoft.com/office/drawing/2014/main" id="{6898A050-B08E-48B7-BB3B-1EBEA471C37D}"/>
                  </a:ext>
                </a:extLst>
              </p:cNvPr>
              <p:cNvSpPr txBox="1"/>
              <p:nvPr/>
            </p:nvSpPr>
            <p:spPr>
              <a:xfrm>
                <a:off x="5564721" y="4977505"/>
                <a:ext cx="1314039" cy="1077218"/>
              </a:xfrm>
              <a:prstGeom prst="rect">
                <a:avLst/>
              </a:prstGeom>
              <a:noFill/>
            </p:spPr>
            <p:txBody>
              <a:bodyPr wrap="square" rtlCol="0">
                <a:spAutoFit/>
              </a:bodyPr>
              <a:lstStyle/>
              <a:p>
                <a:pPr algn="ctr"/>
                <a:r>
                  <a:rPr lang="en-US" sz="1600" b="1">
                    <a:solidFill>
                      <a:schemeClr val="accent6"/>
                    </a:solidFill>
                  </a:rPr>
                  <a:t>State-Provided Mandatory Training</a:t>
                </a:r>
              </a:p>
            </p:txBody>
          </p:sp>
          <p:sp>
            <p:nvSpPr>
              <p:cNvPr id="104" name="TextBox 103">
                <a:extLst>
                  <a:ext uri="{FF2B5EF4-FFF2-40B4-BE49-F238E27FC236}">
                    <a16:creationId xmlns:a16="http://schemas.microsoft.com/office/drawing/2014/main" id="{5C88483A-807A-4772-97A5-0121EDA9E21E}"/>
                  </a:ext>
                </a:extLst>
              </p:cNvPr>
              <p:cNvSpPr txBox="1"/>
              <p:nvPr/>
            </p:nvSpPr>
            <p:spPr>
              <a:xfrm>
                <a:off x="7506327" y="5100616"/>
                <a:ext cx="1343433" cy="830997"/>
              </a:xfrm>
              <a:prstGeom prst="rect">
                <a:avLst/>
              </a:prstGeom>
              <a:noFill/>
            </p:spPr>
            <p:txBody>
              <a:bodyPr wrap="square" rtlCol="0">
                <a:spAutoFit/>
              </a:bodyPr>
              <a:lstStyle/>
              <a:p>
                <a:pPr algn="ctr"/>
                <a:r>
                  <a:rPr lang="en-US" sz="1600" b="1">
                    <a:solidFill>
                      <a:schemeClr val="accent6"/>
                    </a:solidFill>
                  </a:rPr>
                  <a:t>State-Authorized Provider</a:t>
                </a:r>
              </a:p>
            </p:txBody>
          </p:sp>
          <p:sp>
            <p:nvSpPr>
              <p:cNvPr id="105" name="TextBox 104">
                <a:extLst>
                  <a:ext uri="{FF2B5EF4-FFF2-40B4-BE49-F238E27FC236}">
                    <a16:creationId xmlns:a16="http://schemas.microsoft.com/office/drawing/2014/main" id="{A6C51F37-9E4C-420D-AAAA-5C9C37A6752E}"/>
                  </a:ext>
                </a:extLst>
              </p:cNvPr>
              <p:cNvSpPr txBox="1"/>
              <p:nvPr/>
            </p:nvSpPr>
            <p:spPr>
              <a:xfrm>
                <a:off x="9457106" y="5100616"/>
                <a:ext cx="1344716" cy="830997"/>
              </a:xfrm>
              <a:prstGeom prst="rect">
                <a:avLst/>
              </a:prstGeom>
              <a:noFill/>
            </p:spPr>
            <p:txBody>
              <a:bodyPr wrap="square" rtlCol="0">
                <a:spAutoFit/>
              </a:bodyPr>
              <a:lstStyle/>
              <a:p>
                <a:pPr algn="ctr"/>
                <a:r>
                  <a:rPr lang="en-US" sz="1600" b="1">
                    <a:solidFill>
                      <a:schemeClr val="accent6"/>
                    </a:solidFill>
                  </a:rPr>
                  <a:t>Registrant Provided Training</a:t>
                </a:r>
              </a:p>
            </p:txBody>
          </p:sp>
          <p:grpSp>
            <p:nvGrpSpPr>
              <p:cNvPr id="106" name="Group 105">
                <a:extLst>
                  <a:ext uri="{FF2B5EF4-FFF2-40B4-BE49-F238E27FC236}">
                    <a16:creationId xmlns:a16="http://schemas.microsoft.com/office/drawing/2014/main" id="{70866546-0CEB-46A7-BC67-E93E0B3351E7}"/>
                  </a:ext>
                </a:extLst>
              </p:cNvPr>
              <p:cNvGrpSpPr/>
              <p:nvPr/>
            </p:nvGrpSpPr>
            <p:grpSpPr>
              <a:xfrm>
                <a:off x="8849761" y="5336310"/>
                <a:ext cx="608628" cy="365760"/>
                <a:chOff x="8849761" y="5336310"/>
                <a:chExt cx="608628" cy="365760"/>
              </a:xfrm>
            </p:grpSpPr>
            <p:cxnSp>
              <p:nvCxnSpPr>
                <p:cNvPr id="112" name="Straight Connector 111">
                  <a:extLst>
                    <a:ext uri="{FF2B5EF4-FFF2-40B4-BE49-F238E27FC236}">
                      <a16:creationId xmlns:a16="http://schemas.microsoft.com/office/drawing/2014/main" id="{AD10920C-2EA1-4042-B90A-3E22729F3377}"/>
                    </a:ext>
                  </a:extLst>
                </p:cNvPr>
                <p:cNvCxnSpPr>
                  <a:cxnSpLocks/>
                </p:cNvCxnSpPr>
                <p:nvPr/>
              </p:nvCxnSpPr>
              <p:spPr>
                <a:xfrm>
                  <a:off x="8849761" y="5509851"/>
                  <a:ext cx="608628"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4" name="Oval 113">
                  <a:extLst>
                    <a:ext uri="{FF2B5EF4-FFF2-40B4-BE49-F238E27FC236}">
                      <a16:creationId xmlns:a16="http://schemas.microsoft.com/office/drawing/2014/main" id="{0B0E5696-D1BD-46EE-9B1B-C6FC9003BC31}"/>
                    </a:ext>
                  </a:extLst>
                </p:cNvPr>
                <p:cNvSpPr/>
                <p:nvPr/>
              </p:nvSpPr>
              <p:spPr>
                <a:xfrm>
                  <a:off x="8986364" y="5336310"/>
                  <a:ext cx="335421" cy="365760"/>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107" name="Group 106">
                <a:extLst>
                  <a:ext uri="{FF2B5EF4-FFF2-40B4-BE49-F238E27FC236}">
                    <a16:creationId xmlns:a16="http://schemas.microsoft.com/office/drawing/2014/main" id="{BCED5406-FEE3-43FF-9D1C-777945F4BCF7}"/>
                  </a:ext>
                </a:extLst>
              </p:cNvPr>
              <p:cNvGrpSpPr/>
              <p:nvPr/>
            </p:nvGrpSpPr>
            <p:grpSpPr>
              <a:xfrm>
                <a:off x="6897700" y="5336310"/>
                <a:ext cx="608628" cy="365760"/>
                <a:chOff x="8849761" y="5336310"/>
                <a:chExt cx="608628" cy="365760"/>
              </a:xfrm>
            </p:grpSpPr>
            <p:cxnSp>
              <p:nvCxnSpPr>
                <p:cNvPr id="108" name="Straight Connector 107">
                  <a:extLst>
                    <a:ext uri="{FF2B5EF4-FFF2-40B4-BE49-F238E27FC236}">
                      <a16:creationId xmlns:a16="http://schemas.microsoft.com/office/drawing/2014/main" id="{B082B8FB-835B-45CF-A68C-C2C07E3477B0}"/>
                    </a:ext>
                  </a:extLst>
                </p:cNvPr>
                <p:cNvCxnSpPr>
                  <a:cxnSpLocks/>
                </p:cNvCxnSpPr>
                <p:nvPr/>
              </p:nvCxnSpPr>
              <p:spPr>
                <a:xfrm>
                  <a:off x="8849761" y="5509851"/>
                  <a:ext cx="608628"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502C9382-6ACF-43C8-8570-37B9086E4260}"/>
                    </a:ext>
                  </a:extLst>
                </p:cNvPr>
                <p:cNvSpPr/>
                <p:nvPr/>
              </p:nvSpPr>
              <p:spPr>
                <a:xfrm>
                  <a:off x="8986364" y="5336310"/>
                  <a:ext cx="335421" cy="365760"/>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sp>
          <p:nvSpPr>
            <p:cNvPr id="40" name="TextBox 39">
              <a:extLst>
                <a:ext uri="{FF2B5EF4-FFF2-40B4-BE49-F238E27FC236}">
                  <a16:creationId xmlns:a16="http://schemas.microsoft.com/office/drawing/2014/main" id="{9F3F18F1-2F19-4833-A46B-D93BDEC7A9AB}"/>
                </a:ext>
              </a:extLst>
            </p:cNvPr>
            <p:cNvSpPr txBox="1"/>
            <p:nvPr/>
          </p:nvSpPr>
          <p:spPr>
            <a:xfrm>
              <a:off x="9213063" y="3373435"/>
              <a:ext cx="516008" cy="338555"/>
            </a:xfrm>
            <a:prstGeom prst="rect">
              <a:avLst/>
            </a:prstGeom>
            <a:noFill/>
          </p:spPr>
          <p:txBody>
            <a:bodyPr wrap="none" rtlCol="0">
              <a:spAutoFit/>
            </a:bodyPr>
            <a:lstStyle/>
            <a:p>
              <a:pPr algn="ctr"/>
              <a:r>
                <a:rPr lang="en-US" sz="1400" b="1">
                  <a:solidFill>
                    <a:schemeClr val="bg1"/>
                  </a:solidFill>
                  <a:latin typeface="+mj-lt"/>
                </a:rPr>
                <a:t>OR</a:t>
              </a:r>
            </a:p>
          </p:txBody>
        </p:sp>
        <p:sp>
          <p:nvSpPr>
            <p:cNvPr id="41" name="TextBox 40">
              <a:extLst>
                <a:ext uri="{FF2B5EF4-FFF2-40B4-BE49-F238E27FC236}">
                  <a16:creationId xmlns:a16="http://schemas.microsoft.com/office/drawing/2014/main" id="{C70A1841-4862-4492-AE31-147D64125D14}"/>
                </a:ext>
              </a:extLst>
            </p:cNvPr>
            <p:cNvSpPr txBox="1"/>
            <p:nvPr/>
          </p:nvSpPr>
          <p:spPr>
            <a:xfrm>
              <a:off x="7084439" y="3366769"/>
              <a:ext cx="516008" cy="338555"/>
            </a:xfrm>
            <a:prstGeom prst="rect">
              <a:avLst/>
            </a:prstGeom>
            <a:noFill/>
          </p:spPr>
          <p:txBody>
            <a:bodyPr wrap="none" rtlCol="0">
              <a:spAutoFit/>
            </a:bodyPr>
            <a:lstStyle/>
            <a:p>
              <a:pPr algn="ctr"/>
              <a:r>
                <a:rPr lang="en-US" sz="1400" b="1">
                  <a:solidFill>
                    <a:schemeClr val="bg1"/>
                  </a:solidFill>
                  <a:latin typeface="+mj-lt"/>
                </a:rPr>
                <a:t>OR</a:t>
              </a:r>
            </a:p>
          </p:txBody>
        </p:sp>
      </p:grpSp>
      <p:sp>
        <p:nvSpPr>
          <p:cNvPr id="5" name="TextBox 4">
            <a:extLst>
              <a:ext uri="{FF2B5EF4-FFF2-40B4-BE49-F238E27FC236}">
                <a16:creationId xmlns:a16="http://schemas.microsoft.com/office/drawing/2014/main" id="{337EF617-FC11-4229-82EB-87643034A5D8}"/>
              </a:ext>
            </a:extLst>
          </p:cNvPr>
          <p:cNvSpPr txBox="1"/>
          <p:nvPr/>
        </p:nvSpPr>
        <p:spPr>
          <a:xfrm>
            <a:off x="5557557" y="2103252"/>
            <a:ext cx="5735155" cy="923330"/>
          </a:xfrm>
          <a:prstGeom prst="rect">
            <a:avLst/>
          </a:prstGeom>
          <a:noFill/>
        </p:spPr>
        <p:txBody>
          <a:bodyPr wrap="square" rtlCol="0">
            <a:spAutoFit/>
          </a:bodyPr>
          <a:lstStyle/>
          <a:p>
            <a:r>
              <a:rPr lang="en-US"/>
              <a:t>Refer to specific state and local labeling/rulemaking for possible additional labeling information or for certification process. </a:t>
            </a:r>
          </a:p>
        </p:txBody>
      </p:sp>
      <p:grpSp>
        <p:nvGrpSpPr>
          <p:cNvPr id="6" name="Group 5">
            <a:extLst>
              <a:ext uri="{FF2B5EF4-FFF2-40B4-BE49-F238E27FC236}">
                <a16:creationId xmlns:a16="http://schemas.microsoft.com/office/drawing/2014/main" id="{7EDA7B80-6B4C-4A2E-AF30-388F84E91490}"/>
              </a:ext>
            </a:extLst>
          </p:cNvPr>
          <p:cNvGrpSpPr/>
          <p:nvPr/>
        </p:nvGrpSpPr>
        <p:grpSpPr>
          <a:xfrm>
            <a:off x="5522279" y="1322866"/>
            <a:ext cx="5987234" cy="704930"/>
            <a:chOff x="5522279" y="1054513"/>
            <a:chExt cx="5745796" cy="704930"/>
          </a:xfrm>
        </p:grpSpPr>
        <p:sp>
          <p:nvSpPr>
            <p:cNvPr id="29" name="Rectangle 28">
              <a:extLst>
                <a:ext uri="{FF2B5EF4-FFF2-40B4-BE49-F238E27FC236}">
                  <a16:creationId xmlns:a16="http://schemas.microsoft.com/office/drawing/2014/main" id="{086EF93F-1465-4B79-B5E7-1E88EC974ED7}"/>
                </a:ext>
              </a:extLst>
            </p:cNvPr>
            <p:cNvSpPr/>
            <p:nvPr/>
          </p:nvSpPr>
          <p:spPr>
            <a:xfrm rot="10800000" flipV="1">
              <a:off x="5522279" y="1054513"/>
              <a:ext cx="5735154" cy="7049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9A69789E-D5F6-40DD-9055-1937594F4396}"/>
                </a:ext>
              </a:extLst>
            </p:cNvPr>
            <p:cNvSpPr txBox="1">
              <a:spLocks/>
            </p:cNvSpPr>
            <p:nvPr/>
          </p:nvSpPr>
          <p:spPr>
            <a:xfrm>
              <a:off x="5632834" y="1114467"/>
              <a:ext cx="5635241" cy="590931"/>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a:solidFill>
                    <a:schemeClr val="bg1"/>
                  </a:solidFill>
                  <a:latin typeface="+mj-lt"/>
                </a:rPr>
                <a:t>FOR RETAIL SALE TO AND USE ONLY BY CERTIFIED APPLICATORS</a:t>
              </a:r>
            </a:p>
          </p:txBody>
        </p:sp>
      </p:grpSp>
    </p:spTree>
    <p:extLst>
      <p:ext uri="{BB962C8B-B14F-4D97-AF65-F5344CB8AC3E}">
        <p14:creationId xmlns:p14="http://schemas.microsoft.com/office/powerpoint/2010/main" val="144240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DA3AB3C-5AC9-45F5-B078-1822769CFA1B}"/>
              </a:ext>
            </a:extLst>
          </p:cNvPr>
          <p:cNvGrpSpPr/>
          <p:nvPr/>
        </p:nvGrpSpPr>
        <p:grpSpPr>
          <a:xfrm>
            <a:off x="3459163" y="1470025"/>
            <a:ext cx="7802563" cy="4498975"/>
            <a:chOff x="3459163" y="1470025"/>
            <a:chExt cx="7802563" cy="4498975"/>
          </a:xfrm>
        </p:grpSpPr>
        <p:sp>
          <p:nvSpPr>
            <p:cNvPr id="10" name="Rectangle 7">
              <a:extLst>
                <a:ext uri="{FF2B5EF4-FFF2-40B4-BE49-F238E27FC236}">
                  <a16:creationId xmlns:a16="http://schemas.microsoft.com/office/drawing/2014/main" id="{CA2AF3D2-18F4-4009-825D-6406F7F498A0}"/>
                </a:ext>
              </a:extLst>
            </p:cNvPr>
            <p:cNvSpPr>
              <a:spLocks noChangeArrowheads="1"/>
            </p:cNvSpPr>
            <p:nvPr/>
          </p:nvSpPr>
          <p:spPr bwMode="auto">
            <a:xfrm>
              <a:off x="6351588" y="1470025"/>
              <a:ext cx="2151063"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687D2E7-519B-4617-B559-0ED168573FC3}"/>
                </a:ext>
              </a:extLst>
            </p:cNvPr>
            <p:cNvSpPr>
              <a:spLocks/>
            </p:cNvSpPr>
            <p:nvPr/>
          </p:nvSpPr>
          <p:spPr bwMode="auto">
            <a:xfrm>
              <a:off x="8555038" y="1470025"/>
              <a:ext cx="2706688" cy="3124200"/>
            </a:xfrm>
            <a:custGeom>
              <a:avLst/>
              <a:gdLst>
                <a:gd name="T0" fmla="*/ 0 w 1705"/>
                <a:gd name="T1" fmla="*/ 1968 h 1968"/>
                <a:gd name="T2" fmla="*/ 1705 w 1705"/>
                <a:gd name="T3" fmla="*/ 1220 h 1968"/>
                <a:gd name="T4" fmla="*/ 1705 w 1705"/>
                <a:gd name="T5" fmla="*/ 0 h 1968"/>
                <a:gd name="T6" fmla="*/ 0 w 1705"/>
                <a:gd name="T7" fmla="*/ 0 h 1968"/>
                <a:gd name="T8" fmla="*/ 0 w 1705"/>
                <a:gd name="T9" fmla="*/ 1968 h 1968"/>
              </a:gdLst>
              <a:ahLst/>
              <a:cxnLst>
                <a:cxn ang="0">
                  <a:pos x="T0" y="T1"/>
                </a:cxn>
                <a:cxn ang="0">
                  <a:pos x="T2" y="T3"/>
                </a:cxn>
                <a:cxn ang="0">
                  <a:pos x="T4" y="T5"/>
                </a:cxn>
                <a:cxn ang="0">
                  <a:pos x="T6" y="T7"/>
                </a:cxn>
                <a:cxn ang="0">
                  <a:pos x="T8" y="T9"/>
                </a:cxn>
              </a:cxnLst>
              <a:rect l="0" t="0" r="r" b="b"/>
              <a:pathLst>
                <a:path w="1705" h="1968">
                  <a:moveTo>
                    <a:pt x="0" y="1968"/>
                  </a:moveTo>
                  <a:lnTo>
                    <a:pt x="1705" y="1220"/>
                  </a:lnTo>
                  <a:lnTo>
                    <a:pt x="1705" y="0"/>
                  </a:lnTo>
                  <a:lnTo>
                    <a:pt x="0" y="0"/>
                  </a:lnTo>
                  <a:lnTo>
                    <a:pt x="0" y="19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9">
              <a:extLst>
                <a:ext uri="{FF2B5EF4-FFF2-40B4-BE49-F238E27FC236}">
                  <a16:creationId xmlns:a16="http://schemas.microsoft.com/office/drawing/2014/main" id="{A36E3E8E-88CB-4A09-98E3-9964CDE19661}"/>
                </a:ext>
              </a:extLst>
            </p:cNvPr>
            <p:cNvSpPr>
              <a:spLocks noChangeArrowheads="1"/>
            </p:cNvSpPr>
            <p:nvPr/>
          </p:nvSpPr>
          <p:spPr bwMode="auto">
            <a:xfrm>
              <a:off x="3459163" y="1470025"/>
              <a:ext cx="2841625"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1DE99310-1D53-4A9E-BAC4-03BC1E2D9111}"/>
                </a:ext>
              </a:extLst>
            </p:cNvPr>
            <p:cNvSpPr>
              <a:spLocks/>
            </p:cNvSpPr>
            <p:nvPr/>
          </p:nvSpPr>
          <p:spPr bwMode="auto">
            <a:xfrm>
              <a:off x="6361113" y="4122738"/>
              <a:ext cx="3390900" cy="1843088"/>
            </a:xfrm>
            <a:custGeom>
              <a:avLst/>
              <a:gdLst>
                <a:gd name="T0" fmla="*/ 2136 w 2136"/>
                <a:gd name="T1" fmla="*/ 0 h 1161"/>
                <a:gd name="T2" fmla="*/ 401 w 2136"/>
                <a:gd name="T3" fmla="*/ 761 h 1161"/>
                <a:gd name="T4" fmla="*/ 0 w 2136"/>
                <a:gd name="T5" fmla="*/ 761 h 1161"/>
                <a:gd name="T6" fmla="*/ 0 w 2136"/>
                <a:gd name="T7" fmla="*/ 1161 h 1161"/>
                <a:gd name="T8" fmla="*/ 2136 w 2136"/>
                <a:gd name="T9" fmla="*/ 1161 h 1161"/>
                <a:gd name="T10" fmla="*/ 2136 w 2136"/>
                <a:gd name="T11" fmla="*/ 0 h 1161"/>
              </a:gdLst>
              <a:ahLst/>
              <a:cxnLst>
                <a:cxn ang="0">
                  <a:pos x="T0" y="T1"/>
                </a:cxn>
                <a:cxn ang="0">
                  <a:pos x="T2" y="T3"/>
                </a:cxn>
                <a:cxn ang="0">
                  <a:pos x="T4" y="T5"/>
                </a:cxn>
                <a:cxn ang="0">
                  <a:pos x="T6" y="T7"/>
                </a:cxn>
                <a:cxn ang="0">
                  <a:pos x="T8" y="T9"/>
                </a:cxn>
                <a:cxn ang="0">
                  <a:pos x="T10" y="T11"/>
                </a:cxn>
              </a:cxnLst>
              <a:rect l="0" t="0" r="r" b="b"/>
              <a:pathLst>
                <a:path w="2136" h="1161">
                  <a:moveTo>
                    <a:pt x="2136" y="0"/>
                  </a:moveTo>
                  <a:lnTo>
                    <a:pt x="401" y="761"/>
                  </a:lnTo>
                  <a:lnTo>
                    <a:pt x="0" y="761"/>
                  </a:lnTo>
                  <a:lnTo>
                    <a:pt x="0" y="1161"/>
                  </a:lnTo>
                  <a:lnTo>
                    <a:pt x="2136" y="1161"/>
                  </a:lnTo>
                  <a:lnTo>
                    <a:pt x="2136"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03C5520D-672B-4F52-B9A3-0D0AD00B4DCA}"/>
                </a:ext>
              </a:extLst>
            </p:cNvPr>
            <p:cNvSpPr>
              <a:spLocks/>
            </p:cNvSpPr>
            <p:nvPr/>
          </p:nvSpPr>
          <p:spPr bwMode="auto">
            <a:xfrm>
              <a:off x="9804401" y="3460750"/>
              <a:ext cx="1457325" cy="2508250"/>
            </a:xfrm>
            <a:custGeom>
              <a:avLst/>
              <a:gdLst>
                <a:gd name="T0" fmla="*/ 0 w 918"/>
                <a:gd name="T1" fmla="*/ 403 h 1580"/>
                <a:gd name="T2" fmla="*/ 0 w 918"/>
                <a:gd name="T3" fmla="*/ 1580 h 1580"/>
                <a:gd name="T4" fmla="*/ 918 w 918"/>
                <a:gd name="T5" fmla="*/ 1580 h 1580"/>
                <a:gd name="T6" fmla="*/ 918 w 918"/>
                <a:gd name="T7" fmla="*/ 0 h 1580"/>
                <a:gd name="T8" fmla="*/ 0 w 918"/>
                <a:gd name="T9" fmla="*/ 403 h 1580"/>
              </a:gdLst>
              <a:ahLst/>
              <a:cxnLst>
                <a:cxn ang="0">
                  <a:pos x="T0" y="T1"/>
                </a:cxn>
                <a:cxn ang="0">
                  <a:pos x="T2" y="T3"/>
                </a:cxn>
                <a:cxn ang="0">
                  <a:pos x="T4" y="T5"/>
                </a:cxn>
                <a:cxn ang="0">
                  <a:pos x="T6" y="T7"/>
                </a:cxn>
                <a:cxn ang="0">
                  <a:pos x="T8" y="T9"/>
                </a:cxn>
              </a:cxnLst>
              <a:rect l="0" t="0" r="r" b="b"/>
              <a:pathLst>
                <a:path w="918" h="1580">
                  <a:moveTo>
                    <a:pt x="0" y="403"/>
                  </a:moveTo>
                  <a:lnTo>
                    <a:pt x="0" y="1580"/>
                  </a:lnTo>
                  <a:lnTo>
                    <a:pt x="918" y="1580"/>
                  </a:lnTo>
                  <a:lnTo>
                    <a:pt x="918" y="0"/>
                  </a:lnTo>
                  <a:lnTo>
                    <a:pt x="0" y="40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
              <a:extLst>
                <a:ext uri="{FF2B5EF4-FFF2-40B4-BE49-F238E27FC236}">
                  <a16:creationId xmlns:a16="http://schemas.microsoft.com/office/drawing/2014/main" id="{236C6A5D-4F43-4543-AB49-22A5051FCD79}"/>
                </a:ext>
              </a:extLst>
            </p:cNvPr>
            <p:cNvSpPr>
              <a:spLocks noChangeArrowheads="1"/>
            </p:cNvSpPr>
            <p:nvPr/>
          </p:nvSpPr>
          <p:spPr bwMode="auto">
            <a:xfrm>
              <a:off x="3459163" y="3136900"/>
              <a:ext cx="2841625" cy="283210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06">
              <a:extLst>
                <a:ext uri="{FF2B5EF4-FFF2-40B4-BE49-F238E27FC236}">
                  <a16:creationId xmlns:a16="http://schemas.microsoft.com/office/drawing/2014/main" id="{BDBF304A-7386-4E44-A8C8-355B5244537C}"/>
                </a:ext>
              </a:extLst>
            </p:cNvPr>
            <p:cNvSpPr>
              <a:spLocks noChangeArrowheads="1"/>
            </p:cNvSpPr>
            <p:nvPr/>
          </p:nvSpPr>
          <p:spPr bwMode="auto">
            <a:xfrm>
              <a:off x="78024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38" name="Rectangle 106">
              <a:extLst>
                <a:ext uri="{FF2B5EF4-FFF2-40B4-BE49-F238E27FC236}">
                  <a16:creationId xmlns:a16="http://schemas.microsoft.com/office/drawing/2014/main" id="{91E0ACCD-CBE2-41D9-8C29-2BD77EC4D6C2}"/>
                </a:ext>
              </a:extLst>
            </p:cNvPr>
            <p:cNvSpPr>
              <a:spLocks noChangeArrowheads="1"/>
            </p:cNvSpPr>
            <p:nvPr/>
          </p:nvSpPr>
          <p:spPr bwMode="auto">
            <a:xfrm>
              <a:off x="102789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3" name="Rectangle 106">
              <a:extLst>
                <a:ext uri="{FF2B5EF4-FFF2-40B4-BE49-F238E27FC236}">
                  <a16:creationId xmlns:a16="http://schemas.microsoft.com/office/drawing/2014/main" id="{D479E799-39C2-416C-972A-19134C24F21E}"/>
                </a:ext>
              </a:extLst>
            </p:cNvPr>
            <p:cNvSpPr>
              <a:spLocks noChangeArrowheads="1"/>
            </p:cNvSpPr>
            <p:nvPr/>
          </p:nvSpPr>
          <p:spPr bwMode="auto">
            <a:xfrm>
              <a:off x="7173043" y="217034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4" name="Rectangle 106">
              <a:extLst>
                <a:ext uri="{FF2B5EF4-FFF2-40B4-BE49-F238E27FC236}">
                  <a16:creationId xmlns:a16="http://schemas.microsoft.com/office/drawing/2014/main" id="{A783EB0C-9C7D-4C55-BE1B-7BC71F3A734C}"/>
                </a:ext>
              </a:extLst>
            </p:cNvPr>
            <p:cNvSpPr>
              <a:spLocks noChangeArrowheads="1"/>
            </p:cNvSpPr>
            <p:nvPr/>
          </p:nvSpPr>
          <p:spPr bwMode="auto">
            <a:xfrm>
              <a:off x="9267983" y="2378963"/>
              <a:ext cx="128079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solidFill>
                    <a:schemeClr val="bg1"/>
                  </a:solidFill>
                  <a:effectLst/>
                  <a:latin typeface="Arial Narrow" panose="020B0606020202030204" pitchFamily="34" charset="0"/>
                </a:rPr>
                <a:t>NON-DICAMBA</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TOLERANT</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SOYBEANS</a:t>
              </a:r>
              <a:endParaRPr kumimoji="0" lang="en-US" altLang="en-US" sz="1800" b="0" i="0" u="none" strike="noStrike" cap="none" spc="150" normalizeH="0">
                <a:ln>
                  <a:noFill/>
                </a:ln>
                <a:solidFill>
                  <a:schemeClr val="bg1"/>
                </a:solidFill>
                <a:effectLst/>
              </a:endParaRPr>
            </a:p>
          </p:txBody>
        </p:sp>
      </p:grpSp>
      <p:sp>
        <p:nvSpPr>
          <p:cNvPr id="13" name="Freeform 10">
            <a:extLst>
              <a:ext uri="{FF2B5EF4-FFF2-40B4-BE49-F238E27FC236}">
                <a16:creationId xmlns:a16="http://schemas.microsoft.com/office/drawing/2014/main" id="{7B96F78D-65F1-49A6-9A12-F72E0AD74375}"/>
              </a:ext>
            </a:extLst>
          </p:cNvPr>
          <p:cNvSpPr>
            <a:spLocks/>
          </p:cNvSpPr>
          <p:nvPr/>
        </p:nvSpPr>
        <p:spPr bwMode="auto">
          <a:xfrm>
            <a:off x="6351588" y="3136900"/>
            <a:ext cx="2151063" cy="2146300"/>
          </a:xfrm>
          <a:custGeom>
            <a:avLst/>
            <a:gdLst>
              <a:gd name="T0" fmla="*/ 0 w 1355"/>
              <a:gd name="T1" fmla="*/ 0 h 1352"/>
              <a:gd name="T2" fmla="*/ 0 w 1355"/>
              <a:gd name="T3" fmla="*/ 1352 h 1352"/>
              <a:gd name="T4" fmla="*/ 391 w 1355"/>
              <a:gd name="T5" fmla="*/ 1352 h 1352"/>
              <a:gd name="T6" fmla="*/ 1355 w 1355"/>
              <a:gd name="T7" fmla="*/ 932 h 1352"/>
              <a:gd name="T8" fmla="*/ 1355 w 1355"/>
              <a:gd name="T9" fmla="*/ 0 h 1352"/>
              <a:gd name="T10" fmla="*/ 0 w 1355"/>
              <a:gd name="T11" fmla="*/ 0 h 1352"/>
            </a:gdLst>
            <a:ahLst/>
            <a:cxnLst>
              <a:cxn ang="0">
                <a:pos x="T0" y="T1"/>
              </a:cxn>
              <a:cxn ang="0">
                <a:pos x="T2" y="T3"/>
              </a:cxn>
              <a:cxn ang="0">
                <a:pos x="T4" y="T5"/>
              </a:cxn>
              <a:cxn ang="0">
                <a:pos x="T6" y="T7"/>
              </a:cxn>
              <a:cxn ang="0">
                <a:pos x="T8" y="T9"/>
              </a:cxn>
              <a:cxn ang="0">
                <a:pos x="T10" y="T11"/>
              </a:cxn>
            </a:cxnLst>
            <a:rect l="0" t="0" r="r" b="b"/>
            <a:pathLst>
              <a:path w="1355" h="1352">
                <a:moveTo>
                  <a:pt x="0" y="0"/>
                </a:moveTo>
                <a:lnTo>
                  <a:pt x="0" y="1352"/>
                </a:lnTo>
                <a:lnTo>
                  <a:pt x="391" y="1352"/>
                </a:lnTo>
                <a:lnTo>
                  <a:pt x="1355" y="932"/>
                </a:lnTo>
                <a:lnTo>
                  <a:pt x="1355" y="0"/>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111">
            <a:extLst>
              <a:ext uri="{FF2B5EF4-FFF2-40B4-BE49-F238E27FC236}">
                <a16:creationId xmlns:a16="http://schemas.microsoft.com/office/drawing/2014/main" id="{BAD217C1-7D20-4D3F-8540-5DCF1448EA4C}"/>
              </a:ext>
            </a:extLst>
          </p:cNvPr>
          <p:cNvSpPr>
            <a:spLocks noChangeArrowheads="1"/>
          </p:cNvSpPr>
          <p:nvPr/>
        </p:nvSpPr>
        <p:spPr bwMode="auto">
          <a:xfrm>
            <a:off x="942976" y="4813300"/>
            <a:ext cx="228600" cy="22860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 name="Group 5">
            <a:extLst>
              <a:ext uri="{FF2B5EF4-FFF2-40B4-BE49-F238E27FC236}">
                <a16:creationId xmlns:a16="http://schemas.microsoft.com/office/drawing/2014/main" id="{27589A8C-9BA0-432F-AD56-40FCCDDB58A1}"/>
              </a:ext>
            </a:extLst>
          </p:cNvPr>
          <p:cNvGrpSpPr/>
          <p:nvPr/>
        </p:nvGrpSpPr>
        <p:grpSpPr>
          <a:xfrm>
            <a:off x="942976" y="4829175"/>
            <a:ext cx="1704627" cy="1139825"/>
            <a:chOff x="942976" y="4829175"/>
            <a:chExt cx="1704627" cy="1139825"/>
          </a:xfrm>
        </p:grpSpPr>
        <p:grpSp>
          <p:nvGrpSpPr>
            <p:cNvPr id="3" name="Group 2">
              <a:extLst>
                <a:ext uri="{FF2B5EF4-FFF2-40B4-BE49-F238E27FC236}">
                  <a16:creationId xmlns:a16="http://schemas.microsoft.com/office/drawing/2014/main" id="{27798DF7-0D71-4E5E-8CAA-34F97E5F497E}"/>
                </a:ext>
              </a:extLst>
            </p:cNvPr>
            <p:cNvGrpSpPr/>
            <p:nvPr/>
          </p:nvGrpSpPr>
          <p:grpSpPr>
            <a:xfrm>
              <a:off x="1357313" y="4829175"/>
              <a:ext cx="1290290" cy="1135063"/>
              <a:chOff x="1357313" y="4829175"/>
              <a:chExt cx="1290290" cy="1135063"/>
            </a:xfrm>
          </p:grpSpPr>
          <p:sp>
            <p:nvSpPr>
              <p:cNvPr id="113" name="Rectangle 110">
                <a:extLst>
                  <a:ext uri="{FF2B5EF4-FFF2-40B4-BE49-F238E27FC236}">
                    <a16:creationId xmlns:a16="http://schemas.microsoft.com/office/drawing/2014/main" id="{A2E0A347-112D-474C-965A-848046BB2B72}"/>
                  </a:ext>
                </a:extLst>
              </p:cNvPr>
              <p:cNvSpPr>
                <a:spLocks noChangeArrowheads="1"/>
              </p:cNvSpPr>
              <p:nvPr/>
            </p:nvSpPr>
            <p:spPr bwMode="auto">
              <a:xfrm>
                <a:off x="1357313" y="4829175"/>
                <a:ext cx="9699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Application 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112">
                <a:extLst>
                  <a:ext uri="{FF2B5EF4-FFF2-40B4-BE49-F238E27FC236}">
                    <a16:creationId xmlns:a16="http://schemas.microsoft.com/office/drawing/2014/main" id="{CAC77972-D303-4797-ADBB-0A72C9A73646}"/>
                  </a:ext>
                </a:extLst>
              </p:cNvPr>
              <p:cNvSpPr>
                <a:spLocks noChangeArrowheads="1"/>
              </p:cNvSpPr>
              <p:nvPr/>
            </p:nvSpPr>
            <p:spPr bwMode="auto">
              <a:xfrm>
                <a:off x="1357313" y="5137150"/>
                <a:ext cx="12902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Dicamba Tolerant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Rectangle 116">
                <a:extLst>
                  <a:ext uri="{FF2B5EF4-FFF2-40B4-BE49-F238E27FC236}">
                    <a16:creationId xmlns:a16="http://schemas.microsoft.com/office/drawing/2014/main" id="{9E44489D-96D2-4258-AC18-CCA14F0EA719}"/>
                  </a:ext>
                </a:extLst>
              </p:cNvPr>
              <p:cNvSpPr>
                <a:spLocks noChangeArrowheads="1"/>
              </p:cNvSpPr>
              <p:nvPr/>
            </p:nvSpPr>
            <p:spPr bwMode="auto">
              <a:xfrm>
                <a:off x="1357313" y="5446713"/>
                <a:ext cx="5222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No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1" name="Rectangle 118">
                <a:extLst>
                  <a:ext uri="{FF2B5EF4-FFF2-40B4-BE49-F238E27FC236}">
                    <a16:creationId xmlns:a16="http://schemas.microsoft.com/office/drawing/2014/main" id="{746FF963-E3D5-4A9F-A156-059F323BA7D4}"/>
                  </a:ext>
                </a:extLst>
              </p:cNvPr>
              <p:cNvSpPr>
                <a:spLocks noChangeArrowheads="1"/>
              </p:cNvSpPr>
              <p:nvPr/>
            </p:nvSpPr>
            <p:spPr bwMode="auto">
              <a:xfrm>
                <a:off x="1357313" y="5754688"/>
                <a:ext cx="8667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Sensitive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5" name="Group 4">
              <a:extLst>
                <a:ext uri="{FF2B5EF4-FFF2-40B4-BE49-F238E27FC236}">
                  <a16:creationId xmlns:a16="http://schemas.microsoft.com/office/drawing/2014/main" id="{616C40F3-A51D-432B-A40A-14E370D13A1F}"/>
                </a:ext>
              </a:extLst>
            </p:cNvPr>
            <p:cNvGrpSpPr/>
            <p:nvPr/>
          </p:nvGrpSpPr>
          <p:grpSpPr>
            <a:xfrm>
              <a:off x="942976" y="5122863"/>
              <a:ext cx="228600" cy="846137"/>
              <a:chOff x="942976" y="5122863"/>
              <a:chExt cx="228600" cy="846137"/>
            </a:xfrm>
          </p:grpSpPr>
          <p:sp>
            <p:nvSpPr>
              <p:cNvPr id="118" name="Oval 115">
                <a:extLst>
                  <a:ext uri="{FF2B5EF4-FFF2-40B4-BE49-F238E27FC236}">
                    <a16:creationId xmlns:a16="http://schemas.microsoft.com/office/drawing/2014/main" id="{7FBBD618-0257-44D1-B094-0E333F3CF45F}"/>
                  </a:ext>
                </a:extLst>
              </p:cNvPr>
              <p:cNvSpPr>
                <a:spLocks noChangeArrowheads="1"/>
              </p:cNvSpPr>
              <p:nvPr/>
            </p:nvSpPr>
            <p:spPr bwMode="auto">
              <a:xfrm>
                <a:off x="942976" y="5122863"/>
                <a:ext cx="228600" cy="228600"/>
              </a:xfrm>
              <a:prstGeom prst="ellipse">
                <a:avLst/>
              </a:prstGeom>
              <a:solidFill>
                <a:srgbClr val="B2B4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 name="Group 3">
                <a:extLst>
                  <a:ext uri="{FF2B5EF4-FFF2-40B4-BE49-F238E27FC236}">
                    <a16:creationId xmlns:a16="http://schemas.microsoft.com/office/drawing/2014/main" id="{D81ED583-CEE3-4855-BB4E-36133A7D5EFC}"/>
                  </a:ext>
                </a:extLst>
              </p:cNvPr>
              <p:cNvGrpSpPr/>
              <p:nvPr/>
            </p:nvGrpSpPr>
            <p:grpSpPr>
              <a:xfrm>
                <a:off x="942976" y="5430838"/>
                <a:ext cx="228600" cy="538162"/>
                <a:chOff x="942976" y="5430838"/>
                <a:chExt cx="228600" cy="538162"/>
              </a:xfrm>
            </p:grpSpPr>
            <p:sp>
              <p:nvSpPr>
                <p:cNvPr id="120" name="Oval 117">
                  <a:extLst>
                    <a:ext uri="{FF2B5EF4-FFF2-40B4-BE49-F238E27FC236}">
                      <a16:creationId xmlns:a16="http://schemas.microsoft.com/office/drawing/2014/main" id="{7F0AB5B6-3F11-46D9-A579-40C9929B4C0F}"/>
                    </a:ext>
                  </a:extLst>
                </p:cNvPr>
                <p:cNvSpPr>
                  <a:spLocks noChangeArrowheads="1"/>
                </p:cNvSpPr>
                <p:nvPr/>
              </p:nvSpPr>
              <p:spPr bwMode="auto">
                <a:xfrm>
                  <a:off x="942976" y="5430838"/>
                  <a:ext cx="228600" cy="228600"/>
                </a:xfrm>
                <a:prstGeom prst="ellipse">
                  <a:avLst/>
                </a:prstGeom>
                <a:solidFill>
                  <a:srgbClr val="6C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119">
                  <a:extLst>
                    <a:ext uri="{FF2B5EF4-FFF2-40B4-BE49-F238E27FC236}">
                      <a16:creationId xmlns:a16="http://schemas.microsoft.com/office/drawing/2014/main" id="{0CA3E211-2864-47ED-883E-FABF2E9082F1}"/>
                    </a:ext>
                  </a:extLst>
                </p:cNvPr>
                <p:cNvSpPr>
                  <a:spLocks noChangeArrowheads="1"/>
                </p:cNvSpPr>
                <p:nvPr/>
              </p:nvSpPr>
              <p:spPr bwMode="auto">
                <a:xfrm>
                  <a:off x="942976" y="5740400"/>
                  <a:ext cx="228600" cy="228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34" name="Group 133">
            <a:extLst>
              <a:ext uri="{FF2B5EF4-FFF2-40B4-BE49-F238E27FC236}">
                <a16:creationId xmlns:a16="http://schemas.microsoft.com/office/drawing/2014/main" id="{C74A0A58-614C-485C-95D4-C338C5FD980C}"/>
              </a:ext>
            </a:extLst>
          </p:cNvPr>
          <p:cNvGrpSpPr/>
          <p:nvPr/>
        </p:nvGrpSpPr>
        <p:grpSpPr>
          <a:xfrm rot="2700000" flipH="1">
            <a:off x="1161558" y="2225291"/>
            <a:ext cx="1536700" cy="407988"/>
            <a:chOff x="9229726" y="4735513"/>
            <a:chExt cx="1536700" cy="407988"/>
          </a:xfrm>
        </p:grpSpPr>
        <p:sp>
          <p:nvSpPr>
            <p:cNvPr id="100" name="Freeform 97">
              <a:extLst>
                <a:ext uri="{FF2B5EF4-FFF2-40B4-BE49-F238E27FC236}">
                  <a16:creationId xmlns:a16="http://schemas.microsoft.com/office/drawing/2014/main" id="{E811A1F7-C944-453A-A5F6-077D21E9E133}"/>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8">
              <a:extLst>
                <a:ext uri="{FF2B5EF4-FFF2-40B4-BE49-F238E27FC236}">
                  <a16:creationId xmlns:a16="http://schemas.microsoft.com/office/drawing/2014/main" id="{AB26503B-9ED8-41D5-BD67-A62063BA3DB0}"/>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9">
              <a:extLst>
                <a:ext uri="{FF2B5EF4-FFF2-40B4-BE49-F238E27FC236}">
                  <a16:creationId xmlns:a16="http://schemas.microsoft.com/office/drawing/2014/main" id="{9BBBBA14-6BDB-498C-93AA-BDB44009CBCD}"/>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0">
              <a:extLst>
                <a:ext uri="{FF2B5EF4-FFF2-40B4-BE49-F238E27FC236}">
                  <a16:creationId xmlns:a16="http://schemas.microsoft.com/office/drawing/2014/main" id="{CDCB41E5-7F7B-4999-9114-643D3A7D73A2}"/>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1">
              <a:extLst>
                <a:ext uri="{FF2B5EF4-FFF2-40B4-BE49-F238E27FC236}">
                  <a16:creationId xmlns:a16="http://schemas.microsoft.com/office/drawing/2014/main" id="{D088B37E-7644-4D6C-82A8-607C3F1083DD}"/>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2">
              <a:extLst>
                <a:ext uri="{FF2B5EF4-FFF2-40B4-BE49-F238E27FC236}">
                  <a16:creationId xmlns:a16="http://schemas.microsoft.com/office/drawing/2014/main" id="{F7CC4679-0691-4138-9E0A-33D4410B9DBD}"/>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3">
              <a:extLst>
                <a:ext uri="{FF2B5EF4-FFF2-40B4-BE49-F238E27FC236}">
                  <a16:creationId xmlns:a16="http://schemas.microsoft.com/office/drawing/2014/main" id="{397B12A0-D5EB-4C70-8E20-7324AE29C107}"/>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4">
              <a:extLst>
                <a:ext uri="{FF2B5EF4-FFF2-40B4-BE49-F238E27FC236}">
                  <a16:creationId xmlns:a16="http://schemas.microsoft.com/office/drawing/2014/main" id="{77E5252E-93B1-4233-AD2D-B5596934FA9A}"/>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5">
              <a:extLst>
                <a:ext uri="{FF2B5EF4-FFF2-40B4-BE49-F238E27FC236}">
                  <a16:creationId xmlns:a16="http://schemas.microsoft.com/office/drawing/2014/main" id="{38E95928-5650-4E2E-9C73-876050B3DC85}"/>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106">
              <a:extLst>
                <a:ext uri="{FF2B5EF4-FFF2-40B4-BE49-F238E27FC236}">
                  <a16:creationId xmlns:a16="http://schemas.microsoft.com/office/drawing/2014/main" id="{0DD16BE1-0AE8-4489-918A-8EB0FE6FC2D4}"/>
                </a:ext>
              </a:extLst>
            </p:cNvPr>
            <p:cNvSpPr>
              <a:spLocks noChangeArrowheads="1"/>
            </p:cNvSpPr>
            <p:nvPr/>
          </p:nvSpPr>
          <p:spPr bwMode="auto">
            <a:xfrm>
              <a:off x="953667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grpSp>
        <p:nvGrpSpPr>
          <p:cNvPr id="153" name="Group 152">
            <a:extLst>
              <a:ext uri="{FF2B5EF4-FFF2-40B4-BE49-F238E27FC236}">
                <a16:creationId xmlns:a16="http://schemas.microsoft.com/office/drawing/2014/main" id="{A666F23C-7BF9-4432-A7DF-070F52A94FCC}"/>
              </a:ext>
            </a:extLst>
          </p:cNvPr>
          <p:cNvGrpSpPr/>
          <p:nvPr/>
        </p:nvGrpSpPr>
        <p:grpSpPr>
          <a:xfrm>
            <a:off x="960438" y="1476375"/>
            <a:ext cx="1893888" cy="576263"/>
            <a:chOff x="960438" y="1476375"/>
            <a:chExt cx="1893888" cy="576263"/>
          </a:xfrm>
        </p:grpSpPr>
        <p:sp>
          <p:nvSpPr>
            <p:cNvPr id="14" name="Freeform 11">
              <a:extLst>
                <a:ext uri="{FF2B5EF4-FFF2-40B4-BE49-F238E27FC236}">
                  <a16:creationId xmlns:a16="http://schemas.microsoft.com/office/drawing/2014/main" id="{2068A01C-C83B-4876-90E8-294CC3ABB08B}"/>
                </a:ext>
              </a:extLst>
            </p:cNvPr>
            <p:cNvSpPr>
              <a:spLocks/>
            </p:cNvSpPr>
            <p:nvPr/>
          </p:nvSpPr>
          <p:spPr bwMode="auto">
            <a:xfrm>
              <a:off x="1817688" y="1844675"/>
              <a:ext cx="179388" cy="207963"/>
            </a:xfrm>
            <a:custGeom>
              <a:avLst/>
              <a:gdLst>
                <a:gd name="T0" fmla="*/ 167 w 277"/>
                <a:gd name="T1" fmla="*/ 0 h 322"/>
                <a:gd name="T2" fmla="*/ 107 w 277"/>
                <a:gd name="T3" fmla="*/ 0 h 322"/>
                <a:gd name="T4" fmla="*/ 107 w 277"/>
                <a:gd name="T5" fmla="*/ 211 h 322"/>
                <a:gd name="T6" fmla="*/ 55 w 277"/>
                <a:gd name="T7" fmla="*/ 150 h 322"/>
                <a:gd name="T8" fmla="*/ 33 w 277"/>
                <a:gd name="T9" fmla="*/ 140 h 322"/>
                <a:gd name="T10" fmla="*/ 13 w 277"/>
                <a:gd name="T11" fmla="*/ 147 h 322"/>
                <a:gd name="T12" fmla="*/ 10 w 277"/>
                <a:gd name="T13" fmla="*/ 189 h 322"/>
                <a:gd name="T14" fmla="*/ 116 w 277"/>
                <a:gd name="T15" fmla="*/ 311 h 322"/>
                <a:gd name="T16" fmla="*/ 138 w 277"/>
                <a:gd name="T17" fmla="*/ 322 h 322"/>
                <a:gd name="T18" fmla="*/ 160 w 277"/>
                <a:gd name="T19" fmla="*/ 311 h 322"/>
                <a:gd name="T20" fmla="*/ 266 w 277"/>
                <a:gd name="T21" fmla="*/ 189 h 322"/>
                <a:gd name="T22" fmla="*/ 263 w 277"/>
                <a:gd name="T23" fmla="*/ 147 h 322"/>
                <a:gd name="T24" fmla="*/ 244 w 277"/>
                <a:gd name="T25" fmla="*/ 140 h 322"/>
                <a:gd name="T26" fmla="*/ 221 w 277"/>
                <a:gd name="T27" fmla="*/ 150 h 322"/>
                <a:gd name="T28" fmla="*/ 167 w 277"/>
                <a:gd name="T29" fmla="*/ 214 h 322"/>
                <a:gd name="T30" fmla="*/ 167 w 277"/>
                <a:gd name="T3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2">
                  <a:moveTo>
                    <a:pt x="167" y="0"/>
                  </a:moveTo>
                  <a:cubicBezTo>
                    <a:pt x="107" y="0"/>
                    <a:pt x="107" y="0"/>
                    <a:pt x="107" y="0"/>
                  </a:cubicBezTo>
                  <a:cubicBezTo>
                    <a:pt x="107" y="211"/>
                    <a:pt x="107" y="211"/>
                    <a:pt x="107" y="211"/>
                  </a:cubicBezTo>
                  <a:cubicBezTo>
                    <a:pt x="55" y="150"/>
                    <a:pt x="55" y="150"/>
                    <a:pt x="55" y="150"/>
                  </a:cubicBezTo>
                  <a:cubicBezTo>
                    <a:pt x="49" y="144"/>
                    <a:pt x="41" y="140"/>
                    <a:pt x="33" y="140"/>
                  </a:cubicBezTo>
                  <a:cubicBezTo>
                    <a:pt x="26" y="140"/>
                    <a:pt x="19" y="142"/>
                    <a:pt x="13" y="147"/>
                  </a:cubicBezTo>
                  <a:cubicBezTo>
                    <a:pt x="1" y="158"/>
                    <a:pt x="0" y="177"/>
                    <a:pt x="10" y="189"/>
                  </a:cubicBezTo>
                  <a:cubicBezTo>
                    <a:pt x="116" y="311"/>
                    <a:pt x="116" y="311"/>
                    <a:pt x="116" y="311"/>
                  </a:cubicBezTo>
                  <a:cubicBezTo>
                    <a:pt x="121" y="318"/>
                    <a:pt x="130" y="322"/>
                    <a:pt x="138" y="322"/>
                  </a:cubicBezTo>
                  <a:cubicBezTo>
                    <a:pt x="147" y="322"/>
                    <a:pt x="155" y="318"/>
                    <a:pt x="160" y="311"/>
                  </a:cubicBezTo>
                  <a:cubicBezTo>
                    <a:pt x="266" y="189"/>
                    <a:pt x="266" y="189"/>
                    <a:pt x="266" y="189"/>
                  </a:cubicBezTo>
                  <a:cubicBezTo>
                    <a:pt x="277" y="177"/>
                    <a:pt x="275" y="158"/>
                    <a:pt x="263" y="147"/>
                  </a:cubicBezTo>
                  <a:cubicBezTo>
                    <a:pt x="257" y="142"/>
                    <a:pt x="251" y="140"/>
                    <a:pt x="244" y="140"/>
                  </a:cubicBezTo>
                  <a:cubicBezTo>
                    <a:pt x="235" y="140"/>
                    <a:pt x="227" y="144"/>
                    <a:pt x="221" y="150"/>
                  </a:cubicBezTo>
                  <a:cubicBezTo>
                    <a:pt x="167" y="214"/>
                    <a:pt x="167" y="214"/>
                    <a:pt x="167" y="214"/>
                  </a:cubicBezTo>
                  <a:cubicBezTo>
                    <a:pt x="167" y="0"/>
                    <a:pt x="167" y="0"/>
                    <a:pt x="167"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2">
              <a:extLst>
                <a:ext uri="{FF2B5EF4-FFF2-40B4-BE49-F238E27FC236}">
                  <a16:creationId xmlns:a16="http://schemas.microsoft.com/office/drawing/2014/main" id="{677C5494-600F-4E93-BC4D-AE9F8F0BFDC5}"/>
                </a:ext>
              </a:extLst>
            </p:cNvPr>
            <p:cNvSpPr>
              <a:spLocks noChangeArrowheads="1"/>
            </p:cNvSpPr>
            <p:nvPr/>
          </p:nvSpPr>
          <p:spPr bwMode="auto">
            <a:xfrm>
              <a:off x="1323976" y="1606550"/>
              <a:ext cx="1160463"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3E9CDB16-A392-4F15-B12A-2FC4FC3B0150}"/>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close/>
                  <a:moveTo>
                    <a:pt x="1193" y="0"/>
                  </a:moveTo>
                  <a:lnTo>
                    <a:pt x="0" y="0"/>
                  </a:lnTo>
                  <a:lnTo>
                    <a:pt x="0" y="232"/>
                  </a:lnTo>
                  <a:lnTo>
                    <a:pt x="584" y="232"/>
                  </a:lnTo>
                  <a:lnTo>
                    <a:pt x="608" y="232"/>
                  </a:lnTo>
                  <a:lnTo>
                    <a:pt x="1193" y="232"/>
                  </a:lnTo>
                  <a:lnTo>
                    <a:pt x="119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20F02B80-F8CB-4F7B-92D7-89B885AEEDF7}"/>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moveTo>
                    <a:pt x="1193" y="0"/>
                  </a:moveTo>
                  <a:lnTo>
                    <a:pt x="0" y="0"/>
                  </a:lnTo>
                  <a:lnTo>
                    <a:pt x="0" y="232"/>
                  </a:lnTo>
                  <a:lnTo>
                    <a:pt x="584" y="232"/>
                  </a:lnTo>
                  <a:lnTo>
                    <a:pt x="608" y="232"/>
                  </a:lnTo>
                  <a:lnTo>
                    <a:pt x="1193" y="232"/>
                  </a:lnTo>
                  <a:lnTo>
                    <a:pt x="1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4">
              <a:extLst>
                <a:ext uri="{FF2B5EF4-FFF2-40B4-BE49-F238E27FC236}">
                  <a16:creationId xmlns:a16="http://schemas.microsoft.com/office/drawing/2014/main" id="{AA517675-8C3A-4A6E-A182-A08CB8D02A80}"/>
                </a:ext>
              </a:extLst>
            </p:cNvPr>
            <p:cNvSpPr>
              <a:spLocks noChangeArrowheads="1"/>
            </p:cNvSpPr>
            <p:nvPr/>
          </p:nvSpPr>
          <p:spPr bwMode="auto">
            <a:xfrm>
              <a:off x="1316547" y="1574720"/>
              <a:ext cx="11816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a:t>W</a:t>
              </a:r>
              <a:r>
                <a:rPr kumimoji="0" lang="en-US" altLang="en-US" sz="1200" b="1" i="0" u="none" strike="noStrike" cap="none" normalizeH="0" baseline="0">
                  <a:ln>
                    <a:noFill/>
                  </a:ln>
                  <a:effectLst/>
                  <a:latin typeface="Arial" panose="020B0604020202020204" pitchFamily="34" charset="0"/>
                </a:rPr>
                <a:t>ind Direction?</a:t>
              </a:r>
              <a:endParaRPr kumimoji="0" lang="en-US" altLang="en-US" sz="1800" b="0" i="0" u="none" strike="noStrike" cap="none" normalizeH="0" baseline="0">
                <a:ln>
                  <a:noFill/>
                </a:ln>
                <a:effectLst/>
                <a:latin typeface="Arial" panose="020B0604020202020204" pitchFamily="34" charset="0"/>
              </a:endParaRPr>
            </a:p>
          </p:txBody>
        </p:sp>
      </p:grpSp>
      <p:sp>
        <p:nvSpPr>
          <p:cNvPr id="151" name="Title 4">
            <a:extLst>
              <a:ext uri="{FF2B5EF4-FFF2-40B4-BE49-F238E27FC236}">
                <a16:creationId xmlns:a16="http://schemas.microsoft.com/office/drawing/2014/main" id="{70160AEF-C7DC-41A3-B1CF-AE83E8159A31}"/>
              </a:ext>
            </a:extLst>
          </p:cNvPr>
          <p:cNvSpPr txBox="1">
            <a:spLocks/>
          </p:cNvSpPr>
          <p:nvPr/>
        </p:nvSpPr>
        <p:spPr>
          <a:xfrm>
            <a:off x="838200" y="228600"/>
            <a:ext cx="10515600" cy="10881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a:defRPr/>
            </a:pPr>
            <a:r>
              <a:rPr lang="en-US" sz="3200"/>
              <a:t>Protection of Adjacent Sensitive Crops and certain plants</a:t>
            </a:r>
          </a:p>
        </p:txBody>
      </p:sp>
      <p:sp>
        <p:nvSpPr>
          <p:cNvPr id="59" name="Oval 111">
            <a:extLst>
              <a:ext uri="{FF2B5EF4-FFF2-40B4-BE49-F238E27FC236}">
                <a16:creationId xmlns:a16="http://schemas.microsoft.com/office/drawing/2014/main" id="{D530D97D-838C-450A-8A6E-C7FFB4B7F05F}"/>
              </a:ext>
            </a:extLst>
          </p:cNvPr>
          <p:cNvSpPr>
            <a:spLocks noChangeArrowheads="1"/>
          </p:cNvSpPr>
          <p:nvPr/>
        </p:nvSpPr>
        <p:spPr bwMode="auto">
          <a:xfrm>
            <a:off x="942976" y="4813300"/>
            <a:ext cx="228600" cy="228600"/>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TextBox 59">
            <a:extLst>
              <a:ext uri="{FF2B5EF4-FFF2-40B4-BE49-F238E27FC236}">
                <a16:creationId xmlns:a16="http://schemas.microsoft.com/office/drawing/2014/main" id="{8703AD32-1AB5-4660-AF61-310089CD839D}"/>
              </a:ext>
            </a:extLst>
          </p:cNvPr>
          <p:cNvSpPr txBox="1"/>
          <p:nvPr/>
        </p:nvSpPr>
        <p:spPr>
          <a:xfrm>
            <a:off x="688854" y="3901351"/>
            <a:ext cx="2437406" cy="369332"/>
          </a:xfrm>
          <a:prstGeom prst="rect">
            <a:avLst/>
          </a:prstGeom>
          <a:noFill/>
        </p:spPr>
        <p:txBody>
          <a:bodyPr wrap="square" rtlCol="0">
            <a:spAutoFit/>
          </a:bodyPr>
          <a:lstStyle/>
          <a:p>
            <a:pPr lvl="0" algn="ctr"/>
            <a:r>
              <a:rPr lang="en-US">
                <a:solidFill>
                  <a:schemeClr val="accent4"/>
                </a:solidFill>
                <a:latin typeface="Arial Black"/>
              </a:rPr>
              <a:t>DO NOT SPRAY</a:t>
            </a:r>
          </a:p>
        </p:txBody>
      </p:sp>
      <p:sp>
        <p:nvSpPr>
          <p:cNvPr id="62" name="Freeform 10">
            <a:extLst>
              <a:ext uri="{FF2B5EF4-FFF2-40B4-BE49-F238E27FC236}">
                <a16:creationId xmlns:a16="http://schemas.microsoft.com/office/drawing/2014/main" id="{1B4CC9C2-ED6A-413D-BF14-3D18426C816A}"/>
              </a:ext>
            </a:extLst>
          </p:cNvPr>
          <p:cNvSpPr>
            <a:spLocks/>
          </p:cNvSpPr>
          <p:nvPr/>
        </p:nvSpPr>
        <p:spPr bwMode="auto">
          <a:xfrm>
            <a:off x="6351588" y="3136900"/>
            <a:ext cx="2151063" cy="2146300"/>
          </a:xfrm>
          <a:custGeom>
            <a:avLst/>
            <a:gdLst>
              <a:gd name="T0" fmla="*/ 0 w 1355"/>
              <a:gd name="T1" fmla="*/ 0 h 1352"/>
              <a:gd name="T2" fmla="*/ 0 w 1355"/>
              <a:gd name="T3" fmla="*/ 1352 h 1352"/>
              <a:gd name="T4" fmla="*/ 391 w 1355"/>
              <a:gd name="T5" fmla="*/ 1352 h 1352"/>
              <a:gd name="T6" fmla="*/ 1355 w 1355"/>
              <a:gd name="T7" fmla="*/ 932 h 1352"/>
              <a:gd name="T8" fmla="*/ 1355 w 1355"/>
              <a:gd name="T9" fmla="*/ 0 h 1352"/>
              <a:gd name="T10" fmla="*/ 0 w 1355"/>
              <a:gd name="T11" fmla="*/ 0 h 1352"/>
            </a:gdLst>
            <a:ahLst/>
            <a:cxnLst>
              <a:cxn ang="0">
                <a:pos x="T0" y="T1"/>
              </a:cxn>
              <a:cxn ang="0">
                <a:pos x="T2" y="T3"/>
              </a:cxn>
              <a:cxn ang="0">
                <a:pos x="T4" y="T5"/>
              </a:cxn>
              <a:cxn ang="0">
                <a:pos x="T6" y="T7"/>
              </a:cxn>
              <a:cxn ang="0">
                <a:pos x="T8" y="T9"/>
              </a:cxn>
              <a:cxn ang="0">
                <a:pos x="T10" y="T11"/>
              </a:cxn>
            </a:cxnLst>
            <a:rect l="0" t="0" r="r" b="b"/>
            <a:pathLst>
              <a:path w="1355" h="1352">
                <a:moveTo>
                  <a:pt x="0" y="0"/>
                </a:moveTo>
                <a:lnTo>
                  <a:pt x="0" y="1352"/>
                </a:lnTo>
                <a:lnTo>
                  <a:pt x="391" y="1352"/>
                </a:lnTo>
                <a:lnTo>
                  <a:pt x="1355" y="932"/>
                </a:lnTo>
                <a:lnTo>
                  <a:pt x="1355"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ooter Placeholder 6">
            <a:extLst>
              <a:ext uri="{FF2B5EF4-FFF2-40B4-BE49-F238E27FC236}">
                <a16:creationId xmlns:a16="http://schemas.microsoft.com/office/drawing/2014/main" id="{949C3CA5-32B9-4664-8734-7A8B8D66101D}"/>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8" name="Slide Number Placeholder 7">
            <a:extLst>
              <a:ext uri="{FF2B5EF4-FFF2-40B4-BE49-F238E27FC236}">
                <a16:creationId xmlns:a16="http://schemas.microsoft.com/office/drawing/2014/main" id="{C729F7D6-A333-4E4C-BD0F-E514E6C22E7E}"/>
              </a:ext>
            </a:extLst>
          </p:cNvPr>
          <p:cNvSpPr>
            <a:spLocks noGrp="1"/>
          </p:cNvSpPr>
          <p:nvPr>
            <p:ph type="sldNum" sz="quarter" idx="16"/>
          </p:nvPr>
        </p:nvSpPr>
        <p:spPr/>
        <p:txBody>
          <a:bodyPr/>
          <a:lstStyle/>
          <a:p>
            <a:fld id="{5382645D-9DD6-408C-B0EA-C65795F9B1DE}" type="slidenum">
              <a:rPr lang="en-US" smtClean="0"/>
              <a:pPr/>
              <a:t>30</a:t>
            </a:fld>
            <a:endParaRPr lang="en-US"/>
          </a:p>
        </p:txBody>
      </p:sp>
      <p:grpSp>
        <p:nvGrpSpPr>
          <p:cNvPr id="55" name="Group 54">
            <a:extLst>
              <a:ext uri="{FF2B5EF4-FFF2-40B4-BE49-F238E27FC236}">
                <a16:creationId xmlns:a16="http://schemas.microsoft.com/office/drawing/2014/main" id="{C2F41786-250C-4AC4-A3D9-1D31AE79357D}"/>
              </a:ext>
            </a:extLst>
          </p:cNvPr>
          <p:cNvGrpSpPr>
            <a:grpSpLocks noChangeAspect="1"/>
          </p:cNvGrpSpPr>
          <p:nvPr/>
        </p:nvGrpSpPr>
        <p:grpSpPr>
          <a:xfrm>
            <a:off x="1578372" y="3164267"/>
            <a:ext cx="655932" cy="658368"/>
            <a:chOff x="8909050" y="-2349500"/>
            <a:chExt cx="2136775" cy="2144712"/>
          </a:xfrm>
        </p:grpSpPr>
        <p:sp>
          <p:nvSpPr>
            <p:cNvPr id="56" name="Oval 55">
              <a:extLst>
                <a:ext uri="{FF2B5EF4-FFF2-40B4-BE49-F238E27FC236}">
                  <a16:creationId xmlns:a16="http://schemas.microsoft.com/office/drawing/2014/main" id="{BD97C8D9-A3A2-4314-9D20-B0F4B192D3D8}"/>
                </a:ext>
              </a:extLst>
            </p:cNvPr>
            <p:cNvSpPr>
              <a:spLocks noChangeArrowheads="1"/>
            </p:cNvSpPr>
            <p:nvPr/>
          </p:nvSpPr>
          <p:spPr bwMode="auto">
            <a:xfrm>
              <a:off x="8909050" y="-2349500"/>
              <a:ext cx="2136775" cy="2144712"/>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
              <a:extLst>
                <a:ext uri="{FF2B5EF4-FFF2-40B4-BE49-F238E27FC236}">
                  <a16:creationId xmlns:a16="http://schemas.microsoft.com/office/drawing/2014/main" id="{CACC2CDA-7D72-4528-AD5D-045DF440191C}"/>
                </a:ext>
              </a:extLst>
            </p:cNvPr>
            <p:cNvSpPr>
              <a:spLocks/>
            </p:cNvSpPr>
            <p:nvPr/>
          </p:nvSpPr>
          <p:spPr bwMode="auto">
            <a:xfrm>
              <a:off x="9472613" y="-1782763"/>
              <a:ext cx="1009650" cy="1006475"/>
            </a:xfrm>
            <a:custGeom>
              <a:avLst/>
              <a:gdLst>
                <a:gd name="T0" fmla="*/ 195 w 331"/>
                <a:gd name="T1" fmla="*/ 166 h 329"/>
                <a:gd name="T2" fmla="*/ 322 w 331"/>
                <a:gd name="T3" fmla="*/ 38 h 329"/>
                <a:gd name="T4" fmla="*/ 322 w 331"/>
                <a:gd name="T5" fmla="*/ 8 h 329"/>
                <a:gd name="T6" fmla="*/ 293 w 331"/>
                <a:gd name="T7" fmla="*/ 8 h 329"/>
                <a:gd name="T8" fmla="*/ 165 w 331"/>
                <a:gd name="T9" fmla="*/ 136 h 329"/>
                <a:gd name="T10" fmla="*/ 38 w 331"/>
                <a:gd name="T11" fmla="*/ 8 h 329"/>
                <a:gd name="T12" fmla="*/ 8 w 331"/>
                <a:gd name="T13" fmla="*/ 8 h 329"/>
                <a:gd name="T14" fmla="*/ 8 w 331"/>
                <a:gd name="T15" fmla="*/ 38 h 329"/>
                <a:gd name="T16" fmla="*/ 136 w 331"/>
                <a:gd name="T17" fmla="*/ 166 h 329"/>
                <a:gd name="T18" fmla="*/ 8 w 331"/>
                <a:gd name="T19" fmla="*/ 293 h 329"/>
                <a:gd name="T20" fmla="*/ 8 w 331"/>
                <a:gd name="T21" fmla="*/ 323 h 329"/>
                <a:gd name="T22" fmla="*/ 23 w 331"/>
                <a:gd name="T23" fmla="*/ 329 h 329"/>
                <a:gd name="T24" fmla="*/ 38 w 331"/>
                <a:gd name="T25" fmla="*/ 323 h 329"/>
                <a:gd name="T26" fmla="*/ 165 w 331"/>
                <a:gd name="T27" fmla="*/ 195 h 329"/>
                <a:gd name="T28" fmla="*/ 293 w 331"/>
                <a:gd name="T29" fmla="*/ 323 h 329"/>
                <a:gd name="T30" fmla="*/ 308 w 331"/>
                <a:gd name="T31" fmla="*/ 329 h 329"/>
                <a:gd name="T32" fmla="*/ 322 w 331"/>
                <a:gd name="T33" fmla="*/ 323 h 329"/>
                <a:gd name="T34" fmla="*/ 322 w 331"/>
                <a:gd name="T35" fmla="*/ 293 h 329"/>
                <a:gd name="T36" fmla="*/ 195 w 331"/>
                <a:gd name="T37" fmla="*/ 16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1" h="329">
                  <a:moveTo>
                    <a:pt x="195" y="166"/>
                  </a:moveTo>
                  <a:cubicBezTo>
                    <a:pt x="322" y="38"/>
                    <a:pt x="322" y="38"/>
                    <a:pt x="322" y="38"/>
                  </a:cubicBezTo>
                  <a:cubicBezTo>
                    <a:pt x="331" y="30"/>
                    <a:pt x="331" y="17"/>
                    <a:pt x="322" y="8"/>
                  </a:cubicBezTo>
                  <a:cubicBezTo>
                    <a:pt x="314" y="0"/>
                    <a:pt x="301" y="0"/>
                    <a:pt x="293" y="8"/>
                  </a:cubicBezTo>
                  <a:cubicBezTo>
                    <a:pt x="165" y="136"/>
                    <a:pt x="165" y="136"/>
                    <a:pt x="165" y="136"/>
                  </a:cubicBezTo>
                  <a:cubicBezTo>
                    <a:pt x="38" y="8"/>
                    <a:pt x="38" y="8"/>
                    <a:pt x="38" y="8"/>
                  </a:cubicBezTo>
                  <a:cubicBezTo>
                    <a:pt x="30" y="0"/>
                    <a:pt x="16" y="0"/>
                    <a:pt x="8" y="8"/>
                  </a:cubicBezTo>
                  <a:cubicBezTo>
                    <a:pt x="0" y="17"/>
                    <a:pt x="0" y="30"/>
                    <a:pt x="8" y="38"/>
                  </a:cubicBezTo>
                  <a:cubicBezTo>
                    <a:pt x="136" y="166"/>
                    <a:pt x="136" y="166"/>
                    <a:pt x="136" y="166"/>
                  </a:cubicBezTo>
                  <a:cubicBezTo>
                    <a:pt x="8" y="293"/>
                    <a:pt x="8" y="293"/>
                    <a:pt x="8" y="293"/>
                  </a:cubicBezTo>
                  <a:cubicBezTo>
                    <a:pt x="0" y="301"/>
                    <a:pt x="0" y="315"/>
                    <a:pt x="8" y="323"/>
                  </a:cubicBezTo>
                  <a:cubicBezTo>
                    <a:pt x="12" y="327"/>
                    <a:pt x="18" y="329"/>
                    <a:pt x="23" y="329"/>
                  </a:cubicBezTo>
                  <a:cubicBezTo>
                    <a:pt x="28" y="329"/>
                    <a:pt x="34" y="327"/>
                    <a:pt x="38" y="323"/>
                  </a:cubicBezTo>
                  <a:cubicBezTo>
                    <a:pt x="165" y="195"/>
                    <a:pt x="165" y="195"/>
                    <a:pt x="165" y="195"/>
                  </a:cubicBezTo>
                  <a:cubicBezTo>
                    <a:pt x="293" y="323"/>
                    <a:pt x="293" y="323"/>
                    <a:pt x="293" y="323"/>
                  </a:cubicBezTo>
                  <a:cubicBezTo>
                    <a:pt x="297" y="327"/>
                    <a:pt x="302" y="329"/>
                    <a:pt x="308" y="329"/>
                  </a:cubicBezTo>
                  <a:cubicBezTo>
                    <a:pt x="313" y="329"/>
                    <a:pt x="318" y="327"/>
                    <a:pt x="322" y="323"/>
                  </a:cubicBezTo>
                  <a:cubicBezTo>
                    <a:pt x="331" y="315"/>
                    <a:pt x="331" y="301"/>
                    <a:pt x="322" y="293"/>
                  </a:cubicBezTo>
                  <a:lnTo>
                    <a:pt x="195"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9" name="Picture 8">
            <a:extLst>
              <a:ext uri="{FF2B5EF4-FFF2-40B4-BE49-F238E27FC236}">
                <a16:creationId xmlns:a16="http://schemas.microsoft.com/office/drawing/2014/main" id="{10658C04-52BF-45FD-B14E-BEF882B344A3}"/>
              </a:ext>
            </a:extLst>
          </p:cNvPr>
          <p:cNvPicPr>
            <a:picLocks noChangeAspect="1"/>
          </p:cNvPicPr>
          <p:nvPr/>
        </p:nvPicPr>
        <p:blipFill>
          <a:blip r:embed="rId3"/>
          <a:stretch>
            <a:fillRect/>
          </a:stretch>
        </p:blipFill>
        <p:spPr>
          <a:xfrm>
            <a:off x="913826" y="6362700"/>
            <a:ext cx="1171575" cy="495300"/>
          </a:xfrm>
          <a:prstGeom prst="rect">
            <a:avLst/>
          </a:prstGeom>
        </p:spPr>
      </p:pic>
      <p:pic>
        <p:nvPicPr>
          <p:cNvPr id="58" name="Picture 57">
            <a:extLst>
              <a:ext uri="{FF2B5EF4-FFF2-40B4-BE49-F238E27FC236}">
                <a16:creationId xmlns:a16="http://schemas.microsoft.com/office/drawing/2014/main" id="{F6CF4239-49F1-4A32-9AD2-7B58ABE5159D}"/>
              </a:ext>
            </a:extLst>
          </p:cNvPr>
          <p:cNvPicPr>
            <a:picLocks noChangeAspect="1"/>
          </p:cNvPicPr>
          <p:nvPr/>
        </p:nvPicPr>
        <p:blipFill>
          <a:blip r:embed="rId4"/>
          <a:stretch>
            <a:fillRect/>
          </a:stretch>
        </p:blipFill>
        <p:spPr>
          <a:xfrm>
            <a:off x="838200" y="6393164"/>
            <a:ext cx="1333500" cy="378995"/>
          </a:xfrm>
          <a:prstGeom prst="rect">
            <a:avLst/>
          </a:prstGeom>
        </p:spPr>
      </p:pic>
      <p:sp>
        <p:nvSpPr>
          <p:cNvPr id="61" name="Rectangle 106">
            <a:extLst>
              <a:ext uri="{FF2B5EF4-FFF2-40B4-BE49-F238E27FC236}">
                <a16:creationId xmlns:a16="http://schemas.microsoft.com/office/drawing/2014/main" id="{4ACE3C39-DC50-43F7-9EEB-E64F136D1279}"/>
              </a:ext>
            </a:extLst>
          </p:cNvPr>
          <p:cNvSpPr>
            <a:spLocks noChangeArrowheads="1"/>
          </p:cNvSpPr>
          <p:nvPr/>
        </p:nvSpPr>
        <p:spPr bwMode="auto">
          <a:xfrm>
            <a:off x="4374713" y="4122063"/>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sp>
        <p:nvSpPr>
          <p:cNvPr id="63" name="Rectangle 41">
            <a:extLst>
              <a:ext uri="{FF2B5EF4-FFF2-40B4-BE49-F238E27FC236}">
                <a16:creationId xmlns:a16="http://schemas.microsoft.com/office/drawing/2014/main" id="{51B7635F-8979-426A-80A4-EC24C17DF6E8}"/>
              </a:ext>
            </a:extLst>
          </p:cNvPr>
          <p:cNvSpPr>
            <a:spLocks noChangeArrowheads="1"/>
          </p:cNvSpPr>
          <p:nvPr/>
        </p:nvSpPr>
        <p:spPr bwMode="auto">
          <a:xfrm>
            <a:off x="6653772" y="3754282"/>
            <a:ext cx="155747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dirty="0">
                <a:solidFill>
                  <a:schemeClr val="bg1"/>
                </a:solidFill>
                <a:latin typeface="Arial Narrow"/>
              </a:rPr>
              <a:t>DICAMBA</a:t>
            </a:r>
            <a:endParaRPr lang="en-US" dirty="0">
              <a:solidFill>
                <a:schemeClr val="bg1"/>
              </a:solidFill>
            </a:endParaRPr>
          </a:p>
          <a:p>
            <a:pPr algn="ctr">
              <a:spcBef>
                <a:spcPts val="0"/>
              </a:spcBef>
              <a:spcAft>
                <a:spcPts val="0"/>
              </a:spcAft>
              <a:defRPr/>
            </a:pPr>
            <a:r>
              <a:rPr lang="en-US" altLang="en-US" sz="1400" b="1" kern="0" spc="140" dirty="0">
                <a:solidFill>
                  <a:schemeClr val="bg1"/>
                </a:solidFill>
                <a:latin typeface="Arial Narrow"/>
              </a:rPr>
              <a:t> TOLERANT CROP</a:t>
            </a:r>
            <a:endParaRPr lang="en-US">
              <a:solidFill>
                <a:schemeClr val="bg1"/>
              </a:solidFill>
            </a:endParaRPr>
          </a:p>
        </p:txBody>
      </p:sp>
      <p:sp>
        <p:nvSpPr>
          <p:cNvPr id="64" name="Rectangle 106">
            <a:extLst>
              <a:ext uri="{FF2B5EF4-FFF2-40B4-BE49-F238E27FC236}">
                <a16:creationId xmlns:a16="http://schemas.microsoft.com/office/drawing/2014/main" id="{F5AC19D9-DAEF-4C38-A93B-6FD5D1EA635D}"/>
              </a:ext>
            </a:extLst>
          </p:cNvPr>
          <p:cNvSpPr>
            <a:spLocks noChangeArrowheads="1"/>
          </p:cNvSpPr>
          <p:nvPr/>
        </p:nvSpPr>
        <p:spPr bwMode="auto">
          <a:xfrm>
            <a:off x="4328814" y="1994367"/>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spTree>
    <p:extLst>
      <p:ext uri="{BB962C8B-B14F-4D97-AF65-F5344CB8AC3E}">
        <p14:creationId xmlns:p14="http://schemas.microsoft.com/office/powerpoint/2010/main" val="10539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anim calcmode="lin" valueType="num">
                                      <p:cBhvr>
                                        <p:cTn id="8" dur="500" fill="hold"/>
                                        <p:tgtEl>
                                          <p:spTgt spid="55"/>
                                        </p:tgtEl>
                                        <p:attrNameLst>
                                          <p:attrName>ppt_x</p:attrName>
                                        </p:attrNameLst>
                                      </p:cBhvr>
                                      <p:tavLst>
                                        <p:tav tm="0">
                                          <p:val>
                                            <p:strVal val="#ppt_x"/>
                                          </p:val>
                                        </p:tav>
                                        <p:tav tm="100000">
                                          <p:val>
                                            <p:strVal val="#ppt_x"/>
                                          </p:val>
                                        </p:tav>
                                      </p:tavLst>
                                    </p:anim>
                                    <p:anim calcmode="lin" valueType="num">
                                      <p:cBhvr>
                                        <p:cTn id="9" dur="500" fill="hold"/>
                                        <p:tgtEl>
                                          <p:spTgt spid="5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xit" presetSubtype="0" fill="hold" grpId="0" nodeType="withEffect">
                                  <p:stCondLst>
                                    <p:cond delay="0"/>
                                  </p:stCondLst>
                                  <p:childTnLst>
                                    <p:animEffect transition="out" filter="fade">
                                      <p:cBhvr>
                                        <p:cTn id="15" dur="500"/>
                                        <p:tgtEl>
                                          <p:spTgt spid="114"/>
                                        </p:tgtEl>
                                      </p:cBhvr>
                                    </p:animEffect>
                                    <p:set>
                                      <p:cBhvr>
                                        <p:cTn id="16" dur="1" fill="hold">
                                          <p:stCondLst>
                                            <p:cond delay="499"/>
                                          </p:stCondLst>
                                        </p:cTn>
                                        <p:tgtEl>
                                          <p:spTgt spid="114"/>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par>
                                <p:cTn id="20" presetID="10" presetClass="exit" presetSubtype="0" fill="hold" grpId="0" nodeType="withEffect">
                                  <p:stCondLst>
                                    <p:cond delay="0"/>
                                  </p:stCondLst>
                                  <p:childTnLst>
                                    <p:animEffect transition="out" filter="fade">
                                      <p:cBhvr>
                                        <p:cTn id="21" dur="500"/>
                                        <p:tgtEl>
                                          <p:spTgt spid="13"/>
                                        </p:tgtEl>
                                      </p:cBhvr>
                                    </p:animEffect>
                                    <p:set>
                                      <p:cBhvr>
                                        <p:cTn id="22" dur="1" fill="hold">
                                          <p:stCondLst>
                                            <p:cond delay="499"/>
                                          </p:stCondLst>
                                        </p:cTn>
                                        <p:tgtEl>
                                          <p:spTgt spid="13"/>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14" grpId="0" animBg="1"/>
      <p:bldP spid="59" grpId="0" animBg="1"/>
      <p:bldP spid="60" grpId="0"/>
      <p:bldP spid="6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11552C02-6D14-4368-AF01-9EE9660A24F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2" y="-28867"/>
            <a:ext cx="12193141" cy="6886867"/>
          </a:xfrm>
          <a:prstGeom prst="rect">
            <a:avLst/>
          </a:prstGeom>
        </p:spPr>
      </p:pic>
      <p:sp>
        <p:nvSpPr>
          <p:cNvPr id="14" name="Rectangle 13">
            <a:extLst>
              <a:ext uri="{FF2B5EF4-FFF2-40B4-BE49-F238E27FC236}">
                <a16:creationId xmlns:a16="http://schemas.microsoft.com/office/drawing/2014/main" id="{BC51D1EC-264E-489E-8497-E3C35660156F}"/>
              </a:ext>
            </a:extLst>
          </p:cNvPr>
          <p:cNvSpPr/>
          <p:nvPr/>
        </p:nvSpPr>
        <p:spPr>
          <a:xfrm>
            <a:off x="-1" y="5502971"/>
            <a:ext cx="12191999" cy="1355029"/>
          </a:xfrm>
          <a:prstGeom prst="rect">
            <a:avLst/>
          </a:prstGeom>
          <a:gradFill>
            <a:gsLst>
              <a:gs pos="0">
                <a:schemeClr val="tx1">
                  <a:alpha val="0"/>
                </a:schemeClr>
              </a:gs>
              <a:gs pos="56000">
                <a:schemeClr val="tx1">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itle 1">
            <a:extLst>
              <a:ext uri="{FF2B5EF4-FFF2-40B4-BE49-F238E27FC236}">
                <a16:creationId xmlns:a16="http://schemas.microsoft.com/office/drawing/2014/main" id="{36EF8C4E-08AC-4773-A6A0-2F895BA4A647}"/>
              </a:ext>
            </a:extLst>
          </p:cNvPr>
          <p:cNvSpPr txBox="1">
            <a:spLocks/>
          </p:cNvSpPr>
          <p:nvPr/>
        </p:nvSpPr>
        <p:spPr>
          <a:xfrm>
            <a:off x="838200" y="228600"/>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Buffer</a:t>
            </a:r>
            <a:b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br>
            <a: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Requirement</a:t>
            </a:r>
          </a:p>
        </p:txBody>
      </p:sp>
      <p:sp>
        <p:nvSpPr>
          <p:cNvPr id="15" name="Rectangle 14">
            <a:extLst>
              <a:ext uri="{FF2B5EF4-FFF2-40B4-BE49-F238E27FC236}">
                <a16:creationId xmlns:a16="http://schemas.microsoft.com/office/drawing/2014/main" id="{8E022FF7-E875-4E37-92C6-08CB9334E2E3}"/>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993EECA2-C541-452E-9AC9-747E78D03258}"/>
              </a:ext>
            </a:extLst>
          </p:cNvPr>
          <p:cNvGrpSpPr/>
          <p:nvPr/>
        </p:nvGrpSpPr>
        <p:grpSpPr>
          <a:xfrm>
            <a:off x="950173" y="6425309"/>
            <a:ext cx="1075910" cy="230941"/>
            <a:chOff x="201074" y="6425309"/>
            <a:chExt cx="1075910" cy="230941"/>
          </a:xfrm>
        </p:grpSpPr>
        <p:sp>
          <p:nvSpPr>
            <p:cNvPr id="18" name="Rectangle 17">
              <a:extLst>
                <a:ext uri="{FF2B5EF4-FFF2-40B4-BE49-F238E27FC236}">
                  <a16:creationId xmlns:a16="http://schemas.microsoft.com/office/drawing/2014/main" id="{907EDCCC-B8B0-4561-B536-6D80D2772042}"/>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51409B73-89C0-48AE-96D0-C25598323630}"/>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37A6F3AE-B8DA-4017-9F3E-E0C1C5947094}"/>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27" name="Title 1">
              <a:extLst>
                <a:ext uri="{FF2B5EF4-FFF2-40B4-BE49-F238E27FC236}">
                  <a16:creationId xmlns:a16="http://schemas.microsoft.com/office/drawing/2014/main" id="{F8D63881-F90E-4941-B18A-E3C6713C799D}"/>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8" name="Group 27">
            <a:extLst>
              <a:ext uri="{FF2B5EF4-FFF2-40B4-BE49-F238E27FC236}">
                <a16:creationId xmlns:a16="http://schemas.microsoft.com/office/drawing/2014/main" id="{6E011101-431A-421A-8638-D55F6A512830}"/>
              </a:ext>
            </a:extLst>
          </p:cNvPr>
          <p:cNvGrpSpPr/>
          <p:nvPr/>
        </p:nvGrpSpPr>
        <p:grpSpPr>
          <a:xfrm>
            <a:off x="950173" y="6425309"/>
            <a:ext cx="1075910" cy="230941"/>
            <a:chOff x="201074" y="6425309"/>
            <a:chExt cx="1075910" cy="230941"/>
          </a:xfrm>
        </p:grpSpPr>
        <p:sp>
          <p:nvSpPr>
            <p:cNvPr id="29" name="Rectangle 28">
              <a:extLst>
                <a:ext uri="{FF2B5EF4-FFF2-40B4-BE49-F238E27FC236}">
                  <a16:creationId xmlns:a16="http://schemas.microsoft.com/office/drawing/2014/main" id="{2A598D5A-129F-45CC-B082-9A0D2FE783DB}"/>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0" name="Straight Connector 29">
              <a:extLst>
                <a:ext uri="{FF2B5EF4-FFF2-40B4-BE49-F238E27FC236}">
                  <a16:creationId xmlns:a16="http://schemas.microsoft.com/office/drawing/2014/main" id="{0126BC43-585B-4DD0-BF8E-76CFBB79E25B}"/>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7116D1D2-C747-4706-AA1E-8CF2551E8C56}"/>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2" name="Title 1">
              <a:extLst>
                <a:ext uri="{FF2B5EF4-FFF2-40B4-BE49-F238E27FC236}">
                  <a16:creationId xmlns:a16="http://schemas.microsoft.com/office/drawing/2014/main" id="{1500D8CB-7476-48F1-8159-36E9AE90DEBC}"/>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4" name="Footer Placeholder 3">
            <a:extLst>
              <a:ext uri="{FF2B5EF4-FFF2-40B4-BE49-F238E27FC236}">
                <a16:creationId xmlns:a16="http://schemas.microsoft.com/office/drawing/2014/main" id="{BDA08D11-9D68-4868-9728-5AE8F6C86543}"/>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24E82D16-663B-484A-8BD1-F6350F0F959C}"/>
              </a:ext>
            </a:extLst>
          </p:cNvPr>
          <p:cNvSpPr>
            <a:spLocks noGrp="1"/>
          </p:cNvSpPr>
          <p:nvPr>
            <p:ph type="sldNum" sz="quarter" idx="16"/>
          </p:nvPr>
        </p:nvSpPr>
        <p:spPr/>
        <p:txBody>
          <a:bodyPr/>
          <a:lstStyle/>
          <a:p>
            <a:fld id="{5382645D-9DD6-408C-B0EA-C65795F9B1DE}" type="slidenum">
              <a:rPr lang="en-US" smtClean="0"/>
              <a:pPr/>
              <a:t>31</a:t>
            </a:fld>
            <a:endParaRPr lang="en-US"/>
          </a:p>
        </p:txBody>
      </p:sp>
      <p:pic>
        <p:nvPicPr>
          <p:cNvPr id="21" name="Picture 20">
            <a:extLst>
              <a:ext uri="{FF2B5EF4-FFF2-40B4-BE49-F238E27FC236}">
                <a16:creationId xmlns:a16="http://schemas.microsoft.com/office/drawing/2014/main" id="{8F2BB8B5-ED6D-4D73-9DB9-040EC43417A9}"/>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414373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2251B362-79BD-44D9-995B-41489DA8EB51}"/>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931689" y="1447838"/>
            <a:ext cx="10328043" cy="4729125"/>
          </a:xfrm>
        </p:spPr>
        <p:txBody>
          <a:bodyPr>
            <a:normAutofit/>
          </a:bodyPr>
          <a:lstStyle/>
          <a:p>
            <a:pPr marL="0" indent="0">
              <a:lnSpc>
                <a:spcPct val="100000"/>
              </a:lnSpc>
              <a:spcBef>
                <a:spcPts val="1200"/>
              </a:spcBef>
              <a:spcAft>
                <a:spcPts val="1800"/>
              </a:spcAft>
              <a:buNone/>
            </a:pPr>
            <a:r>
              <a:rPr lang="en-US" dirty="0"/>
              <a:t>The applicator </a:t>
            </a:r>
            <a:r>
              <a:rPr lang="en-US" b="1" dirty="0"/>
              <a:t>must always maintain </a:t>
            </a:r>
            <a:r>
              <a:rPr lang="en-US" dirty="0"/>
              <a:t>a downwind buffer between the last treated row and the nearest downwind field edge (in the direction the wind is blowing).</a:t>
            </a:r>
          </a:p>
          <a:p>
            <a:pPr marL="457200" lvl="1" indent="0">
              <a:lnSpc>
                <a:spcPct val="100000"/>
              </a:lnSpc>
              <a:spcAft>
                <a:spcPts val="600"/>
              </a:spcAft>
              <a:buClr>
                <a:srgbClr val="ED7D31"/>
              </a:buClr>
              <a:buNone/>
              <a:defRPr/>
            </a:pPr>
            <a:r>
              <a:rPr lang="en-US" b="1" dirty="0">
                <a:solidFill>
                  <a:srgbClr val="00B050"/>
                </a:solidFill>
              </a:rPr>
              <a:t>240 feet</a:t>
            </a:r>
            <a:r>
              <a:rPr lang="en-US" dirty="0">
                <a:solidFill>
                  <a:srgbClr val="00B050"/>
                </a:solidFill>
              </a:rPr>
              <a:t> </a:t>
            </a:r>
            <a:r>
              <a:rPr lang="en-US" dirty="0"/>
              <a:t>for open-boom sprayers</a:t>
            </a:r>
          </a:p>
          <a:p>
            <a:pPr marL="457200" lvl="1" indent="0">
              <a:lnSpc>
                <a:spcPct val="100000"/>
              </a:lnSpc>
              <a:spcAft>
                <a:spcPts val="600"/>
              </a:spcAft>
              <a:buClr>
                <a:srgbClr val="ED7D31"/>
              </a:buClr>
              <a:buNone/>
              <a:defRPr/>
            </a:pPr>
            <a:r>
              <a:rPr lang="en-US" b="1" dirty="0">
                <a:solidFill>
                  <a:srgbClr val="00B050"/>
                </a:solidFill>
              </a:rPr>
              <a:t>110 feet</a:t>
            </a:r>
            <a:r>
              <a:rPr lang="en-US" dirty="0">
                <a:solidFill>
                  <a:srgbClr val="00B050"/>
                </a:solidFill>
              </a:rPr>
              <a:t> when using qualified Drift Reduction Technology (certain hooded/shielded broadcast sprayers) as listed on product specific websites</a:t>
            </a:r>
          </a:p>
          <a:p>
            <a:pPr lvl="2">
              <a:lnSpc>
                <a:spcPct val="100000"/>
              </a:lnSpc>
              <a:spcAft>
                <a:spcPts val="600"/>
              </a:spcAft>
              <a:buClr>
                <a:srgbClr val="ED7D31"/>
              </a:buClr>
              <a:defRPr/>
            </a:pPr>
            <a:r>
              <a:rPr lang="en-US" dirty="0">
                <a:solidFill>
                  <a:srgbClr val="00B050"/>
                </a:solidFill>
              </a:rPr>
              <a:t>When using qualified Drift Reduction Technology; certified applicator is required to visit </a:t>
            </a:r>
            <a:r>
              <a:rPr lang="en-US" dirty="0">
                <a:solidFill>
                  <a:srgbClr val="00B050"/>
                </a:solidFill>
                <a:hlinkClick r:id="rId3"/>
              </a:rPr>
              <a:t>www.xtendimaxapplicationrequirements.com</a:t>
            </a:r>
            <a:r>
              <a:rPr lang="en-US" dirty="0">
                <a:solidFill>
                  <a:srgbClr val="00B050"/>
                </a:solidFill>
              </a:rPr>
              <a:t> no more than 7 days prior application to confirm approved equipment and application limitations/directions for specific Drift Reduction Technology employed.</a:t>
            </a:r>
          </a:p>
          <a:p>
            <a:pPr marL="457200" lvl="1" indent="0">
              <a:lnSpc>
                <a:spcPct val="100000"/>
              </a:lnSpc>
              <a:spcAft>
                <a:spcPts val="600"/>
              </a:spcAft>
              <a:buClr>
                <a:srgbClr val="ED7D31"/>
              </a:buClr>
              <a:buNone/>
              <a:defRPr/>
            </a:pPr>
            <a:endParaRPr lang="en-US" b="1" kern="0" dirty="0">
              <a:solidFill>
                <a:sysClr val="windowText" lastClr="000000"/>
              </a:solidFill>
            </a:endParaRPr>
          </a:p>
          <a:p>
            <a:pPr marL="457200" lvl="1" indent="0">
              <a:lnSpc>
                <a:spcPct val="100000"/>
              </a:lnSpc>
              <a:spcAft>
                <a:spcPts val="600"/>
              </a:spcAft>
              <a:buClr>
                <a:srgbClr val="ED7D31"/>
              </a:buClr>
              <a:buNone/>
              <a:defRPr/>
            </a:pPr>
            <a:r>
              <a:rPr lang="en-US" sz="1600" b="1" kern="0" dirty="0">
                <a:solidFill>
                  <a:sysClr val="windowText" lastClr="000000"/>
                </a:solidFill>
              </a:rPr>
              <a:t>Downwind buffer is not intended for protection of downwind sensitive crops and certain plants</a:t>
            </a:r>
          </a:p>
          <a:p>
            <a:pPr marL="457200" lvl="1" indent="0">
              <a:lnSpc>
                <a:spcPct val="100000"/>
              </a:lnSpc>
              <a:spcAft>
                <a:spcPts val="600"/>
              </a:spcAft>
              <a:buClr>
                <a:srgbClr val="ED7D31"/>
              </a:buClr>
              <a:buNone/>
              <a:defRPr/>
            </a:pPr>
            <a:endParaRPr lang="en-US" sz="1600" dirty="0"/>
          </a:p>
        </p:txBody>
      </p:sp>
      <p:sp>
        <p:nvSpPr>
          <p:cNvPr id="52" name="Text Placeholder 14">
            <a:extLst>
              <a:ext uri="{FF2B5EF4-FFF2-40B4-BE49-F238E27FC236}">
                <a16:creationId xmlns:a16="http://schemas.microsoft.com/office/drawing/2014/main" id="{4287099A-E990-4494-99C4-5FE72041DAB2}"/>
              </a:ext>
            </a:extLst>
          </p:cNvPr>
          <p:cNvSpPr>
            <a:spLocks noGrp="1"/>
          </p:cNvSpPr>
          <p:nvPr>
            <p:ph type="body" sz="quarter" idx="14"/>
          </p:nvPr>
        </p:nvSpPr>
        <p:spPr>
          <a:xfrm>
            <a:off x="838200" y="870295"/>
            <a:ext cx="10515600" cy="341632"/>
          </a:xfrm>
        </p:spPr>
        <p:txBody>
          <a:bodyPr/>
          <a:lstStyle/>
          <a:p>
            <a:r>
              <a:rPr lang="en-US"/>
              <a:t>downwind adjacent areas</a:t>
            </a:r>
          </a:p>
        </p:txBody>
      </p:sp>
      <p:sp>
        <p:nvSpPr>
          <p:cNvPr id="10" name="Title 9"/>
          <p:cNvSpPr>
            <a:spLocks noGrp="1"/>
          </p:cNvSpPr>
          <p:nvPr>
            <p:ph type="title"/>
          </p:nvPr>
        </p:nvSpPr>
        <p:spPr>
          <a:xfrm>
            <a:off x="838200" y="318014"/>
            <a:ext cx="10515600" cy="535531"/>
          </a:xfrm>
        </p:spPr>
        <p:txBody>
          <a:bodyPr/>
          <a:lstStyle/>
          <a:p>
            <a:r>
              <a:rPr lang="en-US" sz="3200"/>
              <a:t>BUFFER DISTANCE REQUIREMENT</a:t>
            </a:r>
          </a:p>
        </p:txBody>
      </p:sp>
      <p:cxnSp>
        <p:nvCxnSpPr>
          <p:cNvPr id="27" name="Straight Connector 26">
            <a:extLst>
              <a:ext uri="{FF2B5EF4-FFF2-40B4-BE49-F238E27FC236}">
                <a16:creationId xmlns:a16="http://schemas.microsoft.com/office/drawing/2014/main" id="{F9B61F16-314E-48E0-A1B9-EDAE121D2572}"/>
              </a:ext>
            </a:extLst>
          </p:cNvPr>
          <p:cNvCxnSpPr>
            <a:cxnSpLocks/>
          </p:cNvCxnSpPr>
          <p:nvPr/>
        </p:nvCxnSpPr>
        <p:spPr>
          <a:xfrm>
            <a:off x="1262136" y="2325983"/>
            <a:ext cx="0" cy="219646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C441588-D6B7-40A0-89E4-FFFF970D0C36}"/>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74B44EE2-329D-48E9-A035-26F4A19F4640}"/>
              </a:ext>
            </a:extLst>
          </p:cNvPr>
          <p:cNvGrpSpPr/>
          <p:nvPr/>
        </p:nvGrpSpPr>
        <p:grpSpPr>
          <a:xfrm>
            <a:off x="950173" y="6425309"/>
            <a:ext cx="1075910" cy="230941"/>
            <a:chOff x="201074" y="6425309"/>
            <a:chExt cx="1075910" cy="230941"/>
          </a:xfrm>
        </p:grpSpPr>
        <p:sp>
          <p:nvSpPr>
            <p:cNvPr id="35" name="Rectangle 34">
              <a:extLst>
                <a:ext uri="{FF2B5EF4-FFF2-40B4-BE49-F238E27FC236}">
                  <a16:creationId xmlns:a16="http://schemas.microsoft.com/office/drawing/2014/main" id="{23753746-90EB-45AD-B389-275B0303C572}"/>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6" name="Straight Connector 35">
              <a:extLst>
                <a:ext uri="{FF2B5EF4-FFF2-40B4-BE49-F238E27FC236}">
                  <a16:creationId xmlns:a16="http://schemas.microsoft.com/office/drawing/2014/main" id="{9DC4BEFE-9605-44FA-81C3-14C4B9F7EA3F}"/>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itle 1">
              <a:extLst>
                <a:ext uri="{FF2B5EF4-FFF2-40B4-BE49-F238E27FC236}">
                  <a16:creationId xmlns:a16="http://schemas.microsoft.com/office/drawing/2014/main" id="{922FB26D-87CC-4AEF-9694-4C0A9866C7C3}"/>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8" name="Title 1">
              <a:extLst>
                <a:ext uri="{FF2B5EF4-FFF2-40B4-BE49-F238E27FC236}">
                  <a16:creationId xmlns:a16="http://schemas.microsoft.com/office/drawing/2014/main" id="{24A4FD0E-DBA7-4A8A-AD1B-575A75542B0F}"/>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39" name="Group 38">
            <a:extLst>
              <a:ext uri="{FF2B5EF4-FFF2-40B4-BE49-F238E27FC236}">
                <a16:creationId xmlns:a16="http://schemas.microsoft.com/office/drawing/2014/main" id="{25217538-23B1-4C4E-887F-4404E68ECCCF}"/>
              </a:ext>
            </a:extLst>
          </p:cNvPr>
          <p:cNvGrpSpPr/>
          <p:nvPr/>
        </p:nvGrpSpPr>
        <p:grpSpPr>
          <a:xfrm>
            <a:off x="950173" y="6425309"/>
            <a:ext cx="1075910" cy="230941"/>
            <a:chOff x="201074" y="6425309"/>
            <a:chExt cx="1075910" cy="230941"/>
          </a:xfrm>
        </p:grpSpPr>
        <p:sp>
          <p:nvSpPr>
            <p:cNvPr id="40" name="Rectangle 39">
              <a:extLst>
                <a:ext uri="{FF2B5EF4-FFF2-40B4-BE49-F238E27FC236}">
                  <a16:creationId xmlns:a16="http://schemas.microsoft.com/office/drawing/2014/main" id="{3D9B0FFB-B6F8-4181-9BCA-8E025077E6BE}"/>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41" name="Straight Connector 40">
              <a:extLst>
                <a:ext uri="{FF2B5EF4-FFF2-40B4-BE49-F238E27FC236}">
                  <a16:creationId xmlns:a16="http://schemas.microsoft.com/office/drawing/2014/main" id="{731B3932-F9F5-4F46-9E7D-370EB9DF3D2E}"/>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09D4B889-7FC6-416E-9871-FB148772DFEC}"/>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43" name="Title 1">
              <a:extLst>
                <a:ext uri="{FF2B5EF4-FFF2-40B4-BE49-F238E27FC236}">
                  <a16:creationId xmlns:a16="http://schemas.microsoft.com/office/drawing/2014/main" id="{1F0A4DDE-DF3A-4C08-AFEB-C561EFD2F121}"/>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5" name="Footer Placeholder 4">
            <a:extLst>
              <a:ext uri="{FF2B5EF4-FFF2-40B4-BE49-F238E27FC236}">
                <a16:creationId xmlns:a16="http://schemas.microsoft.com/office/drawing/2014/main" id="{500DB2CD-22D2-4065-86B8-99BE73496245}"/>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a:extLst>
              <a:ext uri="{FF2B5EF4-FFF2-40B4-BE49-F238E27FC236}">
                <a16:creationId xmlns:a16="http://schemas.microsoft.com/office/drawing/2014/main" id="{850ED853-E99D-478C-B1EF-9CB72B29C7B4}"/>
              </a:ext>
            </a:extLst>
          </p:cNvPr>
          <p:cNvSpPr>
            <a:spLocks noGrp="1"/>
          </p:cNvSpPr>
          <p:nvPr>
            <p:ph type="sldNum" sz="quarter" idx="16"/>
          </p:nvPr>
        </p:nvSpPr>
        <p:spPr/>
        <p:txBody>
          <a:bodyPr/>
          <a:lstStyle/>
          <a:p>
            <a:fld id="{5382645D-9DD6-408C-B0EA-C65795F9B1DE}" type="slidenum">
              <a:rPr lang="en-US" smtClean="0"/>
              <a:pPr/>
              <a:t>32</a:t>
            </a:fld>
            <a:endParaRPr lang="en-US"/>
          </a:p>
        </p:txBody>
      </p:sp>
      <p:pic>
        <p:nvPicPr>
          <p:cNvPr id="234" name="Picture 233">
            <a:extLst>
              <a:ext uri="{FF2B5EF4-FFF2-40B4-BE49-F238E27FC236}">
                <a16:creationId xmlns:a16="http://schemas.microsoft.com/office/drawing/2014/main" id="{A4195D01-6982-441A-8F2A-D554E15F8B77}"/>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149804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2" name="Group 281">
            <a:extLst>
              <a:ext uri="{FF2B5EF4-FFF2-40B4-BE49-F238E27FC236}">
                <a16:creationId xmlns:a16="http://schemas.microsoft.com/office/drawing/2014/main" id="{163833D7-0C48-4A60-B70C-966995396A75}"/>
              </a:ext>
            </a:extLst>
          </p:cNvPr>
          <p:cNvGrpSpPr>
            <a:grpSpLocks noChangeAspect="1"/>
          </p:cNvGrpSpPr>
          <p:nvPr/>
        </p:nvGrpSpPr>
        <p:grpSpPr>
          <a:xfrm>
            <a:off x="1093467" y="1435147"/>
            <a:ext cx="4552131" cy="3758184"/>
            <a:chOff x="12881928" y="234950"/>
            <a:chExt cx="5943599" cy="4906963"/>
          </a:xfrm>
        </p:grpSpPr>
        <p:sp>
          <p:nvSpPr>
            <p:cNvPr id="21" name="Rectangle 5">
              <a:extLst>
                <a:ext uri="{FF2B5EF4-FFF2-40B4-BE49-F238E27FC236}">
                  <a16:creationId xmlns:a16="http://schemas.microsoft.com/office/drawing/2014/main" id="{50C28019-E6CA-4F22-AA5D-846AF441D144}"/>
                </a:ext>
              </a:extLst>
            </p:cNvPr>
            <p:cNvSpPr>
              <a:spLocks noChangeArrowheads="1"/>
            </p:cNvSpPr>
            <p:nvPr/>
          </p:nvSpPr>
          <p:spPr bwMode="auto">
            <a:xfrm>
              <a:off x="12953366" y="2847975"/>
              <a:ext cx="5778500" cy="223520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6">
              <a:extLst>
                <a:ext uri="{FF2B5EF4-FFF2-40B4-BE49-F238E27FC236}">
                  <a16:creationId xmlns:a16="http://schemas.microsoft.com/office/drawing/2014/main" id="{269D818E-FCBF-4A6F-8B8A-971298231332}"/>
                </a:ext>
              </a:extLst>
            </p:cNvPr>
            <p:cNvSpPr>
              <a:spLocks noChangeArrowheads="1"/>
            </p:cNvSpPr>
            <p:nvPr/>
          </p:nvSpPr>
          <p:spPr bwMode="auto">
            <a:xfrm>
              <a:off x="12953366" y="2847975"/>
              <a:ext cx="5778500" cy="223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9" name="Group 278">
              <a:extLst>
                <a:ext uri="{FF2B5EF4-FFF2-40B4-BE49-F238E27FC236}">
                  <a16:creationId xmlns:a16="http://schemas.microsoft.com/office/drawing/2014/main" id="{EEF477D3-207F-4AD0-9146-E819E2C59ACB}"/>
                </a:ext>
              </a:extLst>
            </p:cNvPr>
            <p:cNvGrpSpPr/>
            <p:nvPr/>
          </p:nvGrpSpPr>
          <p:grpSpPr>
            <a:xfrm>
              <a:off x="16868141" y="2847975"/>
              <a:ext cx="1906588" cy="2235201"/>
              <a:chOff x="16868141" y="2847975"/>
              <a:chExt cx="1906588" cy="2235201"/>
            </a:xfrm>
            <a:solidFill>
              <a:srgbClr val="FFFFFF">
                <a:alpha val="50196"/>
              </a:srgbClr>
            </a:solidFill>
          </p:grpSpPr>
          <p:sp>
            <p:nvSpPr>
              <p:cNvPr id="23" name="Freeform 7">
                <a:extLst>
                  <a:ext uri="{FF2B5EF4-FFF2-40B4-BE49-F238E27FC236}">
                    <a16:creationId xmlns:a16="http://schemas.microsoft.com/office/drawing/2014/main" id="{7AE38E09-5BF4-4FB8-A28B-B50BC5B25CDE}"/>
                  </a:ext>
                </a:extLst>
              </p:cNvPr>
              <p:cNvSpPr>
                <a:spLocks/>
              </p:cNvSpPr>
              <p:nvPr/>
            </p:nvSpPr>
            <p:spPr bwMode="auto">
              <a:xfrm>
                <a:off x="16871316" y="2847975"/>
                <a:ext cx="9525" cy="7938"/>
              </a:xfrm>
              <a:custGeom>
                <a:avLst/>
                <a:gdLst>
                  <a:gd name="T0" fmla="*/ 6 w 6"/>
                  <a:gd name="T1" fmla="*/ 0 h 5"/>
                  <a:gd name="T2" fmla="*/ 0 w 6"/>
                  <a:gd name="T3" fmla="*/ 0 h 5"/>
                  <a:gd name="T4" fmla="*/ 0 w 6"/>
                  <a:gd name="T5" fmla="*/ 5 h 5"/>
                  <a:gd name="T6" fmla="*/ 6 w 6"/>
                  <a:gd name="T7" fmla="*/ 0 h 5"/>
                </a:gdLst>
                <a:ahLst/>
                <a:cxnLst>
                  <a:cxn ang="0">
                    <a:pos x="T0" y="T1"/>
                  </a:cxn>
                  <a:cxn ang="0">
                    <a:pos x="T2" y="T3"/>
                  </a:cxn>
                  <a:cxn ang="0">
                    <a:pos x="T4" y="T5"/>
                  </a:cxn>
                  <a:cxn ang="0">
                    <a:pos x="T6" y="T7"/>
                  </a:cxn>
                </a:cxnLst>
                <a:rect l="0" t="0" r="r" b="b"/>
                <a:pathLst>
                  <a:path w="6" h="5">
                    <a:moveTo>
                      <a:pt x="6" y="0"/>
                    </a:moveTo>
                    <a:lnTo>
                      <a:pt x="0" y="0"/>
                    </a:lnTo>
                    <a:lnTo>
                      <a:pt x="0" y="5"/>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8">
                <a:extLst>
                  <a:ext uri="{FF2B5EF4-FFF2-40B4-BE49-F238E27FC236}">
                    <a16:creationId xmlns:a16="http://schemas.microsoft.com/office/drawing/2014/main" id="{3C2893BE-2EEE-4E4F-8AE9-5AA0D3780447}"/>
                  </a:ext>
                </a:extLst>
              </p:cNvPr>
              <p:cNvSpPr>
                <a:spLocks/>
              </p:cNvSpPr>
              <p:nvPr/>
            </p:nvSpPr>
            <p:spPr bwMode="auto">
              <a:xfrm>
                <a:off x="16871316" y="2847975"/>
                <a:ext cx="9525" cy="7938"/>
              </a:xfrm>
              <a:custGeom>
                <a:avLst/>
                <a:gdLst>
                  <a:gd name="T0" fmla="*/ 6 w 6"/>
                  <a:gd name="T1" fmla="*/ 0 h 5"/>
                  <a:gd name="T2" fmla="*/ 0 w 6"/>
                  <a:gd name="T3" fmla="*/ 0 h 5"/>
                  <a:gd name="T4" fmla="*/ 0 w 6"/>
                  <a:gd name="T5" fmla="*/ 5 h 5"/>
                  <a:gd name="T6" fmla="*/ 6 w 6"/>
                  <a:gd name="T7" fmla="*/ 0 h 5"/>
                </a:gdLst>
                <a:ahLst/>
                <a:cxnLst>
                  <a:cxn ang="0">
                    <a:pos x="T0" y="T1"/>
                  </a:cxn>
                  <a:cxn ang="0">
                    <a:pos x="T2" y="T3"/>
                  </a:cxn>
                  <a:cxn ang="0">
                    <a:pos x="T4" y="T5"/>
                  </a:cxn>
                  <a:cxn ang="0">
                    <a:pos x="T6" y="T7"/>
                  </a:cxn>
                </a:cxnLst>
                <a:rect l="0" t="0" r="r" b="b"/>
                <a:pathLst>
                  <a:path w="6" h="5">
                    <a:moveTo>
                      <a:pt x="6" y="0"/>
                    </a:moveTo>
                    <a:lnTo>
                      <a:pt x="0" y="0"/>
                    </a:lnTo>
                    <a:lnTo>
                      <a:pt x="0" y="5"/>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
                <a:extLst>
                  <a:ext uri="{FF2B5EF4-FFF2-40B4-BE49-F238E27FC236}">
                    <a16:creationId xmlns:a16="http://schemas.microsoft.com/office/drawing/2014/main" id="{955642A0-F0AA-4FE9-B550-01E6EA664FB4}"/>
                  </a:ext>
                </a:extLst>
              </p:cNvPr>
              <p:cNvSpPr>
                <a:spLocks/>
              </p:cNvSpPr>
              <p:nvPr/>
            </p:nvSpPr>
            <p:spPr bwMode="auto">
              <a:xfrm>
                <a:off x="16871316" y="2847975"/>
                <a:ext cx="119063" cy="119063"/>
              </a:xfrm>
              <a:custGeom>
                <a:avLst/>
                <a:gdLst>
                  <a:gd name="T0" fmla="*/ 75 w 75"/>
                  <a:gd name="T1" fmla="*/ 0 h 75"/>
                  <a:gd name="T2" fmla="*/ 59 w 75"/>
                  <a:gd name="T3" fmla="*/ 0 h 75"/>
                  <a:gd name="T4" fmla="*/ 0 w 75"/>
                  <a:gd name="T5" fmla="*/ 59 h 75"/>
                  <a:gd name="T6" fmla="*/ 0 w 75"/>
                  <a:gd name="T7" fmla="*/ 75 h 75"/>
                  <a:gd name="T8" fmla="*/ 75 w 75"/>
                  <a:gd name="T9" fmla="*/ 0 h 75"/>
                </a:gdLst>
                <a:ahLst/>
                <a:cxnLst>
                  <a:cxn ang="0">
                    <a:pos x="T0" y="T1"/>
                  </a:cxn>
                  <a:cxn ang="0">
                    <a:pos x="T2" y="T3"/>
                  </a:cxn>
                  <a:cxn ang="0">
                    <a:pos x="T4" y="T5"/>
                  </a:cxn>
                  <a:cxn ang="0">
                    <a:pos x="T6" y="T7"/>
                  </a:cxn>
                  <a:cxn ang="0">
                    <a:pos x="T8" y="T9"/>
                  </a:cxn>
                </a:cxnLst>
                <a:rect l="0" t="0" r="r" b="b"/>
                <a:pathLst>
                  <a:path w="75" h="75">
                    <a:moveTo>
                      <a:pt x="75" y="0"/>
                    </a:moveTo>
                    <a:lnTo>
                      <a:pt x="59" y="0"/>
                    </a:lnTo>
                    <a:lnTo>
                      <a:pt x="0" y="59"/>
                    </a:lnTo>
                    <a:lnTo>
                      <a:pt x="0" y="75"/>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a:extLst>
                  <a:ext uri="{FF2B5EF4-FFF2-40B4-BE49-F238E27FC236}">
                    <a16:creationId xmlns:a16="http://schemas.microsoft.com/office/drawing/2014/main" id="{FA087E18-76A1-4200-9905-1490E9E84756}"/>
                  </a:ext>
                </a:extLst>
              </p:cNvPr>
              <p:cNvSpPr>
                <a:spLocks/>
              </p:cNvSpPr>
              <p:nvPr/>
            </p:nvSpPr>
            <p:spPr bwMode="auto">
              <a:xfrm>
                <a:off x="16871316" y="2847975"/>
                <a:ext cx="119063" cy="119063"/>
              </a:xfrm>
              <a:custGeom>
                <a:avLst/>
                <a:gdLst>
                  <a:gd name="T0" fmla="*/ 75 w 75"/>
                  <a:gd name="T1" fmla="*/ 0 h 75"/>
                  <a:gd name="T2" fmla="*/ 59 w 75"/>
                  <a:gd name="T3" fmla="*/ 0 h 75"/>
                  <a:gd name="T4" fmla="*/ 0 w 75"/>
                  <a:gd name="T5" fmla="*/ 59 h 75"/>
                  <a:gd name="T6" fmla="*/ 0 w 75"/>
                  <a:gd name="T7" fmla="*/ 75 h 75"/>
                  <a:gd name="T8" fmla="*/ 75 w 75"/>
                  <a:gd name="T9" fmla="*/ 0 h 75"/>
                </a:gdLst>
                <a:ahLst/>
                <a:cxnLst>
                  <a:cxn ang="0">
                    <a:pos x="T0" y="T1"/>
                  </a:cxn>
                  <a:cxn ang="0">
                    <a:pos x="T2" y="T3"/>
                  </a:cxn>
                  <a:cxn ang="0">
                    <a:pos x="T4" y="T5"/>
                  </a:cxn>
                  <a:cxn ang="0">
                    <a:pos x="T6" y="T7"/>
                  </a:cxn>
                  <a:cxn ang="0">
                    <a:pos x="T8" y="T9"/>
                  </a:cxn>
                </a:cxnLst>
                <a:rect l="0" t="0" r="r" b="b"/>
                <a:pathLst>
                  <a:path w="75" h="75">
                    <a:moveTo>
                      <a:pt x="75" y="0"/>
                    </a:moveTo>
                    <a:lnTo>
                      <a:pt x="59" y="0"/>
                    </a:lnTo>
                    <a:lnTo>
                      <a:pt x="0" y="59"/>
                    </a:lnTo>
                    <a:lnTo>
                      <a:pt x="0" y="75"/>
                    </a:lnTo>
                    <a:lnTo>
                      <a:pt x="7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a:extLst>
                  <a:ext uri="{FF2B5EF4-FFF2-40B4-BE49-F238E27FC236}">
                    <a16:creationId xmlns:a16="http://schemas.microsoft.com/office/drawing/2014/main" id="{C2078538-BC83-43BD-8B52-7E614CE60CE3}"/>
                  </a:ext>
                </a:extLst>
              </p:cNvPr>
              <p:cNvSpPr>
                <a:spLocks/>
              </p:cNvSpPr>
              <p:nvPr/>
            </p:nvSpPr>
            <p:spPr bwMode="auto">
              <a:xfrm>
                <a:off x="16871316" y="2847975"/>
                <a:ext cx="225425" cy="225425"/>
              </a:xfrm>
              <a:custGeom>
                <a:avLst/>
                <a:gdLst>
                  <a:gd name="T0" fmla="*/ 142 w 142"/>
                  <a:gd name="T1" fmla="*/ 0 h 142"/>
                  <a:gd name="T2" fmla="*/ 126 w 142"/>
                  <a:gd name="T3" fmla="*/ 0 h 142"/>
                  <a:gd name="T4" fmla="*/ 0 w 142"/>
                  <a:gd name="T5" fmla="*/ 125 h 142"/>
                  <a:gd name="T6" fmla="*/ 0 w 142"/>
                  <a:gd name="T7" fmla="*/ 142 h 142"/>
                  <a:gd name="T8" fmla="*/ 142 w 142"/>
                  <a:gd name="T9" fmla="*/ 0 h 142"/>
                </a:gdLst>
                <a:ahLst/>
                <a:cxnLst>
                  <a:cxn ang="0">
                    <a:pos x="T0" y="T1"/>
                  </a:cxn>
                  <a:cxn ang="0">
                    <a:pos x="T2" y="T3"/>
                  </a:cxn>
                  <a:cxn ang="0">
                    <a:pos x="T4" y="T5"/>
                  </a:cxn>
                  <a:cxn ang="0">
                    <a:pos x="T6" y="T7"/>
                  </a:cxn>
                  <a:cxn ang="0">
                    <a:pos x="T8" y="T9"/>
                  </a:cxn>
                </a:cxnLst>
                <a:rect l="0" t="0" r="r" b="b"/>
                <a:pathLst>
                  <a:path w="142" h="142">
                    <a:moveTo>
                      <a:pt x="142" y="0"/>
                    </a:moveTo>
                    <a:lnTo>
                      <a:pt x="126" y="0"/>
                    </a:lnTo>
                    <a:lnTo>
                      <a:pt x="0" y="125"/>
                    </a:lnTo>
                    <a:lnTo>
                      <a:pt x="0" y="142"/>
                    </a:lnTo>
                    <a:lnTo>
                      <a:pt x="1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a:extLst>
                  <a:ext uri="{FF2B5EF4-FFF2-40B4-BE49-F238E27FC236}">
                    <a16:creationId xmlns:a16="http://schemas.microsoft.com/office/drawing/2014/main" id="{F1C44A55-C4E9-44E9-BDFB-592DBF862D2D}"/>
                  </a:ext>
                </a:extLst>
              </p:cNvPr>
              <p:cNvSpPr>
                <a:spLocks/>
              </p:cNvSpPr>
              <p:nvPr/>
            </p:nvSpPr>
            <p:spPr bwMode="auto">
              <a:xfrm>
                <a:off x="16871316" y="2847975"/>
                <a:ext cx="225425" cy="225425"/>
              </a:xfrm>
              <a:custGeom>
                <a:avLst/>
                <a:gdLst>
                  <a:gd name="T0" fmla="*/ 142 w 142"/>
                  <a:gd name="T1" fmla="*/ 0 h 142"/>
                  <a:gd name="T2" fmla="*/ 126 w 142"/>
                  <a:gd name="T3" fmla="*/ 0 h 142"/>
                  <a:gd name="T4" fmla="*/ 0 w 142"/>
                  <a:gd name="T5" fmla="*/ 125 h 142"/>
                  <a:gd name="T6" fmla="*/ 0 w 142"/>
                  <a:gd name="T7" fmla="*/ 142 h 142"/>
                  <a:gd name="T8" fmla="*/ 142 w 142"/>
                  <a:gd name="T9" fmla="*/ 0 h 142"/>
                </a:gdLst>
                <a:ahLst/>
                <a:cxnLst>
                  <a:cxn ang="0">
                    <a:pos x="T0" y="T1"/>
                  </a:cxn>
                  <a:cxn ang="0">
                    <a:pos x="T2" y="T3"/>
                  </a:cxn>
                  <a:cxn ang="0">
                    <a:pos x="T4" y="T5"/>
                  </a:cxn>
                  <a:cxn ang="0">
                    <a:pos x="T6" y="T7"/>
                  </a:cxn>
                  <a:cxn ang="0">
                    <a:pos x="T8" y="T9"/>
                  </a:cxn>
                </a:cxnLst>
                <a:rect l="0" t="0" r="r" b="b"/>
                <a:pathLst>
                  <a:path w="142" h="142">
                    <a:moveTo>
                      <a:pt x="142" y="0"/>
                    </a:moveTo>
                    <a:lnTo>
                      <a:pt x="126" y="0"/>
                    </a:lnTo>
                    <a:lnTo>
                      <a:pt x="0" y="125"/>
                    </a:lnTo>
                    <a:lnTo>
                      <a:pt x="0" y="142"/>
                    </a:lnTo>
                    <a:lnTo>
                      <a:pt x="14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3">
                <a:extLst>
                  <a:ext uri="{FF2B5EF4-FFF2-40B4-BE49-F238E27FC236}">
                    <a16:creationId xmlns:a16="http://schemas.microsoft.com/office/drawing/2014/main" id="{2430D2CE-92F1-4382-9A6D-91486B3441F8}"/>
                  </a:ext>
                </a:extLst>
              </p:cNvPr>
              <p:cNvSpPr>
                <a:spLocks/>
              </p:cNvSpPr>
              <p:nvPr/>
            </p:nvSpPr>
            <p:spPr bwMode="auto">
              <a:xfrm>
                <a:off x="16871316" y="2847975"/>
                <a:ext cx="331788" cy="330200"/>
              </a:xfrm>
              <a:custGeom>
                <a:avLst/>
                <a:gdLst>
                  <a:gd name="T0" fmla="*/ 209 w 209"/>
                  <a:gd name="T1" fmla="*/ 0 h 208"/>
                  <a:gd name="T2" fmla="*/ 193 w 209"/>
                  <a:gd name="T3" fmla="*/ 0 h 208"/>
                  <a:gd name="T4" fmla="*/ 0 w 209"/>
                  <a:gd name="T5" fmla="*/ 195 h 208"/>
                  <a:gd name="T6" fmla="*/ 0 w 209"/>
                  <a:gd name="T7" fmla="*/ 208 h 208"/>
                  <a:gd name="T8" fmla="*/ 209 w 209"/>
                  <a:gd name="T9" fmla="*/ 0 h 208"/>
                </a:gdLst>
                <a:ahLst/>
                <a:cxnLst>
                  <a:cxn ang="0">
                    <a:pos x="T0" y="T1"/>
                  </a:cxn>
                  <a:cxn ang="0">
                    <a:pos x="T2" y="T3"/>
                  </a:cxn>
                  <a:cxn ang="0">
                    <a:pos x="T4" y="T5"/>
                  </a:cxn>
                  <a:cxn ang="0">
                    <a:pos x="T6" y="T7"/>
                  </a:cxn>
                  <a:cxn ang="0">
                    <a:pos x="T8" y="T9"/>
                  </a:cxn>
                </a:cxnLst>
                <a:rect l="0" t="0" r="r" b="b"/>
                <a:pathLst>
                  <a:path w="209" h="208">
                    <a:moveTo>
                      <a:pt x="209" y="0"/>
                    </a:moveTo>
                    <a:lnTo>
                      <a:pt x="193" y="0"/>
                    </a:lnTo>
                    <a:lnTo>
                      <a:pt x="0" y="195"/>
                    </a:lnTo>
                    <a:lnTo>
                      <a:pt x="0" y="208"/>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4">
                <a:extLst>
                  <a:ext uri="{FF2B5EF4-FFF2-40B4-BE49-F238E27FC236}">
                    <a16:creationId xmlns:a16="http://schemas.microsoft.com/office/drawing/2014/main" id="{C51EA213-7443-496D-BD8E-8C0822A60E43}"/>
                  </a:ext>
                </a:extLst>
              </p:cNvPr>
              <p:cNvSpPr>
                <a:spLocks/>
              </p:cNvSpPr>
              <p:nvPr/>
            </p:nvSpPr>
            <p:spPr bwMode="auto">
              <a:xfrm>
                <a:off x="16871316" y="2847975"/>
                <a:ext cx="331788" cy="330200"/>
              </a:xfrm>
              <a:custGeom>
                <a:avLst/>
                <a:gdLst>
                  <a:gd name="T0" fmla="*/ 209 w 209"/>
                  <a:gd name="T1" fmla="*/ 0 h 208"/>
                  <a:gd name="T2" fmla="*/ 193 w 209"/>
                  <a:gd name="T3" fmla="*/ 0 h 208"/>
                  <a:gd name="T4" fmla="*/ 0 w 209"/>
                  <a:gd name="T5" fmla="*/ 195 h 208"/>
                  <a:gd name="T6" fmla="*/ 0 w 209"/>
                  <a:gd name="T7" fmla="*/ 208 h 208"/>
                  <a:gd name="T8" fmla="*/ 209 w 209"/>
                  <a:gd name="T9" fmla="*/ 0 h 208"/>
                </a:gdLst>
                <a:ahLst/>
                <a:cxnLst>
                  <a:cxn ang="0">
                    <a:pos x="T0" y="T1"/>
                  </a:cxn>
                  <a:cxn ang="0">
                    <a:pos x="T2" y="T3"/>
                  </a:cxn>
                  <a:cxn ang="0">
                    <a:pos x="T4" y="T5"/>
                  </a:cxn>
                  <a:cxn ang="0">
                    <a:pos x="T6" y="T7"/>
                  </a:cxn>
                  <a:cxn ang="0">
                    <a:pos x="T8" y="T9"/>
                  </a:cxn>
                </a:cxnLst>
                <a:rect l="0" t="0" r="r" b="b"/>
                <a:pathLst>
                  <a:path w="209" h="208">
                    <a:moveTo>
                      <a:pt x="209" y="0"/>
                    </a:moveTo>
                    <a:lnTo>
                      <a:pt x="193" y="0"/>
                    </a:lnTo>
                    <a:lnTo>
                      <a:pt x="0" y="195"/>
                    </a:lnTo>
                    <a:lnTo>
                      <a:pt x="0" y="208"/>
                    </a:lnTo>
                    <a:lnTo>
                      <a:pt x="20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5">
                <a:extLst>
                  <a:ext uri="{FF2B5EF4-FFF2-40B4-BE49-F238E27FC236}">
                    <a16:creationId xmlns:a16="http://schemas.microsoft.com/office/drawing/2014/main" id="{635ADEDA-E695-4062-AD44-9EC8EA556459}"/>
                  </a:ext>
                </a:extLst>
              </p:cNvPr>
              <p:cNvSpPr>
                <a:spLocks/>
              </p:cNvSpPr>
              <p:nvPr/>
            </p:nvSpPr>
            <p:spPr bwMode="auto">
              <a:xfrm>
                <a:off x="16871316" y="2847975"/>
                <a:ext cx="436563" cy="441325"/>
              </a:xfrm>
              <a:custGeom>
                <a:avLst/>
                <a:gdLst>
                  <a:gd name="T0" fmla="*/ 275 w 275"/>
                  <a:gd name="T1" fmla="*/ 0 h 278"/>
                  <a:gd name="T2" fmla="*/ 262 w 275"/>
                  <a:gd name="T3" fmla="*/ 0 h 278"/>
                  <a:gd name="T4" fmla="*/ 0 w 275"/>
                  <a:gd name="T5" fmla="*/ 262 h 278"/>
                  <a:gd name="T6" fmla="*/ 0 w 275"/>
                  <a:gd name="T7" fmla="*/ 278 h 278"/>
                  <a:gd name="T8" fmla="*/ 275 w 275"/>
                  <a:gd name="T9" fmla="*/ 0 h 278"/>
                </a:gdLst>
                <a:ahLst/>
                <a:cxnLst>
                  <a:cxn ang="0">
                    <a:pos x="T0" y="T1"/>
                  </a:cxn>
                  <a:cxn ang="0">
                    <a:pos x="T2" y="T3"/>
                  </a:cxn>
                  <a:cxn ang="0">
                    <a:pos x="T4" y="T5"/>
                  </a:cxn>
                  <a:cxn ang="0">
                    <a:pos x="T6" y="T7"/>
                  </a:cxn>
                  <a:cxn ang="0">
                    <a:pos x="T8" y="T9"/>
                  </a:cxn>
                </a:cxnLst>
                <a:rect l="0" t="0" r="r" b="b"/>
                <a:pathLst>
                  <a:path w="275" h="278">
                    <a:moveTo>
                      <a:pt x="275" y="0"/>
                    </a:moveTo>
                    <a:lnTo>
                      <a:pt x="262" y="0"/>
                    </a:lnTo>
                    <a:lnTo>
                      <a:pt x="0" y="262"/>
                    </a:lnTo>
                    <a:lnTo>
                      <a:pt x="0" y="278"/>
                    </a:lnTo>
                    <a:lnTo>
                      <a:pt x="2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6">
                <a:extLst>
                  <a:ext uri="{FF2B5EF4-FFF2-40B4-BE49-F238E27FC236}">
                    <a16:creationId xmlns:a16="http://schemas.microsoft.com/office/drawing/2014/main" id="{0C4D0914-F6BD-4D07-9767-525BB49F8B00}"/>
                  </a:ext>
                </a:extLst>
              </p:cNvPr>
              <p:cNvSpPr>
                <a:spLocks/>
              </p:cNvSpPr>
              <p:nvPr/>
            </p:nvSpPr>
            <p:spPr bwMode="auto">
              <a:xfrm>
                <a:off x="16871316" y="2847975"/>
                <a:ext cx="436563" cy="441325"/>
              </a:xfrm>
              <a:custGeom>
                <a:avLst/>
                <a:gdLst>
                  <a:gd name="T0" fmla="*/ 275 w 275"/>
                  <a:gd name="T1" fmla="*/ 0 h 278"/>
                  <a:gd name="T2" fmla="*/ 262 w 275"/>
                  <a:gd name="T3" fmla="*/ 0 h 278"/>
                  <a:gd name="T4" fmla="*/ 0 w 275"/>
                  <a:gd name="T5" fmla="*/ 262 h 278"/>
                  <a:gd name="T6" fmla="*/ 0 w 275"/>
                  <a:gd name="T7" fmla="*/ 278 h 278"/>
                  <a:gd name="T8" fmla="*/ 275 w 275"/>
                  <a:gd name="T9" fmla="*/ 0 h 278"/>
                </a:gdLst>
                <a:ahLst/>
                <a:cxnLst>
                  <a:cxn ang="0">
                    <a:pos x="T0" y="T1"/>
                  </a:cxn>
                  <a:cxn ang="0">
                    <a:pos x="T2" y="T3"/>
                  </a:cxn>
                  <a:cxn ang="0">
                    <a:pos x="T4" y="T5"/>
                  </a:cxn>
                  <a:cxn ang="0">
                    <a:pos x="T6" y="T7"/>
                  </a:cxn>
                  <a:cxn ang="0">
                    <a:pos x="T8" y="T9"/>
                  </a:cxn>
                </a:cxnLst>
                <a:rect l="0" t="0" r="r" b="b"/>
                <a:pathLst>
                  <a:path w="275" h="278">
                    <a:moveTo>
                      <a:pt x="275" y="0"/>
                    </a:moveTo>
                    <a:lnTo>
                      <a:pt x="262" y="0"/>
                    </a:lnTo>
                    <a:lnTo>
                      <a:pt x="0" y="262"/>
                    </a:lnTo>
                    <a:lnTo>
                      <a:pt x="0" y="278"/>
                    </a:lnTo>
                    <a:lnTo>
                      <a:pt x="27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A2E17810-C2E1-426A-8C48-D574E9CEEDEB}"/>
                  </a:ext>
                </a:extLst>
              </p:cNvPr>
              <p:cNvSpPr>
                <a:spLocks/>
              </p:cNvSpPr>
              <p:nvPr/>
            </p:nvSpPr>
            <p:spPr bwMode="auto">
              <a:xfrm>
                <a:off x="16871316" y="2847975"/>
                <a:ext cx="547688" cy="547688"/>
              </a:xfrm>
              <a:custGeom>
                <a:avLst/>
                <a:gdLst>
                  <a:gd name="T0" fmla="*/ 345 w 345"/>
                  <a:gd name="T1" fmla="*/ 0 h 345"/>
                  <a:gd name="T2" fmla="*/ 329 w 345"/>
                  <a:gd name="T3" fmla="*/ 0 h 345"/>
                  <a:gd name="T4" fmla="*/ 0 w 345"/>
                  <a:gd name="T5" fmla="*/ 329 h 345"/>
                  <a:gd name="T6" fmla="*/ 0 w 345"/>
                  <a:gd name="T7" fmla="*/ 345 h 345"/>
                  <a:gd name="T8" fmla="*/ 345 w 345"/>
                  <a:gd name="T9" fmla="*/ 0 h 345"/>
                </a:gdLst>
                <a:ahLst/>
                <a:cxnLst>
                  <a:cxn ang="0">
                    <a:pos x="T0" y="T1"/>
                  </a:cxn>
                  <a:cxn ang="0">
                    <a:pos x="T2" y="T3"/>
                  </a:cxn>
                  <a:cxn ang="0">
                    <a:pos x="T4" y="T5"/>
                  </a:cxn>
                  <a:cxn ang="0">
                    <a:pos x="T6" y="T7"/>
                  </a:cxn>
                  <a:cxn ang="0">
                    <a:pos x="T8" y="T9"/>
                  </a:cxn>
                </a:cxnLst>
                <a:rect l="0" t="0" r="r" b="b"/>
                <a:pathLst>
                  <a:path w="345" h="345">
                    <a:moveTo>
                      <a:pt x="345" y="0"/>
                    </a:moveTo>
                    <a:lnTo>
                      <a:pt x="329" y="0"/>
                    </a:lnTo>
                    <a:lnTo>
                      <a:pt x="0" y="329"/>
                    </a:lnTo>
                    <a:lnTo>
                      <a:pt x="0" y="345"/>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8438D1EA-AD43-41EE-A03F-7CF81B5EE2F2}"/>
                  </a:ext>
                </a:extLst>
              </p:cNvPr>
              <p:cNvSpPr>
                <a:spLocks/>
              </p:cNvSpPr>
              <p:nvPr/>
            </p:nvSpPr>
            <p:spPr bwMode="auto">
              <a:xfrm>
                <a:off x="16871316" y="2847975"/>
                <a:ext cx="547688" cy="547688"/>
              </a:xfrm>
              <a:custGeom>
                <a:avLst/>
                <a:gdLst>
                  <a:gd name="T0" fmla="*/ 345 w 345"/>
                  <a:gd name="T1" fmla="*/ 0 h 345"/>
                  <a:gd name="T2" fmla="*/ 329 w 345"/>
                  <a:gd name="T3" fmla="*/ 0 h 345"/>
                  <a:gd name="T4" fmla="*/ 0 w 345"/>
                  <a:gd name="T5" fmla="*/ 329 h 345"/>
                  <a:gd name="T6" fmla="*/ 0 w 345"/>
                  <a:gd name="T7" fmla="*/ 345 h 345"/>
                  <a:gd name="T8" fmla="*/ 345 w 345"/>
                  <a:gd name="T9" fmla="*/ 0 h 345"/>
                </a:gdLst>
                <a:ahLst/>
                <a:cxnLst>
                  <a:cxn ang="0">
                    <a:pos x="T0" y="T1"/>
                  </a:cxn>
                  <a:cxn ang="0">
                    <a:pos x="T2" y="T3"/>
                  </a:cxn>
                  <a:cxn ang="0">
                    <a:pos x="T4" y="T5"/>
                  </a:cxn>
                  <a:cxn ang="0">
                    <a:pos x="T6" y="T7"/>
                  </a:cxn>
                  <a:cxn ang="0">
                    <a:pos x="T8" y="T9"/>
                  </a:cxn>
                </a:cxnLst>
                <a:rect l="0" t="0" r="r" b="b"/>
                <a:pathLst>
                  <a:path w="345" h="345">
                    <a:moveTo>
                      <a:pt x="345" y="0"/>
                    </a:moveTo>
                    <a:lnTo>
                      <a:pt x="329" y="0"/>
                    </a:lnTo>
                    <a:lnTo>
                      <a:pt x="0" y="329"/>
                    </a:lnTo>
                    <a:lnTo>
                      <a:pt x="0" y="345"/>
                    </a:lnTo>
                    <a:lnTo>
                      <a:pt x="34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9">
                <a:extLst>
                  <a:ext uri="{FF2B5EF4-FFF2-40B4-BE49-F238E27FC236}">
                    <a16:creationId xmlns:a16="http://schemas.microsoft.com/office/drawing/2014/main" id="{FFACACE7-E5FD-4FD0-B48C-4227386EC296}"/>
                  </a:ext>
                </a:extLst>
              </p:cNvPr>
              <p:cNvSpPr>
                <a:spLocks/>
              </p:cNvSpPr>
              <p:nvPr/>
            </p:nvSpPr>
            <p:spPr bwMode="auto">
              <a:xfrm>
                <a:off x="16871316" y="2847975"/>
                <a:ext cx="652463" cy="652463"/>
              </a:xfrm>
              <a:custGeom>
                <a:avLst/>
                <a:gdLst>
                  <a:gd name="T0" fmla="*/ 411 w 411"/>
                  <a:gd name="T1" fmla="*/ 0 h 411"/>
                  <a:gd name="T2" fmla="*/ 395 w 411"/>
                  <a:gd name="T3" fmla="*/ 0 h 411"/>
                  <a:gd name="T4" fmla="*/ 0 w 411"/>
                  <a:gd name="T5" fmla="*/ 398 h 411"/>
                  <a:gd name="T6" fmla="*/ 0 w 411"/>
                  <a:gd name="T7" fmla="*/ 411 h 411"/>
                  <a:gd name="T8" fmla="*/ 411 w 411"/>
                  <a:gd name="T9" fmla="*/ 0 h 411"/>
                </a:gdLst>
                <a:ahLst/>
                <a:cxnLst>
                  <a:cxn ang="0">
                    <a:pos x="T0" y="T1"/>
                  </a:cxn>
                  <a:cxn ang="0">
                    <a:pos x="T2" y="T3"/>
                  </a:cxn>
                  <a:cxn ang="0">
                    <a:pos x="T4" y="T5"/>
                  </a:cxn>
                  <a:cxn ang="0">
                    <a:pos x="T6" y="T7"/>
                  </a:cxn>
                  <a:cxn ang="0">
                    <a:pos x="T8" y="T9"/>
                  </a:cxn>
                </a:cxnLst>
                <a:rect l="0" t="0" r="r" b="b"/>
                <a:pathLst>
                  <a:path w="411" h="411">
                    <a:moveTo>
                      <a:pt x="411" y="0"/>
                    </a:moveTo>
                    <a:lnTo>
                      <a:pt x="395" y="0"/>
                    </a:lnTo>
                    <a:lnTo>
                      <a:pt x="0" y="398"/>
                    </a:lnTo>
                    <a:lnTo>
                      <a:pt x="0" y="411"/>
                    </a:lnTo>
                    <a:lnTo>
                      <a:pt x="4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0">
                <a:extLst>
                  <a:ext uri="{FF2B5EF4-FFF2-40B4-BE49-F238E27FC236}">
                    <a16:creationId xmlns:a16="http://schemas.microsoft.com/office/drawing/2014/main" id="{0812C0E0-BCCF-4096-B310-1FE640FD7D6B}"/>
                  </a:ext>
                </a:extLst>
              </p:cNvPr>
              <p:cNvSpPr>
                <a:spLocks/>
              </p:cNvSpPr>
              <p:nvPr/>
            </p:nvSpPr>
            <p:spPr bwMode="auto">
              <a:xfrm>
                <a:off x="16871316" y="2847975"/>
                <a:ext cx="652463" cy="652463"/>
              </a:xfrm>
              <a:custGeom>
                <a:avLst/>
                <a:gdLst>
                  <a:gd name="T0" fmla="*/ 411 w 411"/>
                  <a:gd name="T1" fmla="*/ 0 h 411"/>
                  <a:gd name="T2" fmla="*/ 395 w 411"/>
                  <a:gd name="T3" fmla="*/ 0 h 411"/>
                  <a:gd name="T4" fmla="*/ 0 w 411"/>
                  <a:gd name="T5" fmla="*/ 398 h 411"/>
                  <a:gd name="T6" fmla="*/ 0 w 411"/>
                  <a:gd name="T7" fmla="*/ 411 h 411"/>
                  <a:gd name="T8" fmla="*/ 411 w 411"/>
                  <a:gd name="T9" fmla="*/ 0 h 411"/>
                </a:gdLst>
                <a:ahLst/>
                <a:cxnLst>
                  <a:cxn ang="0">
                    <a:pos x="T0" y="T1"/>
                  </a:cxn>
                  <a:cxn ang="0">
                    <a:pos x="T2" y="T3"/>
                  </a:cxn>
                  <a:cxn ang="0">
                    <a:pos x="T4" y="T5"/>
                  </a:cxn>
                  <a:cxn ang="0">
                    <a:pos x="T6" y="T7"/>
                  </a:cxn>
                  <a:cxn ang="0">
                    <a:pos x="T8" y="T9"/>
                  </a:cxn>
                </a:cxnLst>
                <a:rect l="0" t="0" r="r" b="b"/>
                <a:pathLst>
                  <a:path w="411" h="411">
                    <a:moveTo>
                      <a:pt x="411" y="0"/>
                    </a:moveTo>
                    <a:lnTo>
                      <a:pt x="395" y="0"/>
                    </a:lnTo>
                    <a:lnTo>
                      <a:pt x="0" y="398"/>
                    </a:lnTo>
                    <a:lnTo>
                      <a:pt x="0" y="411"/>
                    </a:lnTo>
                    <a:lnTo>
                      <a:pt x="4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1">
                <a:extLst>
                  <a:ext uri="{FF2B5EF4-FFF2-40B4-BE49-F238E27FC236}">
                    <a16:creationId xmlns:a16="http://schemas.microsoft.com/office/drawing/2014/main" id="{6C2164C4-FB77-426C-B783-A07103C90D13}"/>
                  </a:ext>
                </a:extLst>
              </p:cNvPr>
              <p:cNvSpPr>
                <a:spLocks/>
              </p:cNvSpPr>
              <p:nvPr/>
            </p:nvSpPr>
            <p:spPr bwMode="auto">
              <a:xfrm>
                <a:off x="16871316" y="2847975"/>
                <a:ext cx="758825" cy="763588"/>
              </a:xfrm>
              <a:custGeom>
                <a:avLst/>
                <a:gdLst>
                  <a:gd name="T0" fmla="*/ 478 w 478"/>
                  <a:gd name="T1" fmla="*/ 0 h 481"/>
                  <a:gd name="T2" fmla="*/ 462 w 478"/>
                  <a:gd name="T3" fmla="*/ 0 h 481"/>
                  <a:gd name="T4" fmla="*/ 0 w 478"/>
                  <a:gd name="T5" fmla="*/ 465 h 481"/>
                  <a:gd name="T6" fmla="*/ 0 w 478"/>
                  <a:gd name="T7" fmla="*/ 481 h 481"/>
                  <a:gd name="T8" fmla="*/ 478 w 478"/>
                  <a:gd name="T9" fmla="*/ 0 h 481"/>
                </a:gdLst>
                <a:ahLst/>
                <a:cxnLst>
                  <a:cxn ang="0">
                    <a:pos x="T0" y="T1"/>
                  </a:cxn>
                  <a:cxn ang="0">
                    <a:pos x="T2" y="T3"/>
                  </a:cxn>
                  <a:cxn ang="0">
                    <a:pos x="T4" y="T5"/>
                  </a:cxn>
                  <a:cxn ang="0">
                    <a:pos x="T6" y="T7"/>
                  </a:cxn>
                  <a:cxn ang="0">
                    <a:pos x="T8" y="T9"/>
                  </a:cxn>
                </a:cxnLst>
                <a:rect l="0" t="0" r="r" b="b"/>
                <a:pathLst>
                  <a:path w="478" h="481">
                    <a:moveTo>
                      <a:pt x="478" y="0"/>
                    </a:moveTo>
                    <a:lnTo>
                      <a:pt x="462" y="0"/>
                    </a:lnTo>
                    <a:lnTo>
                      <a:pt x="0" y="465"/>
                    </a:lnTo>
                    <a:lnTo>
                      <a:pt x="0" y="481"/>
                    </a:lnTo>
                    <a:lnTo>
                      <a:pt x="4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2">
                <a:extLst>
                  <a:ext uri="{FF2B5EF4-FFF2-40B4-BE49-F238E27FC236}">
                    <a16:creationId xmlns:a16="http://schemas.microsoft.com/office/drawing/2014/main" id="{FB51FCA5-9666-4626-A52E-E2C53F4C8660}"/>
                  </a:ext>
                </a:extLst>
              </p:cNvPr>
              <p:cNvSpPr>
                <a:spLocks/>
              </p:cNvSpPr>
              <p:nvPr/>
            </p:nvSpPr>
            <p:spPr bwMode="auto">
              <a:xfrm>
                <a:off x="16871316" y="2847975"/>
                <a:ext cx="758825" cy="763588"/>
              </a:xfrm>
              <a:custGeom>
                <a:avLst/>
                <a:gdLst>
                  <a:gd name="T0" fmla="*/ 478 w 478"/>
                  <a:gd name="T1" fmla="*/ 0 h 481"/>
                  <a:gd name="T2" fmla="*/ 462 w 478"/>
                  <a:gd name="T3" fmla="*/ 0 h 481"/>
                  <a:gd name="T4" fmla="*/ 0 w 478"/>
                  <a:gd name="T5" fmla="*/ 465 h 481"/>
                  <a:gd name="T6" fmla="*/ 0 w 478"/>
                  <a:gd name="T7" fmla="*/ 481 h 481"/>
                  <a:gd name="T8" fmla="*/ 478 w 478"/>
                  <a:gd name="T9" fmla="*/ 0 h 481"/>
                </a:gdLst>
                <a:ahLst/>
                <a:cxnLst>
                  <a:cxn ang="0">
                    <a:pos x="T0" y="T1"/>
                  </a:cxn>
                  <a:cxn ang="0">
                    <a:pos x="T2" y="T3"/>
                  </a:cxn>
                  <a:cxn ang="0">
                    <a:pos x="T4" y="T5"/>
                  </a:cxn>
                  <a:cxn ang="0">
                    <a:pos x="T6" y="T7"/>
                  </a:cxn>
                  <a:cxn ang="0">
                    <a:pos x="T8" y="T9"/>
                  </a:cxn>
                </a:cxnLst>
                <a:rect l="0" t="0" r="r" b="b"/>
                <a:pathLst>
                  <a:path w="478" h="481">
                    <a:moveTo>
                      <a:pt x="478" y="0"/>
                    </a:moveTo>
                    <a:lnTo>
                      <a:pt x="462" y="0"/>
                    </a:lnTo>
                    <a:lnTo>
                      <a:pt x="0" y="465"/>
                    </a:lnTo>
                    <a:lnTo>
                      <a:pt x="0" y="481"/>
                    </a:lnTo>
                    <a:lnTo>
                      <a:pt x="47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3">
                <a:extLst>
                  <a:ext uri="{FF2B5EF4-FFF2-40B4-BE49-F238E27FC236}">
                    <a16:creationId xmlns:a16="http://schemas.microsoft.com/office/drawing/2014/main" id="{0DE32CAF-DBA0-4E6C-AF5C-3A530FD3EA94}"/>
                  </a:ext>
                </a:extLst>
              </p:cNvPr>
              <p:cNvSpPr>
                <a:spLocks/>
              </p:cNvSpPr>
              <p:nvPr/>
            </p:nvSpPr>
            <p:spPr bwMode="auto">
              <a:xfrm>
                <a:off x="16868141" y="2847975"/>
                <a:ext cx="868363" cy="869950"/>
              </a:xfrm>
              <a:custGeom>
                <a:avLst/>
                <a:gdLst>
                  <a:gd name="T0" fmla="*/ 547 w 547"/>
                  <a:gd name="T1" fmla="*/ 0 h 548"/>
                  <a:gd name="T2" fmla="*/ 533 w 547"/>
                  <a:gd name="T3" fmla="*/ 0 h 548"/>
                  <a:gd name="T4" fmla="*/ 2 w 547"/>
                  <a:gd name="T5" fmla="*/ 532 h 548"/>
                  <a:gd name="T6" fmla="*/ 0 w 547"/>
                  <a:gd name="T7" fmla="*/ 548 h 548"/>
                  <a:gd name="T8" fmla="*/ 547 w 547"/>
                  <a:gd name="T9" fmla="*/ 0 h 548"/>
                </a:gdLst>
                <a:ahLst/>
                <a:cxnLst>
                  <a:cxn ang="0">
                    <a:pos x="T0" y="T1"/>
                  </a:cxn>
                  <a:cxn ang="0">
                    <a:pos x="T2" y="T3"/>
                  </a:cxn>
                  <a:cxn ang="0">
                    <a:pos x="T4" y="T5"/>
                  </a:cxn>
                  <a:cxn ang="0">
                    <a:pos x="T6" y="T7"/>
                  </a:cxn>
                  <a:cxn ang="0">
                    <a:pos x="T8" y="T9"/>
                  </a:cxn>
                </a:cxnLst>
                <a:rect l="0" t="0" r="r" b="b"/>
                <a:pathLst>
                  <a:path w="547" h="548">
                    <a:moveTo>
                      <a:pt x="547" y="0"/>
                    </a:moveTo>
                    <a:lnTo>
                      <a:pt x="533" y="0"/>
                    </a:lnTo>
                    <a:lnTo>
                      <a:pt x="2" y="532"/>
                    </a:lnTo>
                    <a:lnTo>
                      <a:pt x="0" y="548"/>
                    </a:lnTo>
                    <a:lnTo>
                      <a:pt x="5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4">
                <a:extLst>
                  <a:ext uri="{FF2B5EF4-FFF2-40B4-BE49-F238E27FC236}">
                    <a16:creationId xmlns:a16="http://schemas.microsoft.com/office/drawing/2014/main" id="{3B799F0B-9E46-4DB0-903E-2A46A9089304}"/>
                  </a:ext>
                </a:extLst>
              </p:cNvPr>
              <p:cNvSpPr>
                <a:spLocks/>
              </p:cNvSpPr>
              <p:nvPr/>
            </p:nvSpPr>
            <p:spPr bwMode="auto">
              <a:xfrm>
                <a:off x="16868141" y="2847975"/>
                <a:ext cx="868363" cy="869950"/>
              </a:xfrm>
              <a:custGeom>
                <a:avLst/>
                <a:gdLst>
                  <a:gd name="T0" fmla="*/ 547 w 547"/>
                  <a:gd name="T1" fmla="*/ 0 h 548"/>
                  <a:gd name="T2" fmla="*/ 533 w 547"/>
                  <a:gd name="T3" fmla="*/ 0 h 548"/>
                  <a:gd name="T4" fmla="*/ 2 w 547"/>
                  <a:gd name="T5" fmla="*/ 532 h 548"/>
                  <a:gd name="T6" fmla="*/ 0 w 547"/>
                  <a:gd name="T7" fmla="*/ 548 h 548"/>
                  <a:gd name="T8" fmla="*/ 547 w 547"/>
                  <a:gd name="T9" fmla="*/ 0 h 548"/>
                </a:gdLst>
                <a:ahLst/>
                <a:cxnLst>
                  <a:cxn ang="0">
                    <a:pos x="T0" y="T1"/>
                  </a:cxn>
                  <a:cxn ang="0">
                    <a:pos x="T2" y="T3"/>
                  </a:cxn>
                  <a:cxn ang="0">
                    <a:pos x="T4" y="T5"/>
                  </a:cxn>
                  <a:cxn ang="0">
                    <a:pos x="T6" y="T7"/>
                  </a:cxn>
                  <a:cxn ang="0">
                    <a:pos x="T8" y="T9"/>
                  </a:cxn>
                </a:cxnLst>
                <a:rect l="0" t="0" r="r" b="b"/>
                <a:pathLst>
                  <a:path w="547" h="548">
                    <a:moveTo>
                      <a:pt x="547" y="0"/>
                    </a:moveTo>
                    <a:lnTo>
                      <a:pt x="533" y="0"/>
                    </a:lnTo>
                    <a:lnTo>
                      <a:pt x="2" y="532"/>
                    </a:lnTo>
                    <a:lnTo>
                      <a:pt x="0" y="548"/>
                    </a:lnTo>
                    <a:lnTo>
                      <a:pt x="54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5">
                <a:extLst>
                  <a:ext uri="{FF2B5EF4-FFF2-40B4-BE49-F238E27FC236}">
                    <a16:creationId xmlns:a16="http://schemas.microsoft.com/office/drawing/2014/main" id="{6A7717D9-38DE-4B38-AFD3-467F831E8CF6}"/>
                  </a:ext>
                </a:extLst>
              </p:cNvPr>
              <p:cNvSpPr>
                <a:spLocks/>
              </p:cNvSpPr>
              <p:nvPr/>
            </p:nvSpPr>
            <p:spPr bwMode="auto">
              <a:xfrm>
                <a:off x="16868141" y="2847975"/>
                <a:ext cx="977900" cy="974725"/>
              </a:xfrm>
              <a:custGeom>
                <a:avLst/>
                <a:gdLst>
                  <a:gd name="T0" fmla="*/ 616 w 616"/>
                  <a:gd name="T1" fmla="*/ 0 h 614"/>
                  <a:gd name="T2" fmla="*/ 600 w 616"/>
                  <a:gd name="T3" fmla="*/ 0 h 614"/>
                  <a:gd name="T4" fmla="*/ 0 w 616"/>
                  <a:gd name="T5" fmla="*/ 601 h 614"/>
                  <a:gd name="T6" fmla="*/ 0 w 616"/>
                  <a:gd name="T7" fmla="*/ 614 h 614"/>
                  <a:gd name="T8" fmla="*/ 616 w 616"/>
                  <a:gd name="T9" fmla="*/ 0 h 614"/>
                </a:gdLst>
                <a:ahLst/>
                <a:cxnLst>
                  <a:cxn ang="0">
                    <a:pos x="T0" y="T1"/>
                  </a:cxn>
                  <a:cxn ang="0">
                    <a:pos x="T2" y="T3"/>
                  </a:cxn>
                  <a:cxn ang="0">
                    <a:pos x="T4" y="T5"/>
                  </a:cxn>
                  <a:cxn ang="0">
                    <a:pos x="T6" y="T7"/>
                  </a:cxn>
                  <a:cxn ang="0">
                    <a:pos x="T8" y="T9"/>
                  </a:cxn>
                </a:cxnLst>
                <a:rect l="0" t="0" r="r" b="b"/>
                <a:pathLst>
                  <a:path w="616" h="614">
                    <a:moveTo>
                      <a:pt x="616" y="0"/>
                    </a:moveTo>
                    <a:lnTo>
                      <a:pt x="600" y="0"/>
                    </a:lnTo>
                    <a:lnTo>
                      <a:pt x="0" y="601"/>
                    </a:lnTo>
                    <a:lnTo>
                      <a:pt x="0" y="614"/>
                    </a:lnTo>
                    <a:lnTo>
                      <a:pt x="6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26">
                <a:extLst>
                  <a:ext uri="{FF2B5EF4-FFF2-40B4-BE49-F238E27FC236}">
                    <a16:creationId xmlns:a16="http://schemas.microsoft.com/office/drawing/2014/main" id="{CA5C127E-89A3-4F56-AEA9-2183DB10CAA6}"/>
                  </a:ext>
                </a:extLst>
              </p:cNvPr>
              <p:cNvSpPr>
                <a:spLocks/>
              </p:cNvSpPr>
              <p:nvPr/>
            </p:nvSpPr>
            <p:spPr bwMode="auto">
              <a:xfrm>
                <a:off x="16868141" y="2847975"/>
                <a:ext cx="977900" cy="974725"/>
              </a:xfrm>
              <a:custGeom>
                <a:avLst/>
                <a:gdLst>
                  <a:gd name="T0" fmla="*/ 616 w 616"/>
                  <a:gd name="T1" fmla="*/ 0 h 614"/>
                  <a:gd name="T2" fmla="*/ 600 w 616"/>
                  <a:gd name="T3" fmla="*/ 0 h 614"/>
                  <a:gd name="T4" fmla="*/ 0 w 616"/>
                  <a:gd name="T5" fmla="*/ 601 h 614"/>
                  <a:gd name="T6" fmla="*/ 0 w 616"/>
                  <a:gd name="T7" fmla="*/ 614 h 614"/>
                  <a:gd name="T8" fmla="*/ 616 w 616"/>
                  <a:gd name="T9" fmla="*/ 0 h 614"/>
                </a:gdLst>
                <a:ahLst/>
                <a:cxnLst>
                  <a:cxn ang="0">
                    <a:pos x="T0" y="T1"/>
                  </a:cxn>
                  <a:cxn ang="0">
                    <a:pos x="T2" y="T3"/>
                  </a:cxn>
                  <a:cxn ang="0">
                    <a:pos x="T4" y="T5"/>
                  </a:cxn>
                  <a:cxn ang="0">
                    <a:pos x="T6" y="T7"/>
                  </a:cxn>
                  <a:cxn ang="0">
                    <a:pos x="T8" y="T9"/>
                  </a:cxn>
                </a:cxnLst>
                <a:rect l="0" t="0" r="r" b="b"/>
                <a:pathLst>
                  <a:path w="616" h="614">
                    <a:moveTo>
                      <a:pt x="616" y="0"/>
                    </a:moveTo>
                    <a:lnTo>
                      <a:pt x="600" y="0"/>
                    </a:lnTo>
                    <a:lnTo>
                      <a:pt x="0" y="601"/>
                    </a:lnTo>
                    <a:lnTo>
                      <a:pt x="0" y="614"/>
                    </a:lnTo>
                    <a:lnTo>
                      <a:pt x="6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27">
                <a:extLst>
                  <a:ext uri="{FF2B5EF4-FFF2-40B4-BE49-F238E27FC236}">
                    <a16:creationId xmlns:a16="http://schemas.microsoft.com/office/drawing/2014/main" id="{FA499ABA-85FA-4E26-853D-4370B6221021}"/>
                  </a:ext>
                </a:extLst>
              </p:cNvPr>
              <p:cNvSpPr>
                <a:spLocks/>
              </p:cNvSpPr>
              <p:nvPr/>
            </p:nvSpPr>
            <p:spPr bwMode="auto">
              <a:xfrm>
                <a:off x="16868141" y="2847975"/>
                <a:ext cx="1084263" cy="1085850"/>
              </a:xfrm>
              <a:custGeom>
                <a:avLst/>
                <a:gdLst>
                  <a:gd name="T0" fmla="*/ 683 w 683"/>
                  <a:gd name="T1" fmla="*/ 0 h 684"/>
                  <a:gd name="T2" fmla="*/ 667 w 683"/>
                  <a:gd name="T3" fmla="*/ 0 h 684"/>
                  <a:gd name="T4" fmla="*/ 0 w 683"/>
                  <a:gd name="T5" fmla="*/ 668 h 684"/>
                  <a:gd name="T6" fmla="*/ 0 w 683"/>
                  <a:gd name="T7" fmla="*/ 684 h 684"/>
                  <a:gd name="T8" fmla="*/ 683 w 683"/>
                  <a:gd name="T9" fmla="*/ 0 h 684"/>
                </a:gdLst>
                <a:ahLst/>
                <a:cxnLst>
                  <a:cxn ang="0">
                    <a:pos x="T0" y="T1"/>
                  </a:cxn>
                  <a:cxn ang="0">
                    <a:pos x="T2" y="T3"/>
                  </a:cxn>
                  <a:cxn ang="0">
                    <a:pos x="T4" y="T5"/>
                  </a:cxn>
                  <a:cxn ang="0">
                    <a:pos x="T6" y="T7"/>
                  </a:cxn>
                  <a:cxn ang="0">
                    <a:pos x="T8" y="T9"/>
                  </a:cxn>
                </a:cxnLst>
                <a:rect l="0" t="0" r="r" b="b"/>
                <a:pathLst>
                  <a:path w="683" h="684">
                    <a:moveTo>
                      <a:pt x="683" y="0"/>
                    </a:moveTo>
                    <a:lnTo>
                      <a:pt x="667" y="0"/>
                    </a:lnTo>
                    <a:lnTo>
                      <a:pt x="0" y="668"/>
                    </a:lnTo>
                    <a:lnTo>
                      <a:pt x="0" y="684"/>
                    </a:lnTo>
                    <a:lnTo>
                      <a:pt x="6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8">
                <a:extLst>
                  <a:ext uri="{FF2B5EF4-FFF2-40B4-BE49-F238E27FC236}">
                    <a16:creationId xmlns:a16="http://schemas.microsoft.com/office/drawing/2014/main" id="{F2C0573F-99F1-489A-9DCA-5EE7F634B74E}"/>
                  </a:ext>
                </a:extLst>
              </p:cNvPr>
              <p:cNvSpPr>
                <a:spLocks/>
              </p:cNvSpPr>
              <p:nvPr/>
            </p:nvSpPr>
            <p:spPr bwMode="auto">
              <a:xfrm>
                <a:off x="16868141" y="2847975"/>
                <a:ext cx="1084263" cy="1085850"/>
              </a:xfrm>
              <a:custGeom>
                <a:avLst/>
                <a:gdLst>
                  <a:gd name="T0" fmla="*/ 683 w 683"/>
                  <a:gd name="T1" fmla="*/ 0 h 684"/>
                  <a:gd name="T2" fmla="*/ 667 w 683"/>
                  <a:gd name="T3" fmla="*/ 0 h 684"/>
                  <a:gd name="T4" fmla="*/ 0 w 683"/>
                  <a:gd name="T5" fmla="*/ 668 h 684"/>
                  <a:gd name="T6" fmla="*/ 0 w 683"/>
                  <a:gd name="T7" fmla="*/ 684 h 684"/>
                  <a:gd name="T8" fmla="*/ 683 w 683"/>
                  <a:gd name="T9" fmla="*/ 0 h 684"/>
                </a:gdLst>
                <a:ahLst/>
                <a:cxnLst>
                  <a:cxn ang="0">
                    <a:pos x="T0" y="T1"/>
                  </a:cxn>
                  <a:cxn ang="0">
                    <a:pos x="T2" y="T3"/>
                  </a:cxn>
                  <a:cxn ang="0">
                    <a:pos x="T4" y="T5"/>
                  </a:cxn>
                  <a:cxn ang="0">
                    <a:pos x="T6" y="T7"/>
                  </a:cxn>
                  <a:cxn ang="0">
                    <a:pos x="T8" y="T9"/>
                  </a:cxn>
                </a:cxnLst>
                <a:rect l="0" t="0" r="r" b="b"/>
                <a:pathLst>
                  <a:path w="683" h="684">
                    <a:moveTo>
                      <a:pt x="683" y="0"/>
                    </a:moveTo>
                    <a:lnTo>
                      <a:pt x="667" y="0"/>
                    </a:lnTo>
                    <a:lnTo>
                      <a:pt x="0" y="668"/>
                    </a:lnTo>
                    <a:lnTo>
                      <a:pt x="0" y="684"/>
                    </a:lnTo>
                    <a:lnTo>
                      <a:pt x="68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9">
                <a:extLst>
                  <a:ext uri="{FF2B5EF4-FFF2-40B4-BE49-F238E27FC236}">
                    <a16:creationId xmlns:a16="http://schemas.microsoft.com/office/drawing/2014/main" id="{47AA6919-2035-4DF1-BBCA-A35AE32C660B}"/>
                  </a:ext>
                </a:extLst>
              </p:cNvPr>
              <p:cNvSpPr>
                <a:spLocks/>
              </p:cNvSpPr>
              <p:nvPr/>
            </p:nvSpPr>
            <p:spPr bwMode="auto">
              <a:xfrm>
                <a:off x="16868141" y="2847975"/>
                <a:ext cx="1190625" cy="1192213"/>
              </a:xfrm>
              <a:custGeom>
                <a:avLst/>
                <a:gdLst>
                  <a:gd name="T0" fmla="*/ 750 w 750"/>
                  <a:gd name="T1" fmla="*/ 0 h 751"/>
                  <a:gd name="T2" fmla="*/ 736 w 750"/>
                  <a:gd name="T3" fmla="*/ 0 h 751"/>
                  <a:gd name="T4" fmla="*/ 0 w 750"/>
                  <a:gd name="T5" fmla="*/ 735 h 751"/>
                  <a:gd name="T6" fmla="*/ 0 w 750"/>
                  <a:gd name="T7" fmla="*/ 751 h 751"/>
                  <a:gd name="T8" fmla="*/ 750 w 750"/>
                  <a:gd name="T9" fmla="*/ 0 h 751"/>
                </a:gdLst>
                <a:ahLst/>
                <a:cxnLst>
                  <a:cxn ang="0">
                    <a:pos x="T0" y="T1"/>
                  </a:cxn>
                  <a:cxn ang="0">
                    <a:pos x="T2" y="T3"/>
                  </a:cxn>
                  <a:cxn ang="0">
                    <a:pos x="T4" y="T5"/>
                  </a:cxn>
                  <a:cxn ang="0">
                    <a:pos x="T6" y="T7"/>
                  </a:cxn>
                  <a:cxn ang="0">
                    <a:pos x="T8" y="T9"/>
                  </a:cxn>
                </a:cxnLst>
                <a:rect l="0" t="0" r="r" b="b"/>
                <a:pathLst>
                  <a:path w="750" h="751">
                    <a:moveTo>
                      <a:pt x="750" y="0"/>
                    </a:moveTo>
                    <a:lnTo>
                      <a:pt x="736" y="0"/>
                    </a:lnTo>
                    <a:lnTo>
                      <a:pt x="0" y="735"/>
                    </a:lnTo>
                    <a:lnTo>
                      <a:pt x="0" y="751"/>
                    </a:lnTo>
                    <a:lnTo>
                      <a:pt x="7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0">
                <a:extLst>
                  <a:ext uri="{FF2B5EF4-FFF2-40B4-BE49-F238E27FC236}">
                    <a16:creationId xmlns:a16="http://schemas.microsoft.com/office/drawing/2014/main" id="{18925978-58CA-4457-ABBE-B55BC85C2687}"/>
                  </a:ext>
                </a:extLst>
              </p:cNvPr>
              <p:cNvSpPr>
                <a:spLocks/>
              </p:cNvSpPr>
              <p:nvPr/>
            </p:nvSpPr>
            <p:spPr bwMode="auto">
              <a:xfrm>
                <a:off x="16868141" y="2847975"/>
                <a:ext cx="1190625" cy="1192213"/>
              </a:xfrm>
              <a:custGeom>
                <a:avLst/>
                <a:gdLst>
                  <a:gd name="T0" fmla="*/ 750 w 750"/>
                  <a:gd name="T1" fmla="*/ 0 h 751"/>
                  <a:gd name="T2" fmla="*/ 736 w 750"/>
                  <a:gd name="T3" fmla="*/ 0 h 751"/>
                  <a:gd name="T4" fmla="*/ 0 w 750"/>
                  <a:gd name="T5" fmla="*/ 735 h 751"/>
                  <a:gd name="T6" fmla="*/ 0 w 750"/>
                  <a:gd name="T7" fmla="*/ 751 h 751"/>
                  <a:gd name="T8" fmla="*/ 750 w 750"/>
                  <a:gd name="T9" fmla="*/ 0 h 751"/>
                </a:gdLst>
                <a:ahLst/>
                <a:cxnLst>
                  <a:cxn ang="0">
                    <a:pos x="T0" y="T1"/>
                  </a:cxn>
                  <a:cxn ang="0">
                    <a:pos x="T2" y="T3"/>
                  </a:cxn>
                  <a:cxn ang="0">
                    <a:pos x="T4" y="T5"/>
                  </a:cxn>
                  <a:cxn ang="0">
                    <a:pos x="T6" y="T7"/>
                  </a:cxn>
                  <a:cxn ang="0">
                    <a:pos x="T8" y="T9"/>
                  </a:cxn>
                </a:cxnLst>
                <a:rect l="0" t="0" r="r" b="b"/>
                <a:pathLst>
                  <a:path w="750" h="751">
                    <a:moveTo>
                      <a:pt x="750" y="0"/>
                    </a:moveTo>
                    <a:lnTo>
                      <a:pt x="736" y="0"/>
                    </a:lnTo>
                    <a:lnTo>
                      <a:pt x="0" y="735"/>
                    </a:lnTo>
                    <a:lnTo>
                      <a:pt x="0" y="751"/>
                    </a:lnTo>
                    <a:lnTo>
                      <a:pt x="75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1">
                <a:extLst>
                  <a:ext uri="{FF2B5EF4-FFF2-40B4-BE49-F238E27FC236}">
                    <a16:creationId xmlns:a16="http://schemas.microsoft.com/office/drawing/2014/main" id="{D7449D1E-2C15-49CB-9662-5D725B5C4148}"/>
                  </a:ext>
                </a:extLst>
              </p:cNvPr>
              <p:cNvSpPr>
                <a:spLocks/>
              </p:cNvSpPr>
              <p:nvPr/>
            </p:nvSpPr>
            <p:spPr bwMode="auto">
              <a:xfrm>
                <a:off x="16868141" y="2847975"/>
                <a:ext cx="1295400" cy="1298575"/>
              </a:xfrm>
              <a:custGeom>
                <a:avLst/>
                <a:gdLst>
                  <a:gd name="T0" fmla="*/ 816 w 816"/>
                  <a:gd name="T1" fmla="*/ 0 h 818"/>
                  <a:gd name="T2" fmla="*/ 803 w 816"/>
                  <a:gd name="T3" fmla="*/ 0 h 818"/>
                  <a:gd name="T4" fmla="*/ 0 w 816"/>
                  <a:gd name="T5" fmla="*/ 804 h 818"/>
                  <a:gd name="T6" fmla="*/ 0 w 816"/>
                  <a:gd name="T7" fmla="*/ 818 h 818"/>
                  <a:gd name="T8" fmla="*/ 816 w 816"/>
                  <a:gd name="T9" fmla="*/ 0 h 818"/>
                </a:gdLst>
                <a:ahLst/>
                <a:cxnLst>
                  <a:cxn ang="0">
                    <a:pos x="T0" y="T1"/>
                  </a:cxn>
                  <a:cxn ang="0">
                    <a:pos x="T2" y="T3"/>
                  </a:cxn>
                  <a:cxn ang="0">
                    <a:pos x="T4" y="T5"/>
                  </a:cxn>
                  <a:cxn ang="0">
                    <a:pos x="T6" y="T7"/>
                  </a:cxn>
                  <a:cxn ang="0">
                    <a:pos x="T8" y="T9"/>
                  </a:cxn>
                </a:cxnLst>
                <a:rect l="0" t="0" r="r" b="b"/>
                <a:pathLst>
                  <a:path w="816" h="818">
                    <a:moveTo>
                      <a:pt x="816" y="0"/>
                    </a:moveTo>
                    <a:lnTo>
                      <a:pt x="803" y="0"/>
                    </a:lnTo>
                    <a:lnTo>
                      <a:pt x="0" y="804"/>
                    </a:lnTo>
                    <a:lnTo>
                      <a:pt x="0" y="818"/>
                    </a:lnTo>
                    <a:lnTo>
                      <a:pt x="8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2">
                <a:extLst>
                  <a:ext uri="{FF2B5EF4-FFF2-40B4-BE49-F238E27FC236}">
                    <a16:creationId xmlns:a16="http://schemas.microsoft.com/office/drawing/2014/main" id="{092CA488-1FC5-47DF-99F9-F8EF25EDEA28}"/>
                  </a:ext>
                </a:extLst>
              </p:cNvPr>
              <p:cNvSpPr>
                <a:spLocks/>
              </p:cNvSpPr>
              <p:nvPr/>
            </p:nvSpPr>
            <p:spPr bwMode="auto">
              <a:xfrm>
                <a:off x="16868141" y="2847975"/>
                <a:ext cx="1295400" cy="1298575"/>
              </a:xfrm>
              <a:custGeom>
                <a:avLst/>
                <a:gdLst>
                  <a:gd name="T0" fmla="*/ 816 w 816"/>
                  <a:gd name="T1" fmla="*/ 0 h 818"/>
                  <a:gd name="T2" fmla="*/ 803 w 816"/>
                  <a:gd name="T3" fmla="*/ 0 h 818"/>
                  <a:gd name="T4" fmla="*/ 0 w 816"/>
                  <a:gd name="T5" fmla="*/ 804 h 818"/>
                  <a:gd name="T6" fmla="*/ 0 w 816"/>
                  <a:gd name="T7" fmla="*/ 818 h 818"/>
                  <a:gd name="T8" fmla="*/ 816 w 816"/>
                  <a:gd name="T9" fmla="*/ 0 h 818"/>
                </a:gdLst>
                <a:ahLst/>
                <a:cxnLst>
                  <a:cxn ang="0">
                    <a:pos x="T0" y="T1"/>
                  </a:cxn>
                  <a:cxn ang="0">
                    <a:pos x="T2" y="T3"/>
                  </a:cxn>
                  <a:cxn ang="0">
                    <a:pos x="T4" y="T5"/>
                  </a:cxn>
                  <a:cxn ang="0">
                    <a:pos x="T6" y="T7"/>
                  </a:cxn>
                  <a:cxn ang="0">
                    <a:pos x="T8" y="T9"/>
                  </a:cxn>
                </a:cxnLst>
                <a:rect l="0" t="0" r="r" b="b"/>
                <a:pathLst>
                  <a:path w="816" h="818">
                    <a:moveTo>
                      <a:pt x="816" y="0"/>
                    </a:moveTo>
                    <a:lnTo>
                      <a:pt x="803" y="0"/>
                    </a:lnTo>
                    <a:lnTo>
                      <a:pt x="0" y="804"/>
                    </a:lnTo>
                    <a:lnTo>
                      <a:pt x="0" y="818"/>
                    </a:lnTo>
                    <a:lnTo>
                      <a:pt x="8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3">
                <a:extLst>
                  <a:ext uri="{FF2B5EF4-FFF2-40B4-BE49-F238E27FC236}">
                    <a16:creationId xmlns:a16="http://schemas.microsoft.com/office/drawing/2014/main" id="{874CB0A0-57F4-412B-9139-6A4A8E11CD5D}"/>
                  </a:ext>
                </a:extLst>
              </p:cNvPr>
              <p:cNvSpPr>
                <a:spLocks/>
              </p:cNvSpPr>
              <p:nvPr/>
            </p:nvSpPr>
            <p:spPr bwMode="auto">
              <a:xfrm>
                <a:off x="16868141" y="2847975"/>
                <a:ext cx="1406525" cy="1408113"/>
              </a:xfrm>
              <a:custGeom>
                <a:avLst/>
                <a:gdLst>
                  <a:gd name="T0" fmla="*/ 886 w 886"/>
                  <a:gd name="T1" fmla="*/ 0 h 887"/>
                  <a:gd name="T2" fmla="*/ 870 w 886"/>
                  <a:gd name="T3" fmla="*/ 0 h 887"/>
                  <a:gd name="T4" fmla="*/ 0 w 886"/>
                  <a:gd name="T5" fmla="*/ 871 h 887"/>
                  <a:gd name="T6" fmla="*/ 0 w 886"/>
                  <a:gd name="T7" fmla="*/ 887 h 887"/>
                  <a:gd name="T8" fmla="*/ 886 w 886"/>
                  <a:gd name="T9" fmla="*/ 0 h 887"/>
                </a:gdLst>
                <a:ahLst/>
                <a:cxnLst>
                  <a:cxn ang="0">
                    <a:pos x="T0" y="T1"/>
                  </a:cxn>
                  <a:cxn ang="0">
                    <a:pos x="T2" y="T3"/>
                  </a:cxn>
                  <a:cxn ang="0">
                    <a:pos x="T4" y="T5"/>
                  </a:cxn>
                  <a:cxn ang="0">
                    <a:pos x="T6" y="T7"/>
                  </a:cxn>
                  <a:cxn ang="0">
                    <a:pos x="T8" y="T9"/>
                  </a:cxn>
                </a:cxnLst>
                <a:rect l="0" t="0" r="r" b="b"/>
                <a:pathLst>
                  <a:path w="886" h="887">
                    <a:moveTo>
                      <a:pt x="886" y="0"/>
                    </a:moveTo>
                    <a:lnTo>
                      <a:pt x="870" y="0"/>
                    </a:lnTo>
                    <a:lnTo>
                      <a:pt x="0" y="871"/>
                    </a:lnTo>
                    <a:lnTo>
                      <a:pt x="0" y="887"/>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4">
                <a:extLst>
                  <a:ext uri="{FF2B5EF4-FFF2-40B4-BE49-F238E27FC236}">
                    <a16:creationId xmlns:a16="http://schemas.microsoft.com/office/drawing/2014/main" id="{E12A0087-E139-4739-A6AE-442C6368F961}"/>
                  </a:ext>
                </a:extLst>
              </p:cNvPr>
              <p:cNvSpPr>
                <a:spLocks/>
              </p:cNvSpPr>
              <p:nvPr/>
            </p:nvSpPr>
            <p:spPr bwMode="auto">
              <a:xfrm>
                <a:off x="16868141" y="2847975"/>
                <a:ext cx="1406525" cy="1408113"/>
              </a:xfrm>
              <a:custGeom>
                <a:avLst/>
                <a:gdLst>
                  <a:gd name="T0" fmla="*/ 886 w 886"/>
                  <a:gd name="T1" fmla="*/ 0 h 887"/>
                  <a:gd name="T2" fmla="*/ 870 w 886"/>
                  <a:gd name="T3" fmla="*/ 0 h 887"/>
                  <a:gd name="T4" fmla="*/ 0 w 886"/>
                  <a:gd name="T5" fmla="*/ 871 h 887"/>
                  <a:gd name="T6" fmla="*/ 0 w 886"/>
                  <a:gd name="T7" fmla="*/ 887 h 887"/>
                  <a:gd name="T8" fmla="*/ 886 w 886"/>
                  <a:gd name="T9" fmla="*/ 0 h 887"/>
                </a:gdLst>
                <a:ahLst/>
                <a:cxnLst>
                  <a:cxn ang="0">
                    <a:pos x="T0" y="T1"/>
                  </a:cxn>
                  <a:cxn ang="0">
                    <a:pos x="T2" y="T3"/>
                  </a:cxn>
                  <a:cxn ang="0">
                    <a:pos x="T4" y="T5"/>
                  </a:cxn>
                  <a:cxn ang="0">
                    <a:pos x="T6" y="T7"/>
                  </a:cxn>
                  <a:cxn ang="0">
                    <a:pos x="T8" y="T9"/>
                  </a:cxn>
                </a:cxnLst>
                <a:rect l="0" t="0" r="r" b="b"/>
                <a:pathLst>
                  <a:path w="886" h="887">
                    <a:moveTo>
                      <a:pt x="886" y="0"/>
                    </a:moveTo>
                    <a:lnTo>
                      <a:pt x="870" y="0"/>
                    </a:lnTo>
                    <a:lnTo>
                      <a:pt x="0" y="871"/>
                    </a:lnTo>
                    <a:lnTo>
                      <a:pt x="0" y="887"/>
                    </a:lnTo>
                    <a:lnTo>
                      <a:pt x="88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5">
                <a:extLst>
                  <a:ext uri="{FF2B5EF4-FFF2-40B4-BE49-F238E27FC236}">
                    <a16:creationId xmlns:a16="http://schemas.microsoft.com/office/drawing/2014/main" id="{388BC0FE-2854-4D3D-89A8-AC53A12A4659}"/>
                  </a:ext>
                </a:extLst>
              </p:cNvPr>
              <p:cNvSpPr>
                <a:spLocks/>
              </p:cNvSpPr>
              <p:nvPr/>
            </p:nvSpPr>
            <p:spPr bwMode="auto">
              <a:xfrm>
                <a:off x="16868141" y="2847975"/>
                <a:ext cx="1511300" cy="1514475"/>
              </a:xfrm>
              <a:custGeom>
                <a:avLst/>
                <a:gdLst>
                  <a:gd name="T0" fmla="*/ 952 w 952"/>
                  <a:gd name="T1" fmla="*/ 0 h 954"/>
                  <a:gd name="T2" fmla="*/ 936 w 952"/>
                  <a:gd name="T3" fmla="*/ 0 h 954"/>
                  <a:gd name="T4" fmla="*/ 0 w 952"/>
                  <a:gd name="T5" fmla="*/ 938 h 954"/>
                  <a:gd name="T6" fmla="*/ 0 w 952"/>
                  <a:gd name="T7" fmla="*/ 954 h 954"/>
                  <a:gd name="T8" fmla="*/ 952 w 952"/>
                  <a:gd name="T9" fmla="*/ 0 h 954"/>
                </a:gdLst>
                <a:ahLst/>
                <a:cxnLst>
                  <a:cxn ang="0">
                    <a:pos x="T0" y="T1"/>
                  </a:cxn>
                  <a:cxn ang="0">
                    <a:pos x="T2" y="T3"/>
                  </a:cxn>
                  <a:cxn ang="0">
                    <a:pos x="T4" y="T5"/>
                  </a:cxn>
                  <a:cxn ang="0">
                    <a:pos x="T6" y="T7"/>
                  </a:cxn>
                  <a:cxn ang="0">
                    <a:pos x="T8" y="T9"/>
                  </a:cxn>
                </a:cxnLst>
                <a:rect l="0" t="0" r="r" b="b"/>
                <a:pathLst>
                  <a:path w="952" h="954">
                    <a:moveTo>
                      <a:pt x="952" y="0"/>
                    </a:moveTo>
                    <a:lnTo>
                      <a:pt x="936" y="0"/>
                    </a:lnTo>
                    <a:lnTo>
                      <a:pt x="0" y="938"/>
                    </a:lnTo>
                    <a:lnTo>
                      <a:pt x="0" y="954"/>
                    </a:lnTo>
                    <a:lnTo>
                      <a:pt x="9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6">
                <a:extLst>
                  <a:ext uri="{FF2B5EF4-FFF2-40B4-BE49-F238E27FC236}">
                    <a16:creationId xmlns:a16="http://schemas.microsoft.com/office/drawing/2014/main" id="{C0FB0CB0-4913-4674-B915-543D0BE49C61}"/>
                  </a:ext>
                </a:extLst>
              </p:cNvPr>
              <p:cNvSpPr>
                <a:spLocks/>
              </p:cNvSpPr>
              <p:nvPr/>
            </p:nvSpPr>
            <p:spPr bwMode="auto">
              <a:xfrm>
                <a:off x="16868141" y="2847975"/>
                <a:ext cx="1511300" cy="1514475"/>
              </a:xfrm>
              <a:custGeom>
                <a:avLst/>
                <a:gdLst>
                  <a:gd name="T0" fmla="*/ 952 w 952"/>
                  <a:gd name="T1" fmla="*/ 0 h 954"/>
                  <a:gd name="T2" fmla="*/ 936 w 952"/>
                  <a:gd name="T3" fmla="*/ 0 h 954"/>
                  <a:gd name="T4" fmla="*/ 0 w 952"/>
                  <a:gd name="T5" fmla="*/ 938 h 954"/>
                  <a:gd name="T6" fmla="*/ 0 w 952"/>
                  <a:gd name="T7" fmla="*/ 954 h 954"/>
                  <a:gd name="T8" fmla="*/ 952 w 952"/>
                  <a:gd name="T9" fmla="*/ 0 h 954"/>
                </a:gdLst>
                <a:ahLst/>
                <a:cxnLst>
                  <a:cxn ang="0">
                    <a:pos x="T0" y="T1"/>
                  </a:cxn>
                  <a:cxn ang="0">
                    <a:pos x="T2" y="T3"/>
                  </a:cxn>
                  <a:cxn ang="0">
                    <a:pos x="T4" y="T5"/>
                  </a:cxn>
                  <a:cxn ang="0">
                    <a:pos x="T6" y="T7"/>
                  </a:cxn>
                  <a:cxn ang="0">
                    <a:pos x="T8" y="T9"/>
                  </a:cxn>
                </a:cxnLst>
                <a:rect l="0" t="0" r="r" b="b"/>
                <a:pathLst>
                  <a:path w="952" h="954">
                    <a:moveTo>
                      <a:pt x="952" y="0"/>
                    </a:moveTo>
                    <a:lnTo>
                      <a:pt x="936" y="0"/>
                    </a:lnTo>
                    <a:lnTo>
                      <a:pt x="0" y="938"/>
                    </a:lnTo>
                    <a:lnTo>
                      <a:pt x="0" y="954"/>
                    </a:lnTo>
                    <a:lnTo>
                      <a:pt x="95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37">
                <a:extLst>
                  <a:ext uri="{FF2B5EF4-FFF2-40B4-BE49-F238E27FC236}">
                    <a16:creationId xmlns:a16="http://schemas.microsoft.com/office/drawing/2014/main" id="{0932BE1F-B49B-4BB2-B88B-A4F777F35034}"/>
                  </a:ext>
                </a:extLst>
              </p:cNvPr>
              <p:cNvSpPr>
                <a:spLocks/>
              </p:cNvSpPr>
              <p:nvPr/>
            </p:nvSpPr>
            <p:spPr bwMode="auto">
              <a:xfrm>
                <a:off x="16868141" y="2847975"/>
                <a:ext cx="1617663" cy="1620838"/>
              </a:xfrm>
              <a:custGeom>
                <a:avLst/>
                <a:gdLst>
                  <a:gd name="T0" fmla="*/ 1019 w 1019"/>
                  <a:gd name="T1" fmla="*/ 0 h 1021"/>
                  <a:gd name="T2" fmla="*/ 1006 w 1019"/>
                  <a:gd name="T3" fmla="*/ 0 h 1021"/>
                  <a:gd name="T4" fmla="*/ 0 w 1019"/>
                  <a:gd name="T5" fmla="*/ 1007 h 1021"/>
                  <a:gd name="T6" fmla="*/ 0 w 1019"/>
                  <a:gd name="T7" fmla="*/ 1021 h 1021"/>
                  <a:gd name="T8" fmla="*/ 1019 w 1019"/>
                  <a:gd name="T9" fmla="*/ 0 h 1021"/>
                </a:gdLst>
                <a:ahLst/>
                <a:cxnLst>
                  <a:cxn ang="0">
                    <a:pos x="T0" y="T1"/>
                  </a:cxn>
                  <a:cxn ang="0">
                    <a:pos x="T2" y="T3"/>
                  </a:cxn>
                  <a:cxn ang="0">
                    <a:pos x="T4" y="T5"/>
                  </a:cxn>
                  <a:cxn ang="0">
                    <a:pos x="T6" y="T7"/>
                  </a:cxn>
                  <a:cxn ang="0">
                    <a:pos x="T8" y="T9"/>
                  </a:cxn>
                </a:cxnLst>
                <a:rect l="0" t="0" r="r" b="b"/>
                <a:pathLst>
                  <a:path w="1019" h="1021">
                    <a:moveTo>
                      <a:pt x="1019" y="0"/>
                    </a:moveTo>
                    <a:lnTo>
                      <a:pt x="1006" y="0"/>
                    </a:lnTo>
                    <a:lnTo>
                      <a:pt x="0" y="1007"/>
                    </a:lnTo>
                    <a:lnTo>
                      <a:pt x="0" y="1021"/>
                    </a:lnTo>
                    <a:lnTo>
                      <a:pt x="10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38">
                <a:extLst>
                  <a:ext uri="{FF2B5EF4-FFF2-40B4-BE49-F238E27FC236}">
                    <a16:creationId xmlns:a16="http://schemas.microsoft.com/office/drawing/2014/main" id="{F27E52C0-1C43-4D63-8DA9-E7C8DB94B886}"/>
                  </a:ext>
                </a:extLst>
              </p:cNvPr>
              <p:cNvSpPr>
                <a:spLocks/>
              </p:cNvSpPr>
              <p:nvPr/>
            </p:nvSpPr>
            <p:spPr bwMode="auto">
              <a:xfrm>
                <a:off x="16868141" y="2847975"/>
                <a:ext cx="1617663" cy="1620838"/>
              </a:xfrm>
              <a:custGeom>
                <a:avLst/>
                <a:gdLst>
                  <a:gd name="T0" fmla="*/ 1019 w 1019"/>
                  <a:gd name="T1" fmla="*/ 0 h 1021"/>
                  <a:gd name="T2" fmla="*/ 1006 w 1019"/>
                  <a:gd name="T3" fmla="*/ 0 h 1021"/>
                  <a:gd name="T4" fmla="*/ 0 w 1019"/>
                  <a:gd name="T5" fmla="*/ 1007 h 1021"/>
                  <a:gd name="T6" fmla="*/ 0 w 1019"/>
                  <a:gd name="T7" fmla="*/ 1021 h 1021"/>
                  <a:gd name="T8" fmla="*/ 1019 w 1019"/>
                  <a:gd name="T9" fmla="*/ 0 h 1021"/>
                </a:gdLst>
                <a:ahLst/>
                <a:cxnLst>
                  <a:cxn ang="0">
                    <a:pos x="T0" y="T1"/>
                  </a:cxn>
                  <a:cxn ang="0">
                    <a:pos x="T2" y="T3"/>
                  </a:cxn>
                  <a:cxn ang="0">
                    <a:pos x="T4" y="T5"/>
                  </a:cxn>
                  <a:cxn ang="0">
                    <a:pos x="T6" y="T7"/>
                  </a:cxn>
                  <a:cxn ang="0">
                    <a:pos x="T8" y="T9"/>
                  </a:cxn>
                </a:cxnLst>
                <a:rect l="0" t="0" r="r" b="b"/>
                <a:pathLst>
                  <a:path w="1019" h="1021">
                    <a:moveTo>
                      <a:pt x="1019" y="0"/>
                    </a:moveTo>
                    <a:lnTo>
                      <a:pt x="1006" y="0"/>
                    </a:lnTo>
                    <a:lnTo>
                      <a:pt x="0" y="1007"/>
                    </a:lnTo>
                    <a:lnTo>
                      <a:pt x="0" y="1021"/>
                    </a:lnTo>
                    <a:lnTo>
                      <a:pt x="10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39">
                <a:extLst>
                  <a:ext uri="{FF2B5EF4-FFF2-40B4-BE49-F238E27FC236}">
                    <a16:creationId xmlns:a16="http://schemas.microsoft.com/office/drawing/2014/main" id="{24659443-6156-48C8-B2CB-36C3239D3BCD}"/>
                  </a:ext>
                </a:extLst>
              </p:cNvPr>
              <p:cNvSpPr>
                <a:spLocks/>
              </p:cNvSpPr>
              <p:nvPr/>
            </p:nvSpPr>
            <p:spPr bwMode="auto">
              <a:xfrm>
                <a:off x="16868141" y="2847975"/>
                <a:ext cx="1728788" cy="1730375"/>
              </a:xfrm>
              <a:custGeom>
                <a:avLst/>
                <a:gdLst>
                  <a:gd name="T0" fmla="*/ 1089 w 1089"/>
                  <a:gd name="T1" fmla="*/ 0 h 1090"/>
                  <a:gd name="T2" fmla="*/ 1073 w 1089"/>
                  <a:gd name="T3" fmla="*/ 0 h 1090"/>
                  <a:gd name="T4" fmla="*/ 0 w 1089"/>
                  <a:gd name="T5" fmla="*/ 1074 h 1090"/>
                  <a:gd name="T6" fmla="*/ 0 w 1089"/>
                  <a:gd name="T7" fmla="*/ 1090 h 1090"/>
                  <a:gd name="T8" fmla="*/ 1089 w 1089"/>
                  <a:gd name="T9" fmla="*/ 0 h 1090"/>
                </a:gdLst>
                <a:ahLst/>
                <a:cxnLst>
                  <a:cxn ang="0">
                    <a:pos x="T0" y="T1"/>
                  </a:cxn>
                  <a:cxn ang="0">
                    <a:pos x="T2" y="T3"/>
                  </a:cxn>
                  <a:cxn ang="0">
                    <a:pos x="T4" y="T5"/>
                  </a:cxn>
                  <a:cxn ang="0">
                    <a:pos x="T6" y="T7"/>
                  </a:cxn>
                  <a:cxn ang="0">
                    <a:pos x="T8" y="T9"/>
                  </a:cxn>
                </a:cxnLst>
                <a:rect l="0" t="0" r="r" b="b"/>
                <a:pathLst>
                  <a:path w="1089" h="1090">
                    <a:moveTo>
                      <a:pt x="1089" y="0"/>
                    </a:moveTo>
                    <a:lnTo>
                      <a:pt x="1073" y="0"/>
                    </a:lnTo>
                    <a:lnTo>
                      <a:pt x="0" y="1074"/>
                    </a:lnTo>
                    <a:lnTo>
                      <a:pt x="0" y="1090"/>
                    </a:lnTo>
                    <a:lnTo>
                      <a:pt x="10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0">
                <a:extLst>
                  <a:ext uri="{FF2B5EF4-FFF2-40B4-BE49-F238E27FC236}">
                    <a16:creationId xmlns:a16="http://schemas.microsoft.com/office/drawing/2014/main" id="{7D64DE52-1E6F-4B62-B17C-9CB34B15EA75}"/>
                  </a:ext>
                </a:extLst>
              </p:cNvPr>
              <p:cNvSpPr>
                <a:spLocks/>
              </p:cNvSpPr>
              <p:nvPr/>
            </p:nvSpPr>
            <p:spPr bwMode="auto">
              <a:xfrm>
                <a:off x="16868141" y="2847975"/>
                <a:ext cx="1728788" cy="1730375"/>
              </a:xfrm>
              <a:custGeom>
                <a:avLst/>
                <a:gdLst>
                  <a:gd name="T0" fmla="*/ 1089 w 1089"/>
                  <a:gd name="T1" fmla="*/ 0 h 1090"/>
                  <a:gd name="T2" fmla="*/ 1073 w 1089"/>
                  <a:gd name="T3" fmla="*/ 0 h 1090"/>
                  <a:gd name="T4" fmla="*/ 0 w 1089"/>
                  <a:gd name="T5" fmla="*/ 1074 h 1090"/>
                  <a:gd name="T6" fmla="*/ 0 w 1089"/>
                  <a:gd name="T7" fmla="*/ 1090 h 1090"/>
                  <a:gd name="T8" fmla="*/ 1089 w 1089"/>
                  <a:gd name="T9" fmla="*/ 0 h 1090"/>
                </a:gdLst>
                <a:ahLst/>
                <a:cxnLst>
                  <a:cxn ang="0">
                    <a:pos x="T0" y="T1"/>
                  </a:cxn>
                  <a:cxn ang="0">
                    <a:pos x="T2" y="T3"/>
                  </a:cxn>
                  <a:cxn ang="0">
                    <a:pos x="T4" y="T5"/>
                  </a:cxn>
                  <a:cxn ang="0">
                    <a:pos x="T6" y="T7"/>
                  </a:cxn>
                  <a:cxn ang="0">
                    <a:pos x="T8" y="T9"/>
                  </a:cxn>
                </a:cxnLst>
                <a:rect l="0" t="0" r="r" b="b"/>
                <a:pathLst>
                  <a:path w="1089" h="1090">
                    <a:moveTo>
                      <a:pt x="1089" y="0"/>
                    </a:moveTo>
                    <a:lnTo>
                      <a:pt x="1073" y="0"/>
                    </a:lnTo>
                    <a:lnTo>
                      <a:pt x="0" y="1074"/>
                    </a:lnTo>
                    <a:lnTo>
                      <a:pt x="0" y="1090"/>
                    </a:lnTo>
                    <a:lnTo>
                      <a:pt x="108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1">
                <a:extLst>
                  <a:ext uri="{FF2B5EF4-FFF2-40B4-BE49-F238E27FC236}">
                    <a16:creationId xmlns:a16="http://schemas.microsoft.com/office/drawing/2014/main" id="{C69FEAE6-2B92-468C-925C-A66DEDC5EB57}"/>
                  </a:ext>
                </a:extLst>
              </p:cNvPr>
              <p:cNvSpPr>
                <a:spLocks/>
              </p:cNvSpPr>
              <p:nvPr/>
            </p:nvSpPr>
            <p:spPr bwMode="auto">
              <a:xfrm>
                <a:off x="16868141" y="2847975"/>
                <a:ext cx="1833563" cy="1836738"/>
              </a:xfrm>
              <a:custGeom>
                <a:avLst/>
                <a:gdLst>
                  <a:gd name="T0" fmla="*/ 1155 w 1155"/>
                  <a:gd name="T1" fmla="*/ 0 h 1157"/>
                  <a:gd name="T2" fmla="*/ 1139 w 1155"/>
                  <a:gd name="T3" fmla="*/ 0 h 1157"/>
                  <a:gd name="T4" fmla="*/ 0 w 1155"/>
                  <a:gd name="T5" fmla="*/ 1141 h 1157"/>
                  <a:gd name="T6" fmla="*/ 0 w 1155"/>
                  <a:gd name="T7" fmla="*/ 1157 h 1157"/>
                  <a:gd name="T8" fmla="*/ 1155 w 1155"/>
                  <a:gd name="T9" fmla="*/ 0 h 1157"/>
                </a:gdLst>
                <a:ahLst/>
                <a:cxnLst>
                  <a:cxn ang="0">
                    <a:pos x="T0" y="T1"/>
                  </a:cxn>
                  <a:cxn ang="0">
                    <a:pos x="T2" y="T3"/>
                  </a:cxn>
                  <a:cxn ang="0">
                    <a:pos x="T4" y="T5"/>
                  </a:cxn>
                  <a:cxn ang="0">
                    <a:pos x="T6" y="T7"/>
                  </a:cxn>
                  <a:cxn ang="0">
                    <a:pos x="T8" y="T9"/>
                  </a:cxn>
                </a:cxnLst>
                <a:rect l="0" t="0" r="r" b="b"/>
                <a:pathLst>
                  <a:path w="1155" h="1157">
                    <a:moveTo>
                      <a:pt x="1155" y="0"/>
                    </a:moveTo>
                    <a:lnTo>
                      <a:pt x="1139" y="0"/>
                    </a:lnTo>
                    <a:lnTo>
                      <a:pt x="0" y="1141"/>
                    </a:lnTo>
                    <a:lnTo>
                      <a:pt x="0" y="1157"/>
                    </a:lnTo>
                    <a:lnTo>
                      <a:pt x="11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2">
                <a:extLst>
                  <a:ext uri="{FF2B5EF4-FFF2-40B4-BE49-F238E27FC236}">
                    <a16:creationId xmlns:a16="http://schemas.microsoft.com/office/drawing/2014/main" id="{6E80A1CB-4897-4EDF-ABCE-D952A962B637}"/>
                  </a:ext>
                </a:extLst>
              </p:cNvPr>
              <p:cNvSpPr>
                <a:spLocks/>
              </p:cNvSpPr>
              <p:nvPr/>
            </p:nvSpPr>
            <p:spPr bwMode="auto">
              <a:xfrm>
                <a:off x="16868141" y="2847975"/>
                <a:ext cx="1833563" cy="1836738"/>
              </a:xfrm>
              <a:custGeom>
                <a:avLst/>
                <a:gdLst>
                  <a:gd name="T0" fmla="*/ 1155 w 1155"/>
                  <a:gd name="T1" fmla="*/ 0 h 1157"/>
                  <a:gd name="T2" fmla="*/ 1139 w 1155"/>
                  <a:gd name="T3" fmla="*/ 0 h 1157"/>
                  <a:gd name="T4" fmla="*/ 0 w 1155"/>
                  <a:gd name="T5" fmla="*/ 1141 h 1157"/>
                  <a:gd name="T6" fmla="*/ 0 w 1155"/>
                  <a:gd name="T7" fmla="*/ 1157 h 1157"/>
                  <a:gd name="T8" fmla="*/ 1155 w 1155"/>
                  <a:gd name="T9" fmla="*/ 0 h 1157"/>
                </a:gdLst>
                <a:ahLst/>
                <a:cxnLst>
                  <a:cxn ang="0">
                    <a:pos x="T0" y="T1"/>
                  </a:cxn>
                  <a:cxn ang="0">
                    <a:pos x="T2" y="T3"/>
                  </a:cxn>
                  <a:cxn ang="0">
                    <a:pos x="T4" y="T5"/>
                  </a:cxn>
                  <a:cxn ang="0">
                    <a:pos x="T6" y="T7"/>
                  </a:cxn>
                  <a:cxn ang="0">
                    <a:pos x="T8" y="T9"/>
                  </a:cxn>
                </a:cxnLst>
                <a:rect l="0" t="0" r="r" b="b"/>
                <a:pathLst>
                  <a:path w="1155" h="1157">
                    <a:moveTo>
                      <a:pt x="1155" y="0"/>
                    </a:moveTo>
                    <a:lnTo>
                      <a:pt x="1139" y="0"/>
                    </a:lnTo>
                    <a:lnTo>
                      <a:pt x="0" y="1141"/>
                    </a:lnTo>
                    <a:lnTo>
                      <a:pt x="0" y="1157"/>
                    </a:lnTo>
                    <a:lnTo>
                      <a:pt x="115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3">
                <a:extLst>
                  <a:ext uri="{FF2B5EF4-FFF2-40B4-BE49-F238E27FC236}">
                    <a16:creationId xmlns:a16="http://schemas.microsoft.com/office/drawing/2014/main" id="{8814D1FF-8BF7-4959-BA03-60E6CD6793EB}"/>
                  </a:ext>
                </a:extLst>
              </p:cNvPr>
              <p:cNvSpPr>
                <a:spLocks/>
              </p:cNvSpPr>
              <p:nvPr/>
            </p:nvSpPr>
            <p:spPr bwMode="auto">
              <a:xfrm>
                <a:off x="18731866" y="285591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4">
                <a:extLst>
                  <a:ext uri="{FF2B5EF4-FFF2-40B4-BE49-F238E27FC236}">
                    <a16:creationId xmlns:a16="http://schemas.microsoft.com/office/drawing/2014/main" id="{5A5DB91C-6E03-44B9-AADE-A3133BAAEF90}"/>
                  </a:ext>
                </a:extLst>
              </p:cNvPr>
              <p:cNvSpPr>
                <a:spLocks/>
              </p:cNvSpPr>
              <p:nvPr/>
            </p:nvSpPr>
            <p:spPr bwMode="auto">
              <a:xfrm>
                <a:off x="18731866" y="285591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45">
                <a:extLst>
                  <a:ext uri="{FF2B5EF4-FFF2-40B4-BE49-F238E27FC236}">
                    <a16:creationId xmlns:a16="http://schemas.microsoft.com/office/drawing/2014/main" id="{B39DBE0B-703C-46BF-91D9-48251F994A97}"/>
                  </a:ext>
                </a:extLst>
              </p:cNvPr>
              <p:cNvSpPr>
                <a:spLocks/>
              </p:cNvSpPr>
              <p:nvPr/>
            </p:nvSpPr>
            <p:spPr bwMode="auto">
              <a:xfrm>
                <a:off x="16868141" y="2898775"/>
                <a:ext cx="1863725" cy="1892300"/>
              </a:xfrm>
              <a:custGeom>
                <a:avLst/>
                <a:gdLst>
                  <a:gd name="T0" fmla="*/ 1174 w 1174"/>
                  <a:gd name="T1" fmla="*/ 0 h 1192"/>
                  <a:gd name="T2" fmla="*/ 0 w 1174"/>
                  <a:gd name="T3" fmla="*/ 1176 h 1192"/>
                  <a:gd name="T4" fmla="*/ 0 w 1174"/>
                  <a:gd name="T5" fmla="*/ 1192 h 1192"/>
                  <a:gd name="T6" fmla="*/ 1174 w 1174"/>
                  <a:gd name="T7" fmla="*/ 16 h 1192"/>
                  <a:gd name="T8" fmla="*/ 1174 w 1174"/>
                  <a:gd name="T9" fmla="*/ 0 h 1192"/>
                </a:gdLst>
                <a:ahLst/>
                <a:cxnLst>
                  <a:cxn ang="0">
                    <a:pos x="T0" y="T1"/>
                  </a:cxn>
                  <a:cxn ang="0">
                    <a:pos x="T2" y="T3"/>
                  </a:cxn>
                  <a:cxn ang="0">
                    <a:pos x="T4" y="T5"/>
                  </a:cxn>
                  <a:cxn ang="0">
                    <a:pos x="T6" y="T7"/>
                  </a:cxn>
                  <a:cxn ang="0">
                    <a:pos x="T8" y="T9"/>
                  </a:cxn>
                </a:cxnLst>
                <a:rect l="0" t="0" r="r" b="b"/>
                <a:pathLst>
                  <a:path w="1174" h="1192">
                    <a:moveTo>
                      <a:pt x="1174" y="0"/>
                    </a:moveTo>
                    <a:lnTo>
                      <a:pt x="0" y="1176"/>
                    </a:lnTo>
                    <a:lnTo>
                      <a:pt x="0" y="1192"/>
                    </a:lnTo>
                    <a:lnTo>
                      <a:pt x="1174" y="16"/>
                    </a:lnTo>
                    <a:lnTo>
                      <a:pt x="11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46">
                <a:extLst>
                  <a:ext uri="{FF2B5EF4-FFF2-40B4-BE49-F238E27FC236}">
                    <a16:creationId xmlns:a16="http://schemas.microsoft.com/office/drawing/2014/main" id="{517F0C5C-A3BB-4FBF-8A00-F9334515622B}"/>
                  </a:ext>
                </a:extLst>
              </p:cNvPr>
              <p:cNvSpPr>
                <a:spLocks/>
              </p:cNvSpPr>
              <p:nvPr/>
            </p:nvSpPr>
            <p:spPr bwMode="auto">
              <a:xfrm>
                <a:off x="16868141" y="2898775"/>
                <a:ext cx="1863725" cy="1892300"/>
              </a:xfrm>
              <a:custGeom>
                <a:avLst/>
                <a:gdLst>
                  <a:gd name="T0" fmla="*/ 1174 w 1174"/>
                  <a:gd name="T1" fmla="*/ 0 h 1192"/>
                  <a:gd name="T2" fmla="*/ 0 w 1174"/>
                  <a:gd name="T3" fmla="*/ 1176 h 1192"/>
                  <a:gd name="T4" fmla="*/ 0 w 1174"/>
                  <a:gd name="T5" fmla="*/ 1192 h 1192"/>
                  <a:gd name="T6" fmla="*/ 1174 w 1174"/>
                  <a:gd name="T7" fmla="*/ 16 h 1192"/>
                  <a:gd name="T8" fmla="*/ 1174 w 1174"/>
                  <a:gd name="T9" fmla="*/ 0 h 1192"/>
                </a:gdLst>
                <a:ahLst/>
                <a:cxnLst>
                  <a:cxn ang="0">
                    <a:pos x="T0" y="T1"/>
                  </a:cxn>
                  <a:cxn ang="0">
                    <a:pos x="T2" y="T3"/>
                  </a:cxn>
                  <a:cxn ang="0">
                    <a:pos x="T4" y="T5"/>
                  </a:cxn>
                  <a:cxn ang="0">
                    <a:pos x="T6" y="T7"/>
                  </a:cxn>
                  <a:cxn ang="0">
                    <a:pos x="T8" y="T9"/>
                  </a:cxn>
                </a:cxnLst>
                <a:rect l="0" t="0" r="r" b="b"/>
                <a:pathLst>
                  <a:path w="1174" h="1192">
                    <a:moveTo>
                      <a:pt x="1174" y="0"/>
                    </a:moveTo>
                    <a:lnTo>
                      <a:pt x="0" y="1176"/>
                    </a:lnTo>
                    <a:lnTo>
                      <a:pt x="0" y="1192"/>
                    </a:lnTo>
                    <a:lnTo>
                      <a:pt x="1174" y="16"/>
                    </a:lnTo>
                    <a:lnTo>
                      <a:pt x="117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47">
                <a:extLst>
                  <a:ext uri="{FF2B5EF4-FFF2-40B4-BE49-F238E27FC236}">
                    <a16:creationId xmlns:a16="http://schemas.microsoft.com/office/drawing/2014/main" id="{51385701-A717-4BF7-B0E7-2ADD976D7190}"/>
                  </a:ext>
                </a:extLst>
              </p:cNvPr>
              <p:cNvSpPr>
                <a:spLocks/>
              </p:cNvSpPr>
              <p:nvPr/>
            </p:nvSpPr>
            <p:spPr bwMode="auto">
              <a:xfrm>
                <a:off x="18731866" y="2967038"/>
                <a:ext cx="42863" cy="63500"/>
              </a:xfrm>
              <a:custGeom>
                <a:avLst/>
                <a:gdLst>
                  <a:gd name="T0" fmla="*/ 27 w 27"/>
                  <a:gd name="T1" fmla="*/ 0 h 40"/>
                  <a:gd name="T2" fmla="*/ 0 w 27"/>
                  <a:gd name="T3" fmla="*/ 26 h 40"/>
                  <a:gd name="T4" fmla="*/ 0 w 27"/>
                  <a:gd name="T5" fmla="*/ 40 h 40"/>
                  <a:gd name="T6" fmla="*/ 27 w 27"/>
                  <a:gd name="T7" fmla="*/ 13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3"/>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48">
                <a:extLst>
                  <a:ext uri="{FF2B5EF4-FFF2-40B4-BE49-F238E27FC236}">
                    <a16:creationId xmlns:a16="http://schemas.microsoft.com/office/drawing/2014/main" id="{0232ED27-D711-4D1A-80D7-8457023491F0}"/>
                  </a:ext>
                </a:extLst>
              </p:cNvPr>
              <p:cNvSpPr>
                <a:spLocks/>
              </p:cNvSpPr>
              <p:nvPr/>
            </p:nvSpPr>
            <p:spPr bwMode="auto">
              <a:xfrm>
                <a:off x="18731866" y="2967038"/>
                <a:ext cx="42863" cy="63500"/>
              </a:xfrm>
              <a:custGeom>
                <a:avLst/>
                <a:gdLst>
                  <a:gd name="T0" fmla="*/ 27 w 27"/>
                  <a:gd name="T1" fmla="*/ 0 h 40"/>
                  <a:gd name="T2" fmla="*/ 0 w 27"/>
                  <a:gd name="T3" fmla="*/ 26 h 40"/>
                  <a:gd name="T4" fmla="*/ 0 w 27"/>
                  <a:gd name="T5" fmla="*/ 40 h 40"/>
                  <a:gd name="T6" fmla="*/ 27 w 27"/>
                  <a:gd name="T7" fmla="*/ 13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3"/>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49">
                <a:extLst>
                  <a:ext uri="{FF2B5EF4-FFF2-40B4-BE49-F238E27FC236}">
                    <a16:creationId xmlns:a16="http://schemas.microsoft.com/office/drawing/2014/main" id="{E9D476A8-3ED9-4E5C-A3C8-76307C1BA888}"/>
                  </a:ext>
                </a:extLst>
              </p:cNvPr>
              <p:cNvSpPr>
                <a:spLocks/>
              </p:cNvSpPr>
              <p:nvPr/>
            </p:nvSpPr>
            <p:spPr bwMode="auto">
              <a:xfrm>
                <a:off x="16868141" y="3008313"/>
                <a:ext cx="1863725" cy="1889125"/>
              </a:xfrm>
              <a:custGeom>
                <a:avLst/>
                <a:gdLst>
                  <a:gd name="T0" fmla="*/ 1174 w 1174"/>
                  <a:gd name="T1" fmla="*/ 0 h 1190"/>
                  <a:gd name="T2" fmla="*/ 0 w 1174"/>
                  <a:gd name="T3" fmla="*/ 1176 h 1190"/>
                  <a:gd name="T4" fmla="*/ 0 w 1174"/>
                  <a:gd name="T5" fmla="*/ 1190 h 1190"/>
                  <a:gd name="T6" fmla="*/ 1174 w 1174"/>
                  <a:gd name="T7" fmla="*/ 14 h 1190"/>
                  <a:gd name="T8" fmla="*/ 1174 w 1174"/>
                  <a:gd name="T9" fmla="*/ 0 h 1190"/>
                </a:gdLst>
                <a:ahLst/>
                <a:cxnLst>
                  <a:cxn ang="0">
                    <a:pos x="T0" y="T1"/>
                  </a:cxn>
                  <a:cxn ang="0">
                    <a:pos x="T2" y="T3"/>
                  </a:cxn>
                  <a:cxn ang="0">
                    <a:pos x="T4" y="T5"/>
                  </a:cxn>
                  <a:cxn ang="0">
                    <a:pos x="T6" y="T7"/>
                  </a:cxn>
                  <a:cxn ang="0">
                    <a:pos x="T8" y="T9"/>
                  </a:cxn>
                </a:cxnLst>
                <a:rect l="0" t="0" r="r" b="b"/>
                <a:pathLst>
                  <a:path w="1174" h="1190">
                    <a:moveTo>
                      <a:pt x="1174" y="0"/>
                    </a:moveTo>
                    <a:lnTo>
                      <a:pt x="0" y="1176"/>
                    </a:lnTo>
                    <a:lnTo>
                      <a:pt x="0" y="1190"/>
                    </a:lnTo>
                    <a:lnTo>
                      <a:pt x="1174" y="14"/>
                    </a:lnTo>
                    <a:lnTo>
                      <a:pt x="11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0">
                <a:extLst>
                  <a:ext uri="{FF2B5EF4-FFF2-40B4-BE49-F238E27FC236}">
                    <a16:creationId xmlns:a16="http://schemas.microsoft.com/office/drawing/2014/main" id="{36FF325F-2B96-4497-812A-88B4F5C7D5A9}"/>
                  </a:ext>
                </a:extLst>
              </p:cNvPr>
              <p:cNvSpPr>
                <a:spLocks/>
              </p:cNvSpPr>
              <p:nvPr/>
            </p:nvSpPr>
            <p:spPr bwMode="auto">
              <a:xfrm>
                <a:off x="16868141" y="3008313"/>
                <a:ext cx="1863725" cy="1889125"/>
              </a:xfrm>
              <a:custGeom>
                <a:avLst/>
                <a:gdLst>
                  <a:gd name="T0" fmla="*/ 1174 w 1174"/>
                  <a:gd name="T1" fmla="*/ 0 h 1190"/>
                  <a:gd name="T2" fmla="*/ 0 w 1174"/>
                  <a:gd name="T3" fmla="*/ 1176 h 1190"/>
                  <a:gd name="T4" fmla="*/ 0 w 1174"/>
                  <a:gd name="T5" fmla="*/ 1190 h 1190"/>
                  <a:gd name="T6" fmla="*/ 1174 w 1174"/>
                  <a:gd name="T7" fmla="*/ 14 h 1190"/>
                  <a:gd name="T8" fmla="*/ 1174 w 1174"/>
                  <a:gd name="T9" fmla="*/ 0 h 1190"/>
                </a:gdLst>
                <a:ahLst/>
                <a:cxnLst>
                  <a:cxn ang="0">
                    <a:pos x="T0" y="T1"/>
                  </a:cxn>
                  <a:cxn ang="0">
                    <a:pos x="T2" y="T3"/>
                  </a:cxn>
                  <a:cxn ang="0">
                    <a:pos x="T4" y="T5"/>
                  </a:cxn>
                  <a:cxn ang="0">
                    <a:pos x="T6" y="T7"/>
                  </a:cxn>
                  <a:cxn ang="0">
                    <a:pos x="T8" y="T9"/>
                  </a:cxn>
                </a:cxnLst>
                <a:rect l="0" t="0" r="r" b="b"/>
                <a:pathLst>
                  <a:path w="1174" h="1190">
                    <a:moveTo>
                      <a:pt x="1174" y="0"/>
                    </a:moveTo>
                    <a:lnTo>
                      <a:pt x="0" y="1176"/>
                    </a:lnTo>
                    <a:lnTo>
                      <a:pt x="0" y="1190"/>
                    </a:lnTo>
                    <a:lnTo>
                      <a:pt x="1174" y="14"/>
                    </a:lnTo>
                    <a:lnTo>
                      <a:pt x="117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1">
                <a:extLst>
                  <a:ext uri="{FF2B5EF4-FFF2-40B4-BE49-F238E27FC236}">
                    <a16:creationId xmlns:a16="http://schemas.microsoft.com/office/drawing/2014/main" id="{8B3494C6-CAB7-48F7-86A7-6C447F43F643}"/>
                  </a:ext>
                </a:extLst>
              </p:cNvPr>
              <p:cNvSpPr>
                <a:spLocks/>
              </p:cNvSpPr>
              <p:nvPr/>
            </p:nvSpPr>
            <p:spPr bwMode="auto">
              <a:xfrm>
                <a:off x="18731866" y="3073400"/>
                <a:ext cx="42863" cy="63500"/>
              </a:xfrm>
              <a:custGeom>
                <a:avLst/>
                <a:gdLst>
                  <a:gd name="T0" fmla="*/ 27 w 27"/>
                  <a:gd name="T1" fmla="*/ 0 h 40"/>
                  <a:gd name="T2" fmla="*/ 0 w 27"/>
                  <a:gd name="T3" fmla="*/ 26 h 40"/>
                  <a:gd name="T4" fmla="*/ 0 w 27"/>
                  <a:gd name="T5" fmla="*/ 40 h 40"/>
                  <a:gd name="T6" fmla="*/ 27 w 27"/>
                  <a:gd name="T7" fmla="*/ 16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2">
                <a:extLst>
                  <a:ext uri="{FF2B5EF4-FFF2-40B4-BE49-F238E27FC236}">
                    <a16:creationId xmlns:a16="http://schemas.microsoft.com/office/drawing/2014/main" id="{406C9015-BCB1-409D-B0C3-E697902256E1}"/>
                  </a:ext>
                </a:extLst>
              </p:cNvPr>
              <p:cNvSpPr>
                <a:spLocks/>
              </p:cNvSpPr>
              <p:nvPr/>
            </p:nvSpPr>
            <p:spPr bwMode="auto">
              <a:xfrm>
                <a:off x="18731866" y="3073400"/>
                <a:ext cx="42863" cy="63500"/>
              </a:xfrm>
              <a:custGeom>
                <a:avLst/>
                <a:gdLst>
                  <a:gd name="T0" fmla="*/ 27 w 27"/>
                  <a:gd name="T1" fmla="*/ 0 h 40"/>
                  <a:gd name="T2" fmla="*/ 0 w 27"/>
                  <a:gd name="T3" fmla="*/ 26 h 40"/>
                  <a:gd name="T4" fmla="*/ 0 w 27"/>
                  <a:gd name="T5" fmla="*/ 40 h 40"/>
                  <a:gd name="T6" fmla="*/ 27 w 27"/>
                  <a:gd name="T7" fmla="*/ 16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3">
                <a:extLst>
                  <a:ext uri="{FF2B5EF4-FFF2-40B4-BE49-F238E27FC236}">
                    <a16:creationId xmlns:a16="http://schemas.microsoft.com/office/drawing/2014/main" id="{8A44846F-F36E-45C2-9B95-52D9594D7342}"/>
                  </a:ext>
                </a:extLst>
              </p:cNvPr>
              <p:cNvSpPr>
                <a:spLocks/>
              </p:cNvSpPr>
              <p:nvPr/>
            </p:nvSpPr>
            <p:spPr bwMode="auto">
              <a:xfrm>
                <a:off x="16868141" y="3114675"/>
                <a:ext cx="1863725" cy="1892300"/>
              </a:xfrm>
              <a:custGeom>
                <a:avLst/>
                <a:gdLst>
                  <a:gd name="T0" fmla="*/ 1174 w 1174"/>
                  <a:gd name="T1" fmla="*/ 0 h 1192"/>
                  <a:gd name="T2" fmla="*/ 0 w 1174"/>
                  <a:gd name="T3" fmla="*/ 1176 h 1192"/>
                  <a:gd name="T4" fmla="*/ 0 w 1174"/>
                  <a:gd name="T5" fmla="*/ 1192 h 1192"/>
                  <a:gd name="T6" fmla="*/ 1174 w 1174"/>
                  <a:gd name="T7" fmla="*/ 14 h 1192"/>
                  <a:gd name="T8" fmla="*/ 1174 w 1174"/>
                  <a:gd name="T9" fmla="*/ 0 h 1192"/>
                </a:gdLst>
                <a:ahLst/>
                <a:cxnLst>
                  <a:cxn ang="0">
                    <a:pos x="T0" y="T1"/>
                  </a:cxn>
                  <a:cxn ang="0">
                    <a:pos x="T2" y="T3"/>
                  </a:cxn>
                  <a:cxn ang="0">
                    <a:pos x="T4" y="T5"/>
                  </a:cxn>
                  <a:cxn ang="0">
                    <a:pos x="T6" y="T7"/>
                  </a:cxn>
                  <a:cxn ang="0">
                    <a:pos x="T8" y="T9"/>
                  </a:cxn>
                </a:cxnLst>
                <a:rect l="0" t="0" r="r" b="b"/>
                <a:pathLst>
                  <a:path w="1174" h="1192">
                    <a:moveTo>
                      <a:pt x="1174" y="0"/>
                    </a:moveTo>
                    <a:lnTo>
                      <a:pt x="0" y="1176"/>
                    </a:lnTo>
                    <a:lnTo>
                      <a:pt x="0" y="1192"/>
                    </a:lnTo>
                    <a:lnTo>
                      <a:pt x="1174" y="14"/>
                    </a:lnTo>
                    <a:lnTo>
                      <a:pt x="11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4">
                <a:extLst>
                  <a:ext uri="{FF2B5EF4-FFF2-40B4-BE49-F238E27FC236}">
                    <a16:creationId xmlns:a16="http://schemas.microsoft.com/office/drawing/2014/main" id="{FC86E7D1-862B-45B8-95BB-6DB15A4566CB}"/>
                  </a:ext>
                </a:extLst>
              </p:cNvPr>
              <p:cNvSpPr>
                <a:spLocks/>
              </p:cNvSpPr>
              <p:nvPr/>
            </p:nvSpPr>
            <p:spPr bwMode="auto">
              <a:xfrm>
                <a:off x="16868141" y="3114675"/>
                <a:ext cx="1863725" cy="1892300"/>
              </a:xfrm>
              <a:custGeom>
                <a:avLst/>
                <a:gdLst>
                  <a:gd name="T0" fmla="*/ 1174 w 1174"/>
                  <a:gd name="T1" fmla="*/ 0 h 1192"/>
                  <a:gd name="T2" fmla="*/ 0 w 1174"/>
                  <a:gd name="T3" fmla="*/ 1176 h 1192"/>
                  <a:gd name="T4" fmla="*/ 0 w 1174"/>
                  <a:gd name="T5" fmla="*/ 1192 h 1192"/>
                  <a:gd name="T6" fmla="*/ 1174 w 1174"/>
                  <a:gd name="T7" fmla="*/ 14 h 1192"/>
                  <a:gd name="T8" fmla="*/ 1174 w 1174"/>
                  <a:gd name="T9" fmla="*/ 0 h 1192"/>
                </a:gdLst>
                <a:ahLst/>
                <a:cxnLst>
                  <a:cxn ang="0">
                    <a:pos x="T0" y="T1"/>
                  </a:cxn>
                  <a:cxn ang="0">
                    <a:pos x="T2" y="T3"/>
                  </a:cxn>
                  <a:cxn ang="0">
                    <a:pos x="T4" y="T5"/>
                  </a:cxn>
                  <a:cxn ang="0">
                    <a:pos x="T6" y="T7"/>
                  </a:cxn>
                  <a:cxn ang="0">
                    <a:pos x="T8" y="T9"/>
                  </a:cxn>
                </a:cxnLst>
                <a:rect l="0" t="0" r="r" b="b"/>
                <a:pathLst>
                  <a:path w="1174" h="1192">
                    <a:moveTo>
                      <a:pt x="1174" y="0"/>
                    </a:moveTo>
                    <a:lnTo>
                      <a:pt x="0" y="1176"/>
                    </a:lnTo>
                    <a:lnTo>
                      <a:pt x="0" y="1192"/>
                    </a:lnTo>
                    <a:lnTo>
                      <a:pt x="1174" y="14"/>
                    </a:lnTo>
                    <a:lnTo>
                      <a:pt x="117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55">
                <a:extLst>
                  <a:ext uri="{FF2B5EF4-FFF2-40B4-BE49-F238E27FC236}">
                    <a16:creationId xmlns:a16="http://schemas.microsoft.com/office/drawing/2014/main" id="{74C7EF39-1B05-4543-A209-11F10D461301}"/>
                  </a:ext>
                </a:extLst>
              </p:cNvPr>
              <p:cNvSpPr>
                <a:spLocks/>
              </p:cNvSpPr>
              <p:nvPr/>
            </p:nvSpPr>
            <p:spPr bwMode="auto">
              <a:xfrm>
                <a:off x="18731866" y="3178175"/>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56">
                <a:extLst>
                  <a:ext uri="{FF2B5EF4-FFF2-40B4-BE49-F238E27FC236}">
                    <a16:creationId xmlns:a16="http://schemas.microsoft.com/office/drawing/2014/main" id="{036886FE-2D6F-4EF0-BEA7-B2EBC0C50D39}"/>
                  </a:ext>
                </a:extLst>
              </p:cNvPr>
              <p:cNvSpPr>
                <a:spLocks/>
              </p:cNvSpPr>
              <p:nvPr/>
            </p:nvSpPr>
            <p:spPr bwMode="auto">
              <a:xfrm>
                <a:off x="18731866" y="3178175"/>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57">
                <a:extLst>
                  <a:ext uri="{FF2B5EF4-FFF2-40B4-BE49-F238E27FC236}">
                    <a16:creationId xmlns:a16="http://schemas.microsoft.com/office/drawing/2014/main" id="{270DB515-6328-4C82-B42E-234EFC81429E}"/>
                  </a:ext>
                </a:extLst>
              </p:cNvPr>
              <p:cNvSpPr>
                <a:spLocks/>
              </p:cNvSpPr>
              <p:nvPr/>
            </p:nvSpPr>
            <p:spPr bwMode="auto">
              <a:xfrm>
                <a:off x="16871316" y="3221038"/>
                <a:ext cx="1860550" cy="1862138"/>
              </a:xfrm>
              <a:custGeom>
                <a:avLst/>
                <a:gdLst>
                  <a:gd name="T0" fmla="*/ 1172 w 1172"/>
                  <a:gd name="T1" fmla="*/ 0 h 1173"/>
                  <a:gd name="T2" fmla="*/ 0 w 1172"/>
                  <a:gd name="T3" fmla="*/ 1173 h 1173"/>
                  <a:gd name="T4" fmla="*/ 14 w 1172"/>
                  <a:gd name="T5" fmla="*/ 1173 h 1173"/>
                  <a:gd name="T6" fmla="*/ 1172 w 1172"/>
                  <a:gd name="T7" fmla="*/ 16 h 1173"/>
                  <a:gd name="T8" fmla="*/ 1172 w 1172"/>
                  <a:gd name="T9" fmla="*/ 0 h 1173"/>
                </a:gdLst>
                <a:ahLst/>
                <a:cxnLst>
                  <a:cxn ang="0">
                    <a:pos x="T0" y="T1"/>
                  </a:cxn>
                  <a:cxn ang="0">
                    <a:pos x="T2" y="T3"/>
                  </a:cxn>
                  <a:cxn ang="0">
                    <a:pos x="T4" y="T5"/>
                  </a:cxn>
                  <a:cxn ang="0">
                    <a:pos x="T6" y="T7"/>
                  </a:cxn>
                  <a:cxn ang="0">
                    <a:pos x="T8" y="T9"/>
                  </a:cxn>
                </a:cxnLst>
                <a:rect l="0" t="0" r="r" b="b"/>
                <a:pathLst>
                  <a:path w="1172" h="1173">
                    <a:moveTo>
                      <a:pt x="1172" y="0"/>
                    </a:moveTo>
                    <a:lnTo>
                      <a:pt x="0" y="1173"/>
                    </a:lnTo>
                    <a:lnTo>
                      <a:pt x="14" y="1173"/>
                    </a:lnTo>
                    <a:lnTo>
                      <a:pt x="1172" y="16"/>
                    </a:lnTo>
                    <a:lnTo>
                      <a:pt x="11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58">
                <a:extLst>
                  <a:ext uri="{FF2B5EF4-FFF2-40B4-BE49-F238E27FC236}">
                    <a16:creationId xmlns:a16="http://schemas.microsoft.com/office/drawing/2014/main" id="{132EEC43-74BB-4CBD-A7B0-A25248407F04}"/>
                  </a:ext>
                </a:extLst>
              </p:cNvPr>
              <p:cNvSpPr>
                <a:spLocks/>
              </p:cNvSpPr>
              <p:nvPr/>
            </p:nvSpPr>
            <p:spPr bwMode="auto">
              <a:xfrm>
                <a:off x="16871316" y="3221038"/>
                <a:ext cx="1860550" cy="1862138"/>
              </a:xfrm>
              <a:custGeom>
                <a:avLst/>
                <a:gdLst>
                  <a:gd name="T0" fmla="*/ 1172 w 1172"/>
                  <a:gd name="T1" fmla="*/ 0 h 1173"/>
                  <a:gd name="T2" fmla="*/ 0 w 1172"/>
                  <a:gd name="T3" fmla="*/ 1173 h 1173"/>
                  <a:gd name="T4" fmla="*/ 14 w 1172"/>
                  <a:gd name="T5" fmla="*/ 1173 h 1173"/>
                  <a:gd name="T6" fmla="*/ 1172 w 1172"/>
                  <a:gd name="T7" fmla="*/ 16 h 1173"/>
                  <a:gd name="T8" fmla="*/ 1172 w 1172"/>
                  <a:gd name="T9" fmla="*/ 0 h 1173"/>
                </a:gdLst>
                <a:ahLst/>
                <a:cxnLst>
                  <a:cxn ang="0">
                    <a:pos x="T0" y="T1"/>
                  </a:cxn>
                  <a:cxn ang="0">
                    <a:pos x="T2" y="T3"/>
                  </a:cxn>
                  <a:cxn ang="0">
                    <a:pos x="T4" y="T5"/>
                  </a:cxn>
                  <a:cxn ang="0">
                    <a:pos x="T6" y="T7"/>
                  </a:cxn>
                  <a:cxn ang="0">
                    <a:pos x="T8" y="T9"/>
                  </a:cxn>
                </a:cxnLst>
                <a:rect l="0" t="0" r="r" b="b"/>
                <a:pathLst>
                  <a:path w="1172" h="1173">
                    <a:moveTo>
                      <a:pt x="1172" y="0"/>
                    </a:moveTo>
                    <a:lnTo>
                      <a:pt x="0" y="1173"/>
                    </a:lnTo>
                    <a:lnTo>
                      <a:pt x="14" y="1173"/>
                    </a:lnTo>
                    <a:lnTo>
                      <a:pt x="1172" y="16"/>
                    </a:lnTo>
                    <a:lnTo>
                      <a:pt x="117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59">
                <a:extLst>
                  <a:ext uri="{FF2B5EF4-FFF2-40B4-BE49-F238E27FC236}">
                    <a16:creationId xmlns:a16="http://schemas.microsoft.com/office/drawing/2014/main" id="{56BAABA9-C44D-47BA-995E-4AFC0B88A3A9}"/>
                  </a:ext>
                </a:extLst>
              </p:cNvPr>
              <p:cNvSpPr>
                <a:spLocks/>
              </p:cNvSpPr>
              <p:nvPr/>
            </p:nvSpPr>
            <p:spPr bwMode="auto">
              <a:xfrm>
                <a:off x="18731866" y="3284538"/>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0">
                <a:extLst>
                  <a:ext uri="{FF2B5EF4-FFF2-40B4-BE49-F238E27FC236}">
                    <a16:creationId xmlns:a16="http://schemas.microsoft.com/office/drawing/2014/main" id="{4881F86F-C453-4505-A382-6FA3471856A6}"/>
                  </a:ext>
                </a:extLst>
              </p:cNvPr>
              <p:cNvSpPr>
                <a:spLocks/>
              </p:cNvSpPr>
              <p:nvPr/>
            </p:nvSpPr>
            <p:spPr bwMode="auto">
              <a:xfrm>
                <a:off x="18731866" y="3284538"/>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1">
                <a:extLst>
                  <a:ext uri="{FF2B5EF4-FFF2-40B4-BE49-F238E27FC236}">
                    <a16:creationId xmlns:a16="http://schemas.microsoft.com/office/drawing/2014/main" id="{E05845F9-4CB9-4791-A2B7-569CF450D71D}"/>
                  </a:ext>
                </a:extLst>
              </p:cNvPr>
              <p:cNvSpPr>
                <a:spLocks/>
              </p:cNvSpPr>
              <p:nvPr/>
            </p:nvSpPr>
            <p:spPr bwMode="auto">
              <a:xfrm>
                <a:off x="16977678" y="3327400"/>
                <a:ext cx="1754188" cy="1755775"/>
              </a:xfrm>
              <a:custGeom>
                <a:avLst/>
                <a:gdLst>
                  <a:gd name="T0" fmla="*/ 1105 w 1105"/>
                  <a:gd name="T1" fmla="*/ 0 h 1106"/>
                  <a:gd name="T2" fmla="*/ 0 w 1105"/>
                  <a:gd name="T3" fmla="*/ 1106 h 1106"/>
                  <a:gd name="T4" fmla="*/ 16 w 1105"/>
                  <a:gd name="T5" fmla="*/ 1106 h 1106"/>
                  <a:gd name="T6" fmla="*/ 1105 w 1105"/>
                  <a:gd name="T7" fmla="*/ 16 h 1106"/>
                  <a:gd name="T8" fmla="*/ 1105 w 1105"/>
                  <a:gd name="T9" fmla="*/ 0 h 1106"/>
                </a:gdLst>
                <a:ahLst/>
                <a:cxnLst>
                  <a:cxn ang="0">
                    <a:pos x="T0" y="T1"/>
                  </a:cxn>
                  <a:cxn ang="0">
                    <a:pos x="T2" y="T3"/>
                  </a:cxn>
                  <a:cxn ang="0">
                    <a:pos x="T4" y="T5"/>
                  </a:cxn>
                  <a:cxn ang="0">
                    <a:pos x="T6" y="T7"/>
                  </a:cxn>
                  <a:cxn ang="0">
                    <a:pos x="T8" y="T9"/>
                  </a:cxn>
                </a:cxnLst>
                <a:rect l="0" t="0" r="r" b="b"/>
                <a:pathLst>
                  <a:path w="1105" h="1106">
                    <a:moveTo>
                      <a:pt x="1105" y="0"/>
                    </a:moveTo>
                    <a:lnTo>
                      <a:pt x="0" y="1106"/>
                    </a:lnTo>
                    <a:lnTo>
                      <a:pt x="16" y="1106"/>
                    </a:lnTo>
                    <a:lnTo>
                      <a:pt x="1105" y="16"/>
                    </a:lnTo>
                    <a:lnTo>
                      <a:pt x="1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62">
                <a:extLst>
                  <a:ext uri="{FF2B5EF4-FFF2-40B4-BE49-F238E27FC236}">
                    <a16:creationId xmlns:a16="http://schemas.microsoft.com/office/drawing/2014/main" id="{83C6600F-3236-48C9-B027-E3331E990152}"/>
                  </a:ext>
                </a:extLst>
              </p:cNvPr>
              <p:cNvSpPr>
                <a:spLocks/>
              </p:cNvSpPr>
              <p:nvPr/>
            </p:nvSpPr>
            <p:spPr bwMode="auto">
              <a:xfrm>
                <a:off x="16977678" y="3327400"/>
                <a:ext cx="1754188" cy="1755775"/>
              </a:xfrm>
              <a:custGeom>
                <a:avLst/>
                <a:gdLst>
                  <a:gd name="T0" fmla="*/ 1105 w 1105"/>
                  <a:gd name="T1" fmla="*/ 0 h 1106"/>
                  <a:gd name="T2" fmla="*/ 0 w 1105"/>
                  <a:gd name="T3" fmla="*/ 1106 h 1106"/>
                  <a:gd name="T4" fmla="*/ 16 w 1105"/>
                  <a:gd name="T5" fmla="*/ 1106 h 1106"/>
                  <a:gd name="T6" fmla="*/ 1105 w 1105"/>
                  <a:gd name="T7" fmla="*/ 16 h 1106"/>
                  <a:gd name="T8" fmla="*/ 1105 w 1105"/>
                  <a:gd name="T9" fmla="*/ 0 h 1106"/>
                </a:gdLst>
                <a:ahLst/>
                <a:cxnLst>
                  <a:cxn ang="0">
                    <a:pos x="T0" y="T1"/>
                  </a:cxn>
                  <a:cxn ang="0">
                    <a:pos x="T2" y="T3"/>
                  </a:cxn>
                  <a:cxn ang="0">
                    <a:pos x="T4" y="T5"/>
                  </a:cxn>
                  <a:cxn ang="0">
                    <a:pos x="T6" y="T7"/>
                  </a:cxn>
                  <a:cxn ang="0">
                    <a:pos x="T8" y="T9"/>
                  </a:cxn>
                </a:cxnLst>
                <a:rect l="0" t="0" r="r" b="b"/>
                <a:pathLst>
                  <a:path w="1105" h="1106">
                    <a:moveTo>
                      <a:pt x="1105" y="0"/>
                    </a:moveTo>
                    <a:lnTo>
                      <a:pt x="0" y="1106"/>
                    </a:lnTo>
                    <a:lnTo>
                      <a:pt x="16" y="1106"/>
                    </a:lnTo>
                    <a:lnTo>
                      <a:pt x="1105" y="16"/>
                    </a:lnTo>
                    <a:lnTo>
                      <a:pt x="1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63">
                <a:extLst>
                  <a:ext uri="{FF2B5EF4-FFF2-40B4-BE49-F238E27FC236}">
                    <a16:creationId xmlns:a16="http://schemas.microsoft.com/office/drawing/2014/main" id="{285723DB-845A-4758-9315-28C41C91ED0C}"/>
                  </a:ext>
                </a:extLst>
              </p:cNvPr>
              <p:cNvSpPr>
                <a:spLocks/>
              </p:cNvSpPr>
              <p:nvPr/>
            </p:nvSpPr>
            <p:spPr bwMode="auto">
              <a:xfrm>
                <a:off x="18731866" y="3395663"/>
                <a:ext cx="42863" cy="63500"/>
              </a:xfrm>
              <a:custGeom>
                <a:avLst/>
                <a:gdLst>
                  <a:gd name="T0" fmla="*/ 27 w 27"/>
                  <a:gd name="T1" fmla="*/ 0 h 40"/>
                  <a:gd name="T2" fmla="*/ 0 w 27"/>
                  <a:gd name="T3" fmla="*/ 26 h 40"/>
                  <a:gd name="T4" fmla="*/ 0 w 27"/>
                  <a:gd name="T5" fmla="*/ 40 h 40"/>
                  <a:gd name="T6" fmla="*/ 27 w 27"/>
                  <a:gd name="T7" fmla="*/ 13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3"/>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64">
                <a:extLst>
                  <a:ext uri="{FF2B5EF4-FFF2-40B4-BE49-F238E27FC236}">
                    <a16:creationId xmlns:a16="http://schemas.microsoft.com/office/drawing/2014/main" id="{B97D9092-0797-43D2-8178-6308E2AD5AE7}"/>
                  </a:ext>
                </a:extLst>
              </p:cNvPr>
              <p:cNvSpPr>
                <a:spLocks/>
              </p:cNvSpPr>
              <p:nvPr/>
            </p:nvSpPr>
            <p:spPr bwMode="auto">
              <a:xfrm>
                <a:off x="18731866" y="3395663"/>
                <a:ext cx="42863" cy="63500"/>
              </a:xfrm>
              <a:custGeom>
                <a:avLst/>
                <a:gdLst>
                  <a:gd name="T0" fmla="*/ 27 w 27"/>
                  <a:gd name="T1" fmla="*/ 0 h 40"/>
                  <a:gd name="T2" fmla="*/ 0 w 27"/>
                  <a:gd name="T3" fmla="*/ 26 h 40"/>
                  <a:gd name="T4" fmla="*/ 0 w 27"/>
                  <a:gd name="T5" fmla="*/ 40 h 40"/>
                  <a:gd name="T6" fmla="*/ 27 w 27"/>
                  <a:gd name="T7" fmla="*/ 13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3"/>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65">
                <a:extLst>
                  <a:ext uri="{FF2B5EF4-FFF2-40B4-BE49-F238E27FC236}">
                    <a16:creationId xmlns:a16="http://schemas.microsoft.com/office/drawing/2014/main" id="{7C25B273-13FE-4B43-BC3A-790AACB64FD2}"/>
                  </a:ext>
                </a:extLst>
              </p:cNvPr>
              <p:cNvSpPr>
                <a:spLocks/>
              </p:cNvSpPr>
              <p:nvPr/>
            </p:nvSpPr>
            <p:spPr bwMode="auto">
              <a:xfrm>
                <a:off x="17084041" y="3436938"/>
                <a:ext cx="1647825" cy="1646238"/>
              </a:xfrm>
              <a:custGeom>
                <a:avLst/>
                <a:gdLst>
                  <a:gd name="T0" fmla="*/ 1038 w 1038"/>
                  <a:gd name="T1" fmla="*/ 0 h 1037"/>
                  <a:gd name="T2" fmla="*/ 0 w 1038"/>
                  <a:gd name="T3" fmla="*/ 1037 h 1037"/>
                  <a:gd name="T4" fmla="*/ 16 w 1038"/>
                  <a:gd name="T5" fmla="*/ 1037 h 1037"/>
                  <a:gd name="T6" fmla="*/ 1038 w 1038"/>
                  <a:gd name="T7" fmla="*/ 14 h 1037"/>
                  <a:gd name="T8" fmla="*/ 1038 w 1038"/>
                  <a:gd name="T9" fmla="*/ 0 h 1037"/>
                </a:gdLst>
                <a:ahLst/>
                <a:cxnLst>
                  <a:cxn ang="0">
                    <a:pos x="T0" y="T1"/>
                  </a:cxn>
                  <a:cxn ang="0">
                    <a:pos x="T2" y="T3"/>
                  </a:cxn>
                  <a:cxn ang="0">
                    <a:pos x="T4" y="T5"/>
                  </a:cxn>
                  <a:cxn ang="0">
                    <a:pos x="T6" y="T7"/>
                  </a:cxn>
                  <a:cxn ang="0">
                    <a:pos x="T8" y="T9"/>
                  </a:cxn>
                </a:cxnLst>
                <a:rect l="0" t="0" r="r" b="b"/>
                <a:pathLst>
                  <a:path w="1038" h="1037">
                    <a:moveTo>
                      <a:pt x="1038" y="0"/>
                    </a:moveTo>
                    <a:lnTo>
                      <a:pt x="0" y="1037"/>
                    </a:lnTo>
                    <a:lnTo>
                      <a:pt x="16" y="1037"/>
                    </a:lnTo>
                    <a:lnTo>
                      <a:pt x="1038" y="14"/>
                    </a:lnTo>
                    <a:lnTo>
                      <a:pt x="10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66">
                <a:extLst>
                  <a:ext uri="{FF2B5EF4-FFF2-40B4-BE49-F238E27FC236}">
                    <a16:creationId xmlns:a16="http://schemas.microsoft.com/office/drawing/2014/main" id="{972043BC-9ECD-446B-9A95-B3AB77347AE1}"/>
                  </a:ext>
                </a:extLst>
              </p:cNvPr>
              <p:cNvSpPr>
                <a:spLocks/>
              </p:cNvSpPr>
              <p:nvPr/>
            </p:nvSpPr>
            <p:spPr bwMode="auto">
              <a:xfrm>
                <a:off x="17084041" y="3436938"/>
                <a:ext cx="1647825" cy="1646238"/>
              </a:xfrm>
              <a:custGeom>
                <a:avLst/>
                <a:gdLst>
                  <a:gd name="T0" fmla="*/ 1038 w 1038"/>
                  <a:gd name="T1" fmla="*/ 0 h 1037"/>
                  <a:gd name="T2" fmla="*/ 0 w 1038"/>
                  <a:gd name="T3" fmla="*/ 1037 h 1037"/>
                  <a:gd name="T4" fmla="*/ 16 w 1038"/>
                  <a:gd name="T5" fmla="*/ 1037 h 1037"/>
                  <a:gd name="T6" fmla="*/ 1038 w 1038"/>
                  <a:gd name="T7" fmla="*/ 14 h 1037"/>
                  <a:gd name="T8" fmla="*/ 1038 w 1038"/>
                  <a:gd name="T9" fmla="*/ 0 h 1037"/>
                </a:gdLst>
                <a:ahLst/>
                <a:cxnLst>
                  <a:cxn ang="0">
                    <a:pos x="T0" y="T1"/>
                  </a:cxn>
                  <a:cxn ang="0">
                    <a:pos x="T2" y="T3"/>
                  </a:cxn>
                  <a:cxn ang="0">
                    <a:pos x="T4" y="T5"/>
                  </a:cxn>
                  <a:cxn ang="0">
                    <a:pos x="T6" y="T7"/>
                  </a:cxn>
                  <a:cxn ang="0">
                    <a:pos x="T8" y="T9"/>
                  </a:cxn>
                </a:cxnLst>
                <a:rect l="0" t="0" r="r" b="b"/>
                <a:pathLst>
                  <a:path w="1038" h="1037">
                    <a:moveTo>
                      <a:pt x="1038" y="0"/>
                    </a:moveTo>
                    <a:lnTo>
                      <a:pt x="0" y="1037"/>
                    </a:lnTo>
                    <a:lnTo>
                      <a:pt x="16" y="1037"/>
                    </a:lnTo>
                    <a:lnTo>
                      <a:pt x="1038" y="14"/>
                    </a:lnTo>
                    <a:lnTo>
                      <a:pt x="103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67">
                <a:extLst>
                  <a:ext uri="{FF2B5EF4-FFF2-40B4-BE49-F238E27FC236}">
                    <a16:creationId xmlns:a16="http://schemas.microsoft.com/office/drawing/2014/main" id="{D30EBCDC-79E8-4E34-A40B-6BDC6F971772}"/>
                  </a:ext>
                </a:extLst>
              </p:cNvPr>
              <p:cNvSpPr>
                <a:spLocks/>
              </p:cNvSpPr>
              <p:nvPr/>
            </p:nvSpPr>
            <p:spPr bwMode="auto">
              <a:xfrm>
                <a:off x="18731866" y="3500438"/>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68">
                <a:extLst>
                  <a:ext uri="{FF2B5EF4-FFF2-40B4-BE49-F238E27FC236}">
                    <a16:creationId xmlns:a16="http://schemas.microsoft.com/office/drawing/2014/main" id="{655B2A85-72C4-46B1-89FC-106CABB8ACFA}"/>
                  </a:ext>
                </a:extLst>
              </p:cNvPr>
              <p:cNvSpPr>
                <a:spLocks/>
              </p:cNvSpPr>
              <p:nvPr/>
            </p:nvSpPr>
            <p:spPr bwMode="auto">
              <a:xfrm>
                <a:off x="18731866" y="3500438"/>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69">
                <a:extLst>
                  <a:ext uri="{FF2B5EF4-FFF2-40B4-BE49-F238E27FC236}">
                    <a16:creationId xmlns:a16="http://schemas.microsoft.com/office/drawing/2014/main" id="{593F04AA-9208-493C-9CE1-39F476793317}"/>
                  </a:ext>
                </a:extLst>
              </p:cNvPr>
              <p:cNvSpPr>
                <a:spLocks/>
              </p:cNvSpPr>
              <p:nvPr/>
            </p:nvSpPr>
            <p:spPr bwMode="auto">
              <a:xfrm>
                <a:off x="17193578" y="3543300"/>
                <a:ext cx="1538288" cy="1539875"/>
              </a:xfrm>
              <a:custGeom>
                <a:avLst/>
                <a:gdLst>
                  <a:gd name="T0" fmla="*/ 969 w 969"/>
                  <a:gd name="T1" fmla="*/ 0 h 970"/>
                  <a:gd name="T2" fmla="*/ 0 w 969"/>
                  <a:gd name="T3" fmla="*/ 970 h 970"/>
                  <a:gd name="T4" fmla="*/ 14 w 969"/>
                  <a:gd name="T5" fmla="*/ 970 h 970"/>
                  <a:gd name="T6" fmla="*/ 969 w 969"/>
                  <a:gd name="T7" fmla="*/ 16 h 970"/>
                  <a:gd name="T8" fmla="*/ 969 w 969"/>
                  <a:gd name="T9" fmla="*/ 0 h 970"/>
                </a:gdLst>
                <a:ahLst/>
                <a:cxnLst>
                  <a:cxn ang="0">
                    <a:pos x="T0" y="T1"/>
                  </a:cxn>
                  <a:cxn ang="0">
                    <a:pos x="T2" y="T3"/>
                  </a:cxn>
                  <a:cxn ang="0">
                    <a:pos x="T4" y="T5"/>
                  </a:cxn>
                  <a:cxn ang="0">
                    <a:pos x="T6" y="T7"/>
                  </a:cxn>
                  <a:cxn ang="0">
                    <a:pos x="T8" y="T9"/>
                  </a:cxn>
                </a:cxnLst>
                <a:rect l="0" t="0" r="r" b="b"/>
                <a:pathLst>
                  <a:path w="969" h="970">
                    <a:moveTo>
                      <a:pt x="969" y="0"/>
                    </a:moveTo>
                    <a:lnTo>
                      <a:pt x="0" y="970"/>
                    </a:lnTo>
                    <a:lnTo>
                      <a:pt x="14" y="970"/>
                    </a:lnTo>
                    <a:lnTo>
                      <a:pt x="969" y="16"/>
                    </a:lnTo>
                    <a:lnTo>
                      <a:pt x="9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0">
                <a:extLst>
                  <a:ext uri="{FF2B5EF4-FFF2-40B4-BE49-F238E27FC236}">
                    <a16:creationId xmlns:a16="http://schemas.microsoft.com/office/drawing/2014/main" id="{841194D3-D1CB-4879-BAFF-BEC220F50555}"/>
                  </a:ext>
                </a:extLst>
              </p:cNvPr>
              <p:cNvSpPr>
                <a:spLocks/>
              </p:cNvSpPr>
              <p:nvPr/>
            </p:nvSpPr>
            <p:spPr bwMode="auto">
              <a:xfrm>
                <a:off x="17193578" y="3543300"/>
                <a:ext cx="1538288" cy="1539875"/>
              </a:xfrm>
              <a:custGeom>
                <a:avLst/>
                <a:gdLst>
                  <a:gd name="T0" fmla="*/ 969 w 969"/>
                  <a:gd name="T1" fmla="*/ 0 h 970"/>
                  <a:gd name="T2" fmla="*/ 0 w 969"/>
                  <a:gd name="T3" fmla="*/ 970 h 970"/>
                  <a:gd name="T4" fmla="*/ 14 w 969"/>
                  <a:gd name="T5" fmla="*/ 970 h 970"/>
                  <a:gd name="T6" fmla="*/ 969 w 969"/>
                  <a:gd name="T7" fmla="*/ 16 h 970"/>
                  <a:gd name="T8" fmla="*/ 969 w 969"/>
                  <a:gd name="T9" fmla="*/ 0 h 970"/>
                </a:gdLst>
                <a:ahLst/>
                <a:cxnLst>
                  <a:cxn ang="0">
                    <a:pos x="T0" y="T1"/>
                  </a:cxn>
                  <a:cxn ang="0">
                    <a:pos x="T2" y="T3"/>
                  </a:cxn>
                  <a:cxn ang="0">
                    <a:pos x="T4" y="T5"/>
                  </a:cxn>
                  <a:cxn ang="0">
                    <a:pos x="T6" y="T7"/>
                  </a:cxn>
                  <a:cxn ang="0">
                    <a:pos x="T8" y="T9"/>
                  </a:cxn>
                </a:cxnLst>
                <a:rect l="0" t="0" r="r" b="b"/>
                <a:pathLst>
                  <a:path w="969" h="970">
                    <a:moveTo>
                      <a:pt x="969" y="0"/>
                    </a:moveTo>
                    <a:lnTo>
                      <a:pt x="0" y="970"/>
                    </a:lnTo>
                    <a:lnTo>
                      <a:pt x="14" y="970"/>
                    </a:lnTo>
                    <a:lnTo>
                      <a:pt x="969" y="16"/>
                    </a:lnTo>
                    <a:lnTo>
                      <a:pt x="96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1">
                <a:extLst>
                  <a:ext uri="{FF2B5EF4-FFF2-40B4-BE49-F238E27FC236}">
                    <a16:creationId xmlns:a16="http://schemas.microsoft.com/office/drawing/2014/main" id="{B4F526A9-C2E7-480C-A013-0468A8017376}"/>
                  </a:ext>
                </a:extLst>
              </p:cNvPr>
              <p:cNvSpPr>
                <a:spLocks/>
              </p:cNvSpPr>
              <p:nvPr/>
            </p:nvSpPr>
            <p:spPr bwMode="auto">
              <a:xfrm>
                <a:off x="18731866" y="3606800"/>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2">
                <a:extLst>
                  <a:ext uri="{FF2B5EF4-FFF2-40B4-BE49-F238E27FC236}">
                    <a16:creationId xmlns:a16="http://schemas.microsoft.com/office/drawing/2014/main" id="{00E0AFD6-5DF8-40E9-8E38-5FD707C05F78}"/>
                  </a:ext>
                </a:extLst>
              </p:cNvPr>
              <p:cNvSpPr>
                <a:spLocks/>
              </p:cNvSpPr>
              <p:nvPr/>
            </p:nvSpPr>
            <p:spPr bwMode="auto">
              <a:xfrm>
                <a:off x="18731866" y="3606800"/>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3">
                <a:extLst>
                  <a:ext uri="{FF2B5EF4-FFF2-40B4-BE49-F238E27FC236}">
                    <a16:creationId xmlns:a16="http://schemas.microsoft.com/office/drawing/2014/main" id="{EA74D278-45B1-4B02-96D2-3A4D282AD84F}"/>
                  </a:ext>
                </a:extLst>
              </p:cNvPr>
              <p:cNvSpPr>
                <a:spLocks/>
              </p:cNvSpPr>
              <p:nvPr/>
            </p:nvSpPr>
            <p:spPr bwMode="auto">
              <a:xfrm>
                <a:off x="17299941" y="3649663"/>
                <a:ext cx="1431925" cy="1433513"/>
              </a:xfrm>
              <a:custGeom>
                <a:avLst/>
                <a:gdLst>
                  <a:gd name="T0" fmla="*/ 902 w 902"/>
                  <a:gd name="T1" fmla="*/ 0 h 903"/>
                  <a:gd name="T2" fmla="*/ 0 w 902"/>
                  <a:gd name="T3" fmla="*/ 903 h 903"/>
                  <a:gd name="T4" fmla="*/ 16 w 902"/>
                  <a:gd name="T5" fmla="*/ 903 h 903"/>
                  <a:gd name="T6" fmla="*/ 902 w 902"/>
                  <a:gd name="T7" fmla="*/ 16 h 903"/>
                  <a:gd name="T8" fmla="*/ 902 w 902"/>
                  <a:gd name="T9" fmla="*/ 0 h 903"/>
                </a:gdLst>
                <a:ahLst/>
                <a:cxnLst>
                  <a:cxn ang="0">
                    <a:pos x="T0" y="T1"/>
                  </a:cxn>
                  <a:cxn ang="0">
                    <a:pos x="T2" y="T3"/>
                  </a:cxn>
                  <a:cxn ang="0">
                    <a:pos x="T4" y="T5"/>
                  </a:cxn>
                  <a:cxn ang="0">
                    <a:pos x="T6" y="T7"/>
                  </a:cxn>
                  <a:cxn ang="0">
                    <a:pos x="T8" y="T9"/>
                  </a:cxn>
                </a:cxnLst>
                <a:rect l="0" t="0" r="r" b="b"/>
                <a:pathLst>
                  <a:path w="902" h="903">
                    <a:moveTo>
                      <a:pt x="902" y="0"/>
                    </a:moveTo>
                    <a:lnTo>
                      <a:pt x="0" y="903"/>
                    </a:lnTo>
                    <a:lnTo>
                      <a:pt x="16" y="903"/>
                    </a:lnTo>
                    <a:lnTo>
                      <a:pt x="902" y="16"/>
                    </a:lnTo>
                    <a:lnTo>
                      <a:pt x="9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74">
                <a:extLst>
                  <a:ext uri="{FF2B5EF4-FFF2-40B4-BE49-F238E27FC236}">
                    <a16:creationId xmlns:a16="http://schemas.microsoft.com/office/drawing/2014/main" id="{CCA5794F-77BF-4228-B70C-61EA6CBB0900}"/>
                  </a:ext>
                </a:extLst>
              </p:cNvPr>
              <p:cNvSpPr>
                <a:spLocks/>
              </p:cNvSpPr>
              <p:nvPr/>
            </p:nvSpPr>
            <p:spPr bwMode="auto">
              <a:xfrm>
                <a:off x="17299941" y="3649663"/>
                <a:ext cx="1431925" cy="1433513"/>
              </a:xfrm>
              <a:custGeom>
                <a:avLst/>
                <a:gdLst>
                  <a:gd name="T0" fmla="*/ 902 w 902"/>
                  <a:gd name="T1" fmla="*/ 0 h 903"/>
                  <a:gd name="T2" fmla="*/ 0 w 902"/>
                  <a:gd name="T3" fmla="*/ 903 h 903"/>
                  <a:gd name="T4" fmla="*/ 16 w 902"/>
                  <a:gd name="T5" fmla="*/ 903 h 903"/>
                  <a:gd name="T6" fmla="*/ 902 w 902"/>
                  <a:gd name="T7" fmla="*/ 16 h 903"/>
                  <a:gd name="T8" fmla="*/ 902 w 902"/>
                  <a:gd name="T9" fmla="*/ 0 h 903"/>
                </a:gdLst>
                <a:ahLst/>
                <a:cxnLst>
                  <a:cxn ang="0">
                    <a:pos x="T0" y="T1"/>
                  </a:cxn>
                  <a:cxn ang="0">
                    <a:pos x="T2" y="T3"/>
                  </a:cxn>
                  <a:cxn ang="0">
                    <a:pos x="T4" y="T5"/>
                  </a:cxn>
                  <a:cxn ang="0">
                    <a:pos x="T6" y="T7"/>
                  </a:cxn>
                  <a:cxn ang="0">
                    <a:pos x="T8" y="T9"/>
                  </a:cxn>
                </a:cxnLst>
                <a:rect l="0" t="0" r="r" b="b"/>
                <a:pathLst>
                  <a:path w="902" h="903">
                    <a:moveTo>
                      <a:pt x="902" y="0"/>
                    </a:moveTo>
                    <a:lnTo>
                      <a:pt x="0" y="903"/>
                    </a:lnTo>
                    <a:lnTo>
                      <a:pt x="16" y="903"/>
                    </a:lnTo>
                    <a:lnTo>
                      <a:pt x="902" y="16"/>
                    </a:lnTo>
                    <a:lnTo>
                      <a:pt x="90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75">
                <a:extLst>
                  <a:ext uri="{FF2B5EF4-FFF2-40B4-BE49-F238E27FC236}">
                    <a16:creationId xmlns:a16="http://schemas.microsoft.com/office/drawing/2014/main" id="{647EA50A-00D3-4805-A378-9A2D14C52F04}"/>
                  </a:ext>
                </a:extLst>
              </p:cNvPr>
              <p:cNvSpPr>
                <a:spLocks/>
              </p:cNvSpPr>
              <p:nvPr/>
            </p:nvSpPr>
            <p:spPr bwMode="auto">
              <a:xfrm>
                <a:off x="18731866" y="371316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76">
                <a:extLst>
                  <a:ext uri="{FF2B5EF4-FFF2-40B4-BE49-F238E27FC236}">
                    <a16:creationId xmlns:a16="http://schemas.microsoft.com/office/drawing/2014/main" id="{7DBC8037-BD0A-43AE-A7D9-7BBDDF465DDC}"/>
                  </a:ext>
                </a:extLst>
              </p:cNvPr>
              <p:cNvSpPr>
                <a:spLocks/>
              </p:cNvSpPr>
              <p:nvPr/>
            </p:nvSpPr>
            <p:spPr bwMode="auto">
              <a:xfrm>
                <a:off x="18731866" y="371316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7">
                <a:extLst>
                  <a:ext uri="{FF2B5EF4-FFF2-40B4-BE49-F238E27FC236}">
                    <a16:creationId xmlns:a16="http://schemas.microsoft.com/office/drawing/2014/main" id="{F2B66552-BDAD-4ECF-BFFB-16D54D2A14AB}"/>
                  </a:ext>
                </a:extLst>
              </p:cNvPr>
              <p:cNvSpPr>
                <a:spLocks/>
              </p:cNvSpPr>
              <p:nvPr/>
            </p:nvSpPr>
            <p:spPr bwMode="auto">
              <a:xfrm>
                <a:off x="17406303" y="3756025"/>
                <a:ext cx="1325563" cy="1327150"/>
              </a:xfrm>
              <a:custGeom>
                <a:avLst/>
                <a:gdLst>
                  <a:gd name="T0" fmla="*/ 835 w 835"/>
                  <a:gd name="T1" fmla="*/ 0 h 836"/>
                  <a:gd name="T2" fmla="*/ 0 w 835"/>
                  <a:gd name="T3" fmla="*/ 836 h 836"/>
                  <a:gd name="T4" fmla="*/ 16 w 835"/>
                  <a:gd name="T5" fmla="*/ 836 h 836"/>
                  <a:gd name="T6" fmla="*/ 835 w 835"/>
                  <a:gd name="T7" fmla="*/ 16 h 836"/>
                  <a:gd name="T8" fmla="*/ 835 w 835"/>
                  <a:gd name="T9" fmla="*/ 0 h 836"/>
                </a:gdLst>
                <a:ahLst/>
                <a:cxnLst>
                  <a:cxn ang="0">
                    <a:pos x="T0" y="T1"/>
                  </a:cxn>
                  <a:cxn ang="0">
                    <a:pos x="T2" y="T3"/>
                  </a:cxn>
                  <a:cxn ang="0">
                    <a:pos x="T4" y="T5"/>
                  </a:cxn>
                  <a:cxn ang="0">
                    <a:pos x="T6" y="T7"/>
                  </a:cxn>
                  <a:cxn ang="0">
                    <a:pos x="T8" y="T9"/>
                  </a:cxn>
                </a:cxnLst>
                <a:rect l="0" t="0" r="r" b="b"/>
                <a:pathLst>
                  <a:path w="835" h="836">
                    <a:moveTo>
                      <a:pt x="835" y="0"/>
                    </a:moveTo>
                    <a:lnTo>
                      <a:pt x="0" y="836"/>
                    </a:lnTo>
                    <a:lnTo>
                      <a:pt x="16" y="836"/>
                    </a:lnTo>
                    <a:lnTo>
                      <a:pt x="835" y="16"/>
                    </a:lnTo>
                    <a:lnTo>
                      <a:pt x="8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78">
                <a:extLst>
                  <a:ext uri="{FF2B5EF4-FFF2-40B4-BE49-F238E27FC236}">
                    <a16:creationId xmlns:a16="http://schemas.microsoft.com/office/drawing/2014/main" id="{7D8A6493-5543-45AF-910F-30BD3C3B2DF6}"/>
                  </a:ext>
                </a:extLst>
              </p:cNvPr>
              <p:cNvSpPr>
                <a:spLocks/>
              </p:cNvSpPr>
              <p:nvPr/>
            </p:nvSpPr>
            <p:spPr bwMode="auto">
              <a:xfrm>
                <a:off x="17406303" y="3756025"/>
                <a:ext cx="1325563" cy="1327150"/>
              </a:xfrm>
              <a:custGeom>
                <a:avLst/>
                <a:gdLst>
                  <a:gd name="T0" fmla="*/ 835 w 835"/>
                  <a:gd name="T1" fmla="*/ 0 h 836"/>
                  <a:gd name="T2" fmla="*/ 0 w 835"/>
                  <a:gd name="T3" fmla="*/ 836 h 836"/>
                  <a:gd name="T4" fmla="*/ 16 w 835"/>
                  <a:gd name="T5" fmla="*/ 836 h 836"/>
                  <a:gd name="T6" fmla="*/ 835 w 835"/>
                  <a:gd name="T7" fmla="*/ 16 h 836"/>
                  <a:gd name="T8" fmla="*/ 835 w 835"/>
                  <a:gd name="T9" fmla="*/ 0 h 836"/>
                </a:gdLst>
                <a:ahLst/>
                <a:cxnLst>
                  <a:cxn ang="0">
                    <a:pos x="T0" y="T1"/>
                  </a:cxn>
                  <a:cxn ang="0">
                    <a:pos x="T2" y="T3"/>
                  </a:cxn>
                  <a:cxn ang="0">
                    <a:pos x="T4" y="T5"/>
                  </a:cxn>
                  <a:cxn ang="0">
                    <a:pos x="T6" y="T7"/>
                  </a:cxn>
                  <a:cxn ang="0">
                    <a:pos x="T8" y="T9"/>
                  </a:cxn>
                </a:cxnLst>
                <a:rect l="0" t="0" r="r" b="b"/>
                <a:pathLst>
                  <a:path w="835" h="836">
                    <a:moveTo>
                      <a:pt x="835" y="0"/>
                    </a:moveTo>
                    <a:lnTo>
                      <a:pt x="0" y="836"/>
                    </a:lnTo>
                    <a:lnTo>
                      <a:pt x="16" y="836"/>
                    </a:lnTo>
                    <a:lnTo>
                      <a:pt x="835" y="16"/>
                    </a:lnTo>
                    <a:lnTo>
                      <a:pt x="83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79">
                <a:extLst>
                  <a:ext uri="{FF2B5EF4-FFF2-40B4-BE49-F238E27FC236}">
                    <a16:creationId xmlns:a16="http://schemas.microsoft.com/office/drawing/2014/main" id="{5434D20A-9BB0-4750-9C2E-DF4C54BF927A}"/>
                  </a:ext>
                </a:extLst>
              </p:cNvPr>
              <p:cNvSpPr>
                <a:spLocks/>
              </p:cNvSpPr>
              <p:nvPr/>
            </p:nvSpPr>
            <p:spPr bwMode="auto">
              <a:xfrm>
                <a:off x="18731866" y="3822700"/>
                <a:ext cx="42863" cy="65088"/>
              </a:xfrm>
              <a:custGeom>
                <a:avLst/>
                <a:gdLst>
                  <a:gd name="T0" fmla="*/ 27 w 27"/>
                  <a:gd name="T1" fmla="*/ 0 h 41"/>
                  <a:gd name="T2" fmla="*/ 0 w 27"/>
                  <a:gd name="T3" fmla="*/ 27 h 41"/>
                  <a:gd name="T4" fmla="*/ 0 w 27"/>
                  <a:gd name="T5" fmla="*/ 41 h 41"/>
                  <a:gd name="T6" fmla="*/ 27 w 27"/>
                  <a:gd name="T7" fmla="*/ 14 h 41"/>
                  <a:gd name="T8" fmla="*/ 27 w 27"/>
                  <a:gd name="T9" fmla="*/ 0 h 41"/>
                </a:gdLst>
                <a:ahLst/>
                <a:cxnLst>
                  <a:cxn ang="0">
                    <a:pos x="T0" y="T1"/>
                  </a:cxn>
                  <a:cxn ang="0">
                    <a:pos x="T2" y="T3"/>
                  </a:cxn>
                  <a:cxn ang="0">
                    <a:pos x="T4" y="T5"/>
                  </a:cxn>
                  <a:cxn ang="0">
                    <a:pos x="T6" y="T7"/>
                  </a:cxn>
                  <a:cxn ang="0">
                    <a:pos x="T8" y="T9"/>
                  </a:cxn>
                </a:cxnLst>
                <a:rect l="0" t="0" r="r" b="b"/>
                <a:pathLst>
                  <a:path w="27" h="41">
                    <a:moveTo>
                      <a:pt x="27" y="0"/>
                    </a:moveTo>
                    <a:lnTo>
                      <a:pt x="0" y="27"/>
                    </a:lnTo>
                    <a:lnTo>
                      <a:pt x="0" y="41"/>
                    </a:lnTo>
                    <a:lnTo>
                      <a:pt x="27" y="14"/>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80">
                <a:extLst>
                  <a:ext uri="{FF2B5EF4-FFF2-40B4-BE49-F238E27FC236}">
                    <a16:creationId xmlns:a16="http://schemas.microsoft.com/office/drawing/2014/main" id="{CFED43DC-C72A-4CED-9FD8-843A463D3691}"/>
                  </a:ext>
                </a:extLst>
              </p:cNvPr>
              <p:cNvSpPr>
                <a:spLocks/>
              </p:cNvSpPr>
              <p:nvPr/>
            </p:nvSpPr>
            <p:spPr bwMode="auto">
              <a:xfrm>
                <a:off x="18731866" y="3822700"/>
                <a:ext cx="42863" cy="65088"/>
              </a:xfrm>
              <a:custGeom>
                <a:avLst/>
                <a:gdLst>
                  <a:gd name="T0" fmla="*/ 27 w 27"/>
                  <a:gd name="T1" fmla="*/ 0 h 41"/>
                  <a:gd name="T2" fmla="*/ 0 w 27"/>
                  <a:gd name="T3" fmla="*/ 27 h 41"/>
                  <a:gd name="T4" fmla="*/ 0 w 27"/>
                  <a:gd name="T5" fmla="*/ 41 h 41"/>
                  <a:gd name="T6" fmla="*/ 27 w 27"/>
                  <a:gd name="T7" fmla="*/ 14 h 41"/>
                  <a:gd name="T8" fmla="*/ 27 w 27"/>
                  <a:gd name="T9" fmla="*/ 0 h 41"/>
                </a:gdLst>
                <a:ahLst/>
                <a:cxnLst>
                  <a:cxn ang="0">
                    <a:pos x="T0" y="T1"/>
                  </a:cxn>
                  <a:cxn ang="0">
                    <a:pos x="T2" y="T3"/>
                  </a:cxn>
                  <a:cxn ang="0">
                    <a:pos x="T4" y="T5"/>
                  </a:cxn>
                  <a:cxn ang="0">
                    <a:pos x="T6" y="T7"/>
                  </a:cxn>
                  <a:cxn ang="0">
                    <a:pos x="T8" y="T9"/>
                  </a:cxn>
                </a:cxnLst>
                <a:rect l="0" t="0" r="r" b="b"/>
                <a:pathLst>
                  <a:path w="27" h="41">
                    <a:moveTo>
                      <a:pt x="27" y="0"/>
                    </a:moveTo>
                    <a:lnTo>
                      <a:pt x="0" y="27"/>
                    </a:lnTo>
                    <a:lnTo>
                      <a:pt x="0" y="41"/>
                    </a:lnTo>
                    <a:lnTo>
                      <a:pt x="27" y="14"/>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1">
                <a:extLst>
                  <a:ext uri="{FF2B5EF4-FFF2-40B4-BE49-F238E27FC236}">
                    <a16:creationId xmlns:a16="http://schemas.microsoft.com/office/drawing/2014/main" id="{748067B3-7276-4F85-9443-3CDE98F7416B}"/>
                  </a:ext>
                </a:extLst>
              </p:cNvPr>
              <p:cNvSpPr>
                <a:spLocks/>
              </p:cNvSpPr>
              <p:nvPr/>
            </p:nvSpPr>
            <p:spPr bwMode="auto">
              <a:xfrm>
                <a:off x="17511078" y="3865563"/>
                <a:ext cx="1220788" cy="1217613"/>
              </a:xfrm>
              <a:custGeom>
                <a:avLst/>
                <a:gdLst>
                  <a:gd name="T0" fmla="*/ 769 w 769"/>
                  <a:gd name="T1" fmla="*/ 0 h 767"/>
                  <a:gd name="T2" fmla="*/ 0 w 769"/>
                  <a:gd name="T3" fmla="*/ 767 h 767"/>
                  <a:gd name="T4" fmla="*/ 16 w 769"/>
                  <a:gd name="T5" fmla="*/ 767 h 767"/>
                  <a:gd name="T6" fmla="*/ 769 w 769"/>
                  <a:gd name="T7" fmla="*/ 14 h 767"/>
                  <a:gd name="T8" fmla="*/ 769 w 769"/>
                  <a:gd name="T9" fmla="*/ 0 h 767"/>
                </a:gdLst>
                <a:ahLst/>
                <a:cxnLst>
                  <a:cxn ang="0">
                    <a:pos x="T0" y="T1"/>
                  </a:cxn>
                  <a:cxn ang="0">
                    <a:pos x="T2" y="T3"/>
                  </a:cxn>
                  <a:cxn ang="0">
                    <a:pos x="T4" y="T5"/>
                  </a:cxn>
                  <a:cxn ang="0">
                    <a:pos x="T6" y="T7"/>
                  </a:cxn>
                  <a:cxn ang="0">
                    <a:pos x="T8" y="T9"/>
                  </a:cxn>
                </a:cxnLst>
                <a:rect l="0" t="0" r="r" b="b"/>
                <a:pathLst>
                  <a:path w="769" h="767">
                    <a:moveTo>
                      <a:pt x="769" y="0"/>
                    </a:moveTo>
                    <a:lnTo>
                      <a:pt x="0" y="767"/>
                    </a:lnTo>
                    <a:lnTo>
                      <a:pt x="16" y="767"/>
                    </a:lnTo>
                    <a:lnTo>
                      <a:pt x="769" y="14"/>
                    </a:lnTo>
                    <a:lnTo>
                      <a:pt x="7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82">
                <a:extLst>
                  <a:ext uri="{FF2B5EF4-FFF2-40B4-BE49-F238E27FC236}">
                    <a16:creationId xmlns:a16="http://schemas.microsoft.com/office/drawing/2014/main" id="{C3E54C7C-3473-45D7-8C14-168E83E44492}"/>
                  </a:ext>
                </a:extLst>
              </p:cNvPr>
              <p:cNvSpPr>
                <a:spLocks/>
              </p:cNvSpPr>
              <p:nvPr/>
            </p:nvSpPr>
            <p:spPr bwMode="auto">
              <a:xfrm>
                <a:off x="17511078" y="3865563"/>
                <a:ext cx="1220788" cy="1217613"/>
              </a:xfrm>
              <a:custGeom>
                <a:avLst/>
                <a:gdLst>
                  <a:gd name="T0" fmla="*/ 769 w 769"/>
                  <a:gd name="T1" fmla="*/ 0 h 767"/>
                  <a:gd name="T2" fmla="*/ 0 w 769"/>
                  <a:gd name="T3" fmla="*/ 767 h 767"/>
                  <a:gd name="T4" fmla="*/ 16 w 769"/>
                  <a:gd name="T5" fmla="*/ 767 h 767"/>
                  <a:gd name="T6" fmla="*/ 769 w 769"/>
                  <a:gd name="T7" fmla="*/ 14 h 767"/>
                  <a:gd name="T8" fmla="*/ 769 w 769"/>
                  <a:gd name="T9" fmla="*/ 0 h 767"/>
                </a:gdLst>
                <a:ahLst/>
                <a:cxnLst>
                  <a:cxn ang="0">
                    <a:pos x="T0" y="T1"/>
                  </a:cxn>
                  <a:cxn ang="0">
                    <a:pos x="T2" y="T3"/>
                  </a:cxn>
                  <a:cxn ang="0">
                    <a:pos x="T4" y="T5"/>
                  </a:cxn>
                  <a:cxn ang="0">
                    <a:pos x="T6" y="T7"/>
                  </a:cxn>
                  <a:cxn ang="0">
                    <a:pos x="T8" y="T9"/>
                  </a:cxn>
                </a:cxnLst>
                <a:rect l="0" t="0" r="r" b="b"/>
                <a:pathLst>
                  <a:path w="769" h="767">
                    <a:moveTo>
                      <a:pt x="769" y="0"/>
                    </a:moveTo>
                    <a:lnTo>
                      <a:pt x="0" y="767"/>
                    </a:lnTo>
                    <a:lnTo>
                      <a:pt x="16" y="767"/>
                    </a:lnTo>
                    <a:lnTo>
                      <a:pt x="769" y="14"/>
                    </a:lnTo>
                    <a:lnTo>
                      <a:pt x="76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83">
                <a:extLst>
                  <a:ext uri="{FF2B5EF4-FFF2-40B4-BE49-F238E27FC236}">
                    <a16:creationId xmlns:a16="http://schemas.microsoft.com/office/drawing/2014/main" id="{44A9B333-3138-4CFE-90B3-DC3D3506BA4A}"/>
                  </a:ext>
                </a:extLst>
              </p:cNvPr>
              <p:cNvSpPr>
                <a:spLocks/>
              </p:cNvSpPr>
              <p:nvPr/>
            </p:nvSpPr>
            <p:spPr bwMode="auto">
              <a:xfrm>
                <a:off x="18731866" y="392906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84">
                <a:extLst>
                  <a:ext uri="{FF2B5EF4-FFF2-40B4-BE49-F238E27FC236}">
                    <a16:creationId xmlns:a16="http://schemas.microsoft.com/office/drawing/2014/main" id="{AF4108AD-CF29-44BA-B9B5-FE8E203C35B1}"/>
                  </a:ext>
                </a:extLst>
              </p:cNvPr>
              <p:cNvSpPr>
                <a:spLocks/>
              </p:cNvSpPr>
              <p:nvPr/>
            </p:nvSpPr>
            <p:spPr bwMode="auto">
              <a:xfrm>
                <a:off x="18731866" y="392906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85">
                <a:extLst>
                  <a:ext uri="{FF2B5EF4-FFF2-40B4-BE49-F238E27FC236}">
                    <a16:creationId xmlns:a16="http://schemas.microsoft.com/office/drawing/2014/main" id="{99877985-7754-4AF2-A6FC-6FB1B7D2DC62}"/>
                  </a:ext>
                </a:extLst>
              </p:cNvPr>
              <p:cNvSpPr>
                <a:spLocks/>
              </p:cNvSpPr>
              <p:nvPr/>
            </p:nvSpPr>
            <p:spPr bwMode="auto">
              <a:xfrm>
                <a:off x="17622203" y="3971925"/>
                <a:ext cx="1109663" cy="1111250"/>
              </a:xfrm>
              <a:custGeom>
                <a:avLst/>
                <a:gdLst>
                  <a:gd name="T0" fmla="*/ 699 w 699"/>
                  <a:gd name="T1" fmla="*/ 0 h 700"/>
                  <a:gd name="T2" fmla="*/ 0 w 699"/>
                  <a:gd name="T3" fmla="*/ 700 h 700"/>
                  <a:gd name="T4" fmla="*/ 13 w 699"/>
                  <a:gd name="T5" fmla="*/ 700 h 700"/>
                  <a:gd name="T6" fmla="*/ 699 w 699"/>
                  <a:gd name="T7" fmla="*/ 16 h 700"/>
                  <a:gd name="T8" fmla="*/ 699 w 699"/>
                  <a:gd name="T9" fmla="*/ 0 h 700"/>
                </a:gdLst>
                <a:ahLst/>
                <a:cxnLst>
                  <a:cxn ang="0">
                    <a:pos x="T0" y="T1"/>
                  </a:cxn>
                  <a:cxn ang="0">
                    <a:pos x="T2" y="T3"/>
                  </a:cxn>
                  <a:cxn ang="0">
                    <a:pos x="T4" y="T5"/>
                  </a:cxn>
                  <a:cxn ang="0">
                    <a:pos x="T6" y="T7"/>
                  </a:cxn>
                  <a:cxn ang="0">
                    <a:pos x="T8" y="T9"/>
                  </a:cxn>
                </a:cxnLst>
                <a:rect l="0" t="0" r="r" b="b"/>
                <a:pathLst>
                  <a:path w="699" h="700">
                    <a:moveTo>
                      <a:pt x="699" y="0"/>
                    </a:moveTo>
                    <a:lnTo>
                      <a:pt x="0" y="700"/>
                    </a:lnTo>
                    <a:lnTo>
                      <a:pt x="13" y="700"/>
                    </a:lnTo>
                    <a:lnTo>
                      <a:pt x="699" y="16"/>
                    </a:lnTo>
                    <a:lnTo>
                      <a:pt x="6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86">
                <a:extLst>
                  <a:ext uri="{FF2B5EF4-FFF2-40B4-BE49-F238E27FC236}">
                    <a16:creationId xmlns:a16="http://schemas.microsoft.com/office/drawing/2014/main" id="{D67576A5-8FAE-4A50-9FFD-C80EF6050142}"/>
                  </a:ext>
                </a:extLst>
              </p:cNvPr>
              <p:cNvSpPr>
                <a:spLocks/>
              </p:cNvSpPr>
              <p:nvPr/>
            </p:nvSpPr>
            <p:spPr bwMode="auto">
              <a:xfrm>
                <a:off x="17622203" y="3971925"/>
                <a:ext cx="1109663" cy="1111250"/>
              </a:xfrm>
              <a:custGeom>
                <a:avLst/>
                <a:gdLst>
                  <a:gd name="T0" fmla="*/ 699 w 699"/>
                  <a:gd name="T1" fmla="*/ 0 h 700"/>
                  <a:gd name="T2" fmla="*/ 0 w 699"/>
                  <a:gd name="T3" fmla="*/ 700 h 700"/>
                  <a:gd name="T4" fmla="*/ 13 w 699"/>
                  <a:gd name="T5" fmla="*/ 700 h 700"/>
                  <a:gd name="T6" fmla="*/ 699 w 699"/>
                  <a:gd name="T7" fmla="*/ 16 h 700"/>
                  <a:gd name="T8" fmla="*/ 699 w 699"/>
                  <a:gd name="T9" fmla="*/ 0 h 700"/>
                </a:gdLst>
                <a:ahLst/>
                <a:cxnLst>
                  <a:cxn ang="0">
                    <a:pos x="T0" y="T1"/>
                  </a:cxn>
                  <a:cxn ang="0">
                    <a:pos x="T2" y="T3"/>
                  </a:cxn>
                  <a:cxn ang="0">
                    <a:pos x="T4" y="T5"/>
                  </a:cxn>
                  <a:cxn ang="0">
                    <a:pos x="T6" y="T7"/>
                  </a:cxn>
                  <a:cxn ang="0">
                    <a:pos x="T8" y="T9"/>
                  </a:cxn>
                </a:cxnLst>
                <a:rect l="0" t="0" r="r" b="b"/>
                <a:pathLst>
                  <a:path w="699" h="700">
                    <a:moveTo>
                      <a:pt x="699" y="0"/>
                    </a:moveTo>
                    <a:lnTo>
                      <a:pt x="0" y="700"/>
                    </a:lnTo>
                    <a:lnTo>
                      <a:pt x="13" y="700"/>
                    </a:lnTo>
                    <a:lnTo>
                      <a:pt x="699" y="16"/>
                    </a:lnTo>
                    <a:lnTo>
                      <a:pt x="69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87">
                <a:extLst>
                  <a:ext uri="{FF2B5EF4-FFF2-40B4-BE49-F238E27FC236}">
                    <a16:creationId xmlns:a16="http://schemas.microsoft.com/office/drawing/2014/main" id="{950DB5D8-9CC2-4F4F-89C6-BEC9F9D5654A}"/>
                  </a:ext>
                </a:extLst>
              </p:cNvPr>
              <p:cNvSpPr>
                <a:spLocks/>
              </p:cNvSpPr>
              <p:nvPr/>
            </p:nvSpPr>
            <p:spPr bwMode="auto">
              <a:xfrm>
                <a:off x="18731866" y="4035425"/>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88">
                <a:extLst>
                  <a:ext uri="{FF2B5EF4-FFF2-40B4-BE49-F238E27FC236}">
                    <a16:creationId xmlns:a16="http://schemas.microsoft.com/office/drawing/2014/main" id="{7CD8D8FA-B2B7-437E-8848-78D115C43B2A}"/>
                  </a:ext>
                </a:extLst>
              </p:cNvPr>
              <p:cNvSpPr>
                <a:spLocks/>
              </p:cNvSpPr>
              <p:nvPr/>
            </p:nvSpPr>
            <p:spPr bwMode="auto">
              <a:xfrm>
                <a:off x="18731866" y="4035425"/>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9">
                <a:extLst>
                  <a:ext uri="{FF2B5EF4-FFF2-40B4-BE49-F238E27FC236}">
                    <a16:creationId xmlns:a16="http://schemas.microsoft.com/office/drawing/2014/main" id="{C12C87F5-9662-4F84-96C1-618F5C9E1F2B}"/>
                  </a:ext>
                </a:extLst>
              </p:cNvPr>
              <p:cNvSpPr>
                <a:spLocks/>
              </p:cNvSpPr>
              <p:nvPr/>
            </p:nvSpPr>
            <p:spPr bwMode="auto">
              <a:xfrm>
                <a:off x="17726978" y="4078288"/>
                <a:ext cx="1004888" cy="1004888"/>
              </a:xfrm>
              <a:custGeom>
                <a:avLst/>
                <a:gdLst>
                  <a:gd name="T0" fmla="*/ 633 w 633"/>
                  <a:gd name="T1" fmla="*/ 0 h 633"/>
                  <a:gd name="T2" fmla="*/ 0 w 633"/>
                  <a:gd name="T3" fmla="*/ 633 h 633"/>
                  <a:gd name="T4" fmla="*/ 17 w 633"/>
                  <a:gd name="T5" fmla="*/ 633 h 633"/>
                  <a:gd name="T6" fmla="*/ 633 w 633"/>
                  <a:gd name="T7" fmla="*/ 16 h 633"/>
                  <a:gd name="T8" fmla="*/ 633 w 633"/>
                  <a:gd name="T9" fmla="*/ 0 h 633"/>
                </a:gdLst>
                <a:ahLst/>
                <a:cxnLst>
                  <a:cxn ang="0">
                    <a:pos x="T0" y="T1"/>
                  </a:cxn>
                  <a:cxn ang="0">
                    <a:pos x="T2" y="T3"/>
                  </a:cxn>
                  <a:cxn ang="0">
                    <a:pos x="T4" y="T5"/>
                  </a:cxn>
                  <a:cxn ang="0">
                    <a:pos x="T6" y="T7"/>
                  </a:cxn>
                  <a:cxn ang="0">
                    <a:pos x="T8" y="T9"/>
                  </a:cxn>
                </a:cxnLst>
                <a:rect l="0" t="0" r="r" b="b"/>
                <a:pathLst>
                  <a:path w="633" h="633">
                    <a:moveTo>
                      <a:pt x="633" y="0"/>
                    </a:moveTo>
                    <a:lnTo>
                      <a:pt x="0" y="633"/>
                    </a:lnTo>
                    <a:lnTo>
                      <a:pt x="17" y="633"/>
                    </a:lnTo>
                    <a:lnTo>
                      <a:pt x="633" y="16"/>
                    </a:lnTo>
                    <a:lnTo>
                      <a:pt x="6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90">
                <a:extLst>
                  <a:ext uri="{FF2B5EF4-FFF2-40B4-BE49-F238E27FC236}">
                    <a16:creationId xmlns:a16="http://schemas.microsoft.com/office/drawing/2014/main" id="{6EDA67E2-FAC7-4D17-B3CD-0EDBEA9FE450}"/>
                  </a:ext>
                </a:extLst>
              </p:cNvPr>
              <p:cNvSpPr>
                <a:spLocks/>
              </p:cNvSpPr>
              <p:nvPr/>
            </p:nvSpPr>
            <p:spPr bwMode="auto">
              <a:xfrm>
                <a:off x="17726978" y="4078288"/>
                <a:ext cx="1004888" cy="1004888"/>
              </a:xfrm>
              <a:custGeom>
                <a:avLst/>
                <a:gdLst>
                  <a:gd name="T0" fmla="*/ 633 w 633"/>
                  <a:gd name="T1" fmla="*/ 0 h 633"/>
                  <a:gd name="T2" fmla="*/ 0 w 633"/>
                  <a:gd name="T3" fmla="*/ 633 h 633"/>
                  <a:gd name="T4" fmla="*/ 17 w 633"/>
                  <a:gd name="T5" fmla="*/ 633 h 633"/>
                  <a:gd name="T6" fmla="*/ 633 w 633"/>
                  <a:gd name="T7" fmla="*/ 16 h 633"/>
                  <a:gd name="T8" fmla="*/ 633 w 633"/>
                  <a:gd name="T9" fmla="*/ 0 h 633"/>
                </a:gdLst>
                <a:ahLst/>
                <a:cxnLst>
                  <a:cxn ang="0">
                    <a:pos x="T0" y="T1"/>
                  </a:cxn>
                  <a:cxn ang="0">
                    <a:pos x="T2" y="T3"/>
                  </a:cxn>
                  <a:cxn ang="0">
                    <a:pos x="T4" y="T5"/>
                  </a:cxn>
                  <a:cxn ang="0">
                    <a:pos x="T6" y="T7"/>
                  </a:cxn>
                  <a:cxn ang="0">
                    <a:pos x="T8" y="T9"/>
                  </a:cxn>
                </a:cxnLst>
                <a:rect l="0" t="0" r="r" b="b"/>
                <a:pathLst>
                  <a:path w="633" h="633">
                    <a:moveTo>
                      <a:pt x="633" y="0"/>
                    </a:moveTo>
                    <a:lnTo>
                      <a:pt x="0" y="633"/>
                    </a:lnTo>
                    <a:lnTo>
                      <a:pt x="17" y="633"/>
                    </a:lnTo>
                    <a:lnTo>
                      <a:pt x="633" y="16"/>
                    </a:lnTo>
                    <a:lnTo>
                      <a:pt x="6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91">
                <a:extLst>
                  <a:ext uri="{FF2B5EF4-FFF2-40B4-BE49-F238E27FC236}">
                    <a16:creationId xmlns:a16="http://schemas.microsoft.com/office/drawing/2014/main" id="{84D0E486-003F-4BD8-A2ED-C77F9A0BA58C}"/>
                  </a:ext>
                </a:extLst>
              </p:cNvPr>
              <p:cNvSpPr>
                <a:spLocks/>
              </p:cNvSpPr>
              <p:nvPr/>
            </p:nvSpPr>
            <p:spPr bwMode="auto">
              <a:xfrm>
                <a:off x="18731866" y="4146550"/>
                <a:ext cx="42863" cy="63500"/>
              </a:xfrm>
              <a:custGeom>
                <a:avLst/>
                <a:gdLst>
                  <a:gd name="T0" fmla="*/ 27 w 27"/>
                  <a:gd name="T1" fmla="*/ 0 h 40"/>
                  <a:gd name="T2" fmla="*/ 0 w 27"/>
                  <a:gd name="T3" fmla="*/ 26 h 40"/>
                  <a:gd name="T4" fmla="*/ 0 w 27"/>
                  <a:gd name="T5" fmla="*/ 40 h 40"/>
                  <a:gd name="T6" fmla="*/ 27 w 27"/>
                  <a:gd name="T7" fmla="*/ 13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3"/>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2">
                <a:extLst>
                  <a:ext uri="{FF2B5EF4-FFF2-40B4-BE49-F238E27FC236}">
                    <a16:creationId xmlns:a16="http://schemas.microsoft.com/office/drawing/2014/main" id="{1AF48248-7E03-40E5-83A6-A22FD52A305A}"/>
                  </a:ext>
                </a:extLst>
              </p:cNvPr>
              <p:cNvSpPr>
                <a:spLocks/>
              </p:cNvSpPr>
              <p:nvPr/>
            </p:nvSpPr>
            <p:spPr bwMode="auto">
              <a:xfrm>
                <a:off x="18731866" y="4146550"/>
                <a:ext cx="42863" cy="63500"/>
              </a:xfrm>
              <a:custGeom>
                <a:avLst/>
                <a:gdLst>
                  <a:gd name="T0" fmla="*/ 27 w 27"/>
                  <a:gd name="T1" fmla="*/ 0 h 40"/>
                  <a:gd name="T2" fmla="*/ 0 w 27"/>
                  <a:gd name="T3" fmla="*/ 26 h 40"/>
                  <a:gd name="T4" fmla="*/ 0 w 27"/>
                  <a:gd name="T5" fmla="*/ 40 h 40"/>
                  <a:gd name="T6" fmla="*/ 27 w 27"/>
                  <a:gd name="T7" fmla="*/ 13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6"/>
                    </a:lnTo>
                    <a:lnTo>
                      <a:pt x="0" y="40"/>
                    </a:lnTo>
                    <a:lnTo>
                      <a:pt x="27" y="13"/>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93">
                <a:extLst>
                  <a:ext uri="{FF2B5EF4-FFF2-40B4-BE49-F238E27FC236}">
                    <a16:creationId xmlns:a16="http://schemas.microsoft.com/office/drawing/2014/main" id="{0DF5E2D9-87C8-40EA-A3B9-9F241FED0A8E}"/>
                  </a:ext>
                </a:extLst>
              </p:cNvPr>
              <p:cNvSpPr>
                <a:spLocks/>
              </p:cNvSpPr>
              <p:nvPr/>
            </p:nvSpPr>
            <p:spPr bwMode="auto">
              <a:xfrm>
                <a:off x="17833341" y="4187825"/>
                <a:ext cx="898525" cy="895350"/>
              </a:xfrm>
              <a:custGeom>
                <a:avLst/>
                <a:gdLst>
                  <a:gd name="T0" fmla="*/ 566 w 566"/>
                  <a:gd name="T1" fmla="*/ 0 h 564"/>
                  <a:gd name="T2" fmla="*/ 0 w 566"/>
                  <a:gd name="T3" fmla="*/ 564 h 564"/>
                  <a:gd name="T4" fmla="*/ 16 w 566"/>
                  <a:gd name="T5" fmla="*/ 564 h 564"/>
                  <a:gd name="T6" fmla="*/ 566 w 566"/>
                  <a:gd name="T7" fmla="*/ 14 h 564"/>
                  <a:gd name="T8" fmla="*/ 566 w 566"/>
                  <a:gd name="T9" fmla="*/ 0 h 564"/>
                </a:gdLst>
                <a:ahLst/>
                <a:cxnLst>
                  <a:cxn ang="0">
                    <a:pos x="T0" y="T1"/>
                  </a:cxn>
                  <a:cxn ang="0">
                    <a:pos x="T2" y="T3"/>
                  </a:cxn>
                  <a:cxn ang="0">
                    <a:pos x="T4" y="T5"/>
                  </a:cxn>
                  <a:cxn ang="0">
                    <a:pos x="T6" y="T7"/>
                  </a:cxn>
                  <a:cxn ang="0">
                    <a:pos x="T8" y="T9"/>
                  </a:cxn>
                </a:cxnLst>
                <a:rect l="0" t="0" r="r" b="b"/>
                <a:pathLst>
                  <a:path w="566" h="564">
                    <a:moveTo>
                      <a:pt x="566" y="0"/>
                    </a:moveTo>
                    <a:lnTo>
                      <a:pt x="0" y="564"/>
                    </a:lnTo>
                    <a:lnTo>
                      <a:pt x="16" y="564"/>
                    </a:lnTo>
                    <a:lnTo>
                      <a:pt x="566" y="14"/>
                    </a:lnTo>
                    <a:lnTo>
                      <a:pt x="5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94">
                <a:extLst>
                  <a:ext uri="{FF2B5EF4-FFF2-40B4-BE49-F238E27FC236}">
                    <a16:creationId xmlns:a16="http://schemas.microsoft.com/office/drawing/2014/main" id="{F3350C7D-516B-4BEB-8F03-99FA808FCCFC}"/>
                  </a:ext>
                </a:extLst>
              </p:cNvPr>
              <p:cNvSpPr>
                <a:spLocks/>
              </p:cNvSpPr>
              <p:nvPr/>
            </p:nvSpPr>
            <p:spPr bwMode="auto">
              <a:xfrm>
                <a:off x="17833341" y="4187825"/>
                <a:ext cx="898525" cy="895350"/>
              </a:xfrm>
              <a:custGeom>
                <a:avLst/>
                <a:gdLst>
                  <a:gd name="T0" fmla="*/ 566 w 566"/>
                  <a:gd name="T1" fmla="*/ 0 h 564"/>
                  <a:gd name="T2" fmla="*/ 0 w 566"/>
                  <a:gd name="T3" fmla="*/ 564 h 564"/>
                  <a:gd name="T4" fmla="*/ 16 w 566"/>
                  <a:gd name="T5" fmla="*/ 564 h 564"/>
                  <a:gd name="T6" fmla="*/ 566 w 566"/>
                  <a:gd name="T7" fmla="*/ 14 h 564"/>
                  <a:gd name="T8" fmla="*/ 566 w 566"/>
                  <a:gd name="T9" fmla="*/ 0 h 564"/>
                </a:gdLst>
                <a:ahLst/>
                <a:cxnLst>
                  <a:cxn ang="0">
                    <a:pos x="T0" y="T1"/>
                  </a:cxn>
                  <a:cxn ang="0">
                    <a:pos x="T2" y="T3"/>
                  </a:cxn>
                  <a:cxn ang="0">
                    <a:pos x="T4" y="T5"/>
                  </a:cxn>
                  <a:cxn ang="0">
                    <a:pos x="T6" y="T7"/>
                  </a:cxn>
                  <a:cxn ang="0">
                    <a:pos x="T8" y="T9"/>
                  </a:cxn>
                </a:cxnLst>
                <a:rect l="0" t="0" r="r" b="b"/>
                <a:pathLst>
                  <a:path w="566" h="564">
                    <a:moveTo>
                      <a:pt x="566" y="0"/>
                    </a:moveTo>
                    <a:lnTo>
                      <a:pt x="0" y="564"/>
                    </a:lnTo>
                    <a:lnTo>
                      <a:pt x="16" y="564"/>
                    </a:lnTo>
                    <a:lnTo>
                      <a:pt x="566" y="14"/>
                    </a:lnTo>
                    <a:lnTo>
                      <a:pt x="56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95">
                <a:extLst>
                  <a:ext uri="{FF2B5EF4-FFF2-40B4-BE49-F238E27FC236}">
                    <a16:creationId xmlns:a16="http://schemas.microsoft.com/office/drawing/2014/main" id="{BD232589-B72D-4DC1-B639-575672421E64}"/>
                  </a:ext>
                </a:extLst>
              </p:cNvPr>
              <p:cNvSpPr>
                <a:spLocks/>
              </p:cNvSpPr>
              <p:nvPr/>
            </p:nvSpPr>
            <p:spPr bwMode="auto">
              <a:xfrm>
                <a:off x="18731866" y="4251325"/>
                <a:ext cx="42863" cy="63500"/>
              </a:xfrm>
              <a:custGeom>
                <a:avLst/>
                <a:gdLst>
                  <a:gd name="T0" fmla="*/ 27 w 27"/>
                  <a:gd name="T1" fmla="*/ 0 h 40"/>
                  <a:gd name="T2" fmla="*/ 0 w 27"/>
                  <a:gd name="T3" fmla="*/ 27 h 40"/>
                  <a:gd name="T4" fmla="*/ 0 w 27"/>
                  <a:gd name="T5" fmla="*/ 40 h 40"/>
                  <a:gd name="T6" fmla="*/ 27 w 27"/>
                  <a:gd name="T7" fmla="*/ 14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7"/>
                    </a:lnTo>
                    <a:lnTo>
                      <a:pt x="0" y="40"/>
                    </a:lnTo>
                    <a:lnTo>
                      <a:pt x="27" y="14"/>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96">
                <a:extLst>
                  <a:ext uri="{FF2B5EF4-FFF2-40B4-BE49-F238E27FC236}">
                    <a16:creationId xmlns:a16="http://schemas.microsoft.com/office/drawing/2014/main" id="{F61499AE-6BB0-4032-9E85-116E123F43F1}"/>
                  </a:ext>
                </a:extLst>
              </p:cNvPr>
              <p:cNvSpPr>
                <a:spLocks/>
              </p:cNvSpPr>
              <p:nvPr/>
            </p:nvSpPr>
            <p:spPr bwMode="auto">
              <a:xfrm>
                <a:off x="18731866" y="4251325"/>
                <a:ext cx="42863" cy="63500"/>
              </a:xfrm>
              <a:custGeom>
                <a:avLst/>
                <a:gdLst>
                  <a:gd name="T0" fmla="*/ 27 w 27"/>
                  <a:gd name="T1" fmla="*/ 0 h 40"/>
                  <a:gd name="T2" fmla="*/ 0 w 27"/>
                  <a:gd name="T3" fmla="*/ 27 h 40"/>
                  <a:gd name="T4" fmla="*/ 0 w 27"/>
                  <a:gd name="T5" fmla="*/ 40 h 40"/>
                  <a:gd name="T6" fmla="*/ 27 w 27"/>
                  <a:gd name="T7" fmla="*/ 14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7"/>
                    </a:lnTo>
                    <a:lnTo>
                      <a:pt x="0" y="40"/>
                    </a:lnTo>
                    <a:lnTo>
                      <a:pt x="27" y="14"/>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97">
                <a:extLst>
                  <a:ext uri="{FF2B5EF4-FFF2-40B4-BE49-F238E27FC236}">
                    <a16:creationId xmlns:a16="http://schemas.microsoft.com/office/drawing/2014/main" id="{39D1F10A-2285-49DE-96AB-917843E7AE04}"/>
                  </a:ext>
                </a:extLst>
              </p:cNvPr>
              <p:cNvSpPr>
                <a:spLocks/>
              </p:cNvSpPr>
              <p:nvPr/>
            </p:nvSpPr>
            <p:spPr bwMode="auto">
              <a:xfrm>
                <a:off x="17939703" y="4294188"/>
                <a:ext cx="792163" cy="788988"/>
              </a:xfrm>
              <a:custGeom>
                <a:avLst/>
                <a:gdLst>
                  <a:gd name="T0" fmla="*/ 499 w 499"/>
                  <a:gd name="T1" fmla="*/ 0 h 497"/>
                  <a:gd name="T2" fmla="*/ 0 w 499"/>
                  <a:gd name="T3" fmla="*/ 497 h 497"/>
                  <a:gd name="T4" fmla="*/ 16 w 499"/>
                  <a:gd name="T5" fmla="*/ 497 h 497"/>
                  <a:gd name="T6" fmla="*/ 499 w 499"/>
                  <a:gd name="T7" fmla="*/ 13 h 497"/>
                  <a:gd name="T8" fmla="*/ 499 w 499"/>
                  <a:gd name="T9" fmla="*/ 0 h 497"/>
                </a:gdLst>
                <a:ahLst/>
                <a:cxnLst>
                  <a:cxn ang="0">
                    <a:pos x="T0" y="T1"/>
                  </a:cxn>
                  <a:cxn ang="0">
                    <a:pos x="T2" y="T3"/>
                  </a:cxn>
                  <a:cxn ang="0">
                    <a:pos x="T4" y="T5"/>
                  </a:cxn>
                  <a:cxn ang="0">
                    <a:pos x="T6" y="T7"/>
                  </a:cxn>
                  <a:cxn ang="0">
                    <a:pos x="T8" y="T9"/>
                  </a:cxn>
                </a:cxnLst>
                <a:rect l="0" t="0" r="r" b="b"/>
                <a:pathLst>
                  <a:path w="499" h="497">
                    <a:moveTo>
                      <a:pt x="499" y="0"/>
                    </a:moveTo>
                    <a:lnTo>
                      <a:pt x="0" y="497"/>
                    </a:lnTo>
                    <a:lnTo>
                      <a:pt x="16" y="497"/>
                    </a:lnTo>
                    <a:lnTo>
                      <a:pt x="499" y="13"/>
                    </a:lnTo>
                    <a:lnTo>
                      <a:pt x="4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98">
                <a:extLst>
                  <a:ext uri="{FF2B5EF4-FFF2-40B4-BE49-F238E27FC236}">
                    <a16:creationId xmlns:a16="http://schemas.microsoft.com/office/drawing/2014/main" id="{89C24F97-9826-48F5-9E07-A7DFB9CAA3BA}"/>
                  </a:ext>
                </a:extLst>
              </p:cNvPr>
              <p:cNvSpPr>
                <a:spLocks/>
              </p:cNvSpPr>
              <p:nvPr/>
            </p:nvSpPr>
            <p:spPr bwMode="auto">
              <a:xfrm>
                <a:off x="17939703" y="4294188"/>
                <a:ext cx="792163" cy="788988"/>
              </a:xfrm>
              <a:custGeom>
                <a:avLst/>
                <a:gdLst>
                  <a:gd name="T0" fmla="*/ 499 w 499"/>
                  <a:gd name="T1" fmla="*/ 0 h 497"/>
                  <a:gd name="T2" fmla="*/ 0 w 499"/>
                  <a:gd name="T3" fmla="*/ 497 h 497"/>
                  <a:gd name="T4" fmla="*/ 16 w 499"/>
                  <a:gd name="T5" fmla="*/ 497 h 497"/>
                  <a:gd name="T6" fmla="*/ 499 w 499"/>
                  <a:gd name="T7" fmla="*/ 13 h 497"/>
                  <a:gd name="T8" fmla="*/ 499 w 499"/>
                  <a:gd name="T9" fmla="*/ 0 h 497"/>
                </a:gdLst>
                <a:ahLst/>
                <a:cxnLst>
                  <a:cxn ang="0">
                    <a:pos x="T0" y="T1"/>
                  </a:cxn>
                  <a:cxn ang="0">
                    <a:pos x="T2" y="T3"/>
                  </a:cxn>
                  <a:cxn ang="0">
                    <a:pos x="T4" y="T5"/>
                  </a:cxn>
                  <a:cxn ang="0">
                    <a:pos x="T6" y="T7"/>
                  </a:cxn>
                  <a:cxn ang="0">
                    <a:pos x="T8" y="T9"/>
                  </a:cxn>
                </a:cxnLst>
                <a:rect l="0" t="0" r="r" b="b"/>
                <a:pathLst>
                  <a:path w="499" h="497">
                    <a:moveTo>
                      <a:pt x="499" y="0"/>
                    </a:moveTo>
                    <a:lnTo>
                      <a:pt x="0" y="497"/>
                    </a:lnTo>
                    <a:lnTo>
                      <a:pt x="16" y="497"/>
                    </a:lnTo>
                    <a:lnTo>
                      <a:pt x="499" y="13"/>
                    </a:lnTo>
                    <a:lnTo>
                      <a:pt x="49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99">
                <a:extLst>
                  <a:ext uri="{FF2B5EF4-FFF2-40B4-BE49-F238E27FC236}">
                    <a16:creationId xmlns:a16="http://schemas.microsoft.com/office/drawing/2014/main" id="{E0944D8C-EC25-4349-9150-F83DA77930AD}"/>
                  </a:ext>
                </a:extLst>
              </p:cNvPr>
              <p:cNvSpPr>
                <a:spLocks/>
              </p:cNvSpPr>
              <p:nvPr/>
            </p:nvSpPr>
            <p:spPr bwMode="auto">
              <a:xfrm>
                <a:off x="18731866" y="4357688"/>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0">
                <a:extLst>
                  <a:ext uri="{FF2B5EF4-FFF2-40B4-BE49-F238E27FC236}">
                    <a16:creationId xmlns:a16="http://schemas.microsoft.com/office/drawing/2014/main" id="{F6A2A33B-9573-4580-B57E-BFBEE200DA75}"/>
                  </a:ext>
                </a:extLst>
              </p:cNvPr>
              <p:cNvSpPr>
                <a:spLocks/>
              </p:cNvSpPr>
              <p:nvPr/>
            </p:nvSpPr>
            <p:spPr bwMode="auto">
              <a:xfrm>
                <a:off x="18731866" y="4357688"/>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1">
                <a:extLst>
                  <a:ext uri="{FF2B5EF4-FFF2-40B4-BE49-F238E27FC236}">
                    <a16:creationId xmlns:a16="http://schemas.microsoft.com/office/drawing/2014/main" id="{3D8D15BC-8E88-46C1-9E41-5A23A9E0BF2C}"/>
                  </a:ext>
                </a:extLst>
              </p:cNvPr>
              <p:cNvSpPr>
                <a:spLocks/>
              </p:cNvSpPr>
              <p:nvPr/>
            </p:nvSpPr>
            <p:spPr bwMode="auto">
              <a:xfrm>
                <a:off x="18049241" y="4400550"/>
                <a:ext cx="682625" cy="682625"/>
              </a:xfrm>
              <a:custGeom>
                <a:avLst/>
                <a:gdLst>
                  <a:gd name="T0" fmla="*/ 430 w 430"/>
                  <a:gd name="T1" fmla="*/ 0 h 430"/>
                  <a:gd name="T2" fmla="*/ 0 w 430"/>
                  <a:gd name="T3" fmla="*/ 430 h 430"/>
                  <a:gd name="T4" fmla="*/ 14 w 430"/>
                  <a:gd name="T5" fmla="*/ 430 h 430"/>
                  <a:gd name="T6" fmla="*/ 430 w 430"/>
                  <a:gd name="T7" fmla="*/ 16 h 430"/>
                  <a:gd name="T8" fmla="*/ 430 w 430"/>
                  <a:gd name="T9" fmla="*/ 0 h 430"/>
                </a:gdLst>
                <a:ahLst/>
                <a:cxnLst>
                  <a:cxn ang="0">
                    <a:pos x="T0" y="T1"/>
                  </a:cxn>
                  <a:cxn ang="0">
                    <a:pos x="T2" y="T3"/>
                  </a:cxn>
                  <a:cxn ang="0">
                    <a:pos x="T4" y="T5"/>
                  </a:cxn>
                  <a:cxn ang="0">
                    <a:pos x="T6" y="T7"/>
                  </a:cxn>
                  <a:cxn ang="0">
                    <a:pos x="T8" y="T9"/>
                  </a:cxn>
                </a:cxnLst>
                <a:rect l="0" t="0" r="r" b="b"/>
                <a:pathLst>
                  <a:path w="430" h="430">
                    <a:moveTo>
                      <a:pt x="430" y="0"/>
                    </a:moveTo>
                    <a:lnTo>
                      <a:pt x="0" y="430"/>
                    </a:lnTo>
                    <a:lnTo>
                      <a:pt x="14" y="430"/>
                    </a:lnTo>
                    <a:lnTo>
                      <a:pt x="430" y="16"/>
                    </a:lnTo>
                    <a:lnTo>
                      <a:pt x="4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02">
                <a:extLst>
                  <a:ext uri="{FF2B5EF4-FFF2-40B4-BE49-F238E27FC236}">
                    <a16:creationId xmlns:a16="http://schemas.microsoft.com/office/drawing/2014/main" id="{55B5A3E9-5973-412C-8D4E-CEB8EBB785A1}"/>
                  </a:ext>
                </a:extLst>
              </p:cNvPr>
              <p:cNvSpPr>
                <a:spLocks/>
              </p:cNvSpPr>
              <p:nvPr/>
            </p:nvSpPr>
            <p:spPr bwMode="auto">
              <a:xfrm>
                <a:off x="18049241" y="4400550"/>
                <a:ext cx="682625" cy="682625"/>
              </a:xfrm>
              <a:custGeom>
                <a:avLst/>
                <a:gdLst>
                  <a:gd name="T0" fmla="*/ 430 w 430"/>
                  <a:gd name="T1" fmla="*/ 0 h 430"/>
                  <a:gd name="T2" fmla="*/ 0 w 430"/>
                  <a:gd name="T3" fmla="*/ 430 h 430"/>
                  <a:gd name="T4" fmla="*/ 14 w 430"/>
                  <a:gd name="T5" fmla="*/ 430 h 430"/>
                  <a:gd name="T6" fmla="*/ 430 w 430"/>
                  <a:gd name="T7" fmla="*/ 16 h 430"/>
                  <a:gd name="T8" fmla="*/ 430 w 430"/>
                  <a:gd name="T9" fmla="*/ 0 h 430"/>
                </a:gdLst>
                <a:ahLst/>
                <a:cxnLst>
                  <a:cxn ang="0">
                    <a:pos x="T0" y="T1"/>
                  </a:cxn>
                  <a:cxn ang="0">
                    <a:pos x="T2" y="T3"/>
                  </a:cxn>
                  <a:cxn ang="0">
                    <a:pos x="T4" y="T5"/>
                  </a:cxn>
                  <a:cxn ang="0">
                    <a:pos x="T6" y="T7"/>
                  </a:cxn>
                  <a:cxn ang="0">
                    <a:pos x="T8" y="T9"/>
                  </a:cxn>
                </a:cxnLst>
                <a:rect l="0" t="0" r="r" b="b"/>
                <a:pathLst>
                  <a:path w="430" h="430">
                    <a:moveTo>
                      <a:pt x="430" y="0"/>
                    </a:moveTo>
                    <a:lnTo>
                      <a:pt x="0" y="430"/>
                    </a:lnTo>
                    <a:lnTo>
                      <a:pt x="14" y="430"/>
                    </a:lnTo>
                    <a:lnTo>
                      <a:pt x="430" y="16"/>
                    </a:lnTo>
                    <a:lnTo>
                      <a:pt x="43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3">
                <a:extLst>
                  <a:ext uri="{FF2B5EF4-FFF2-40B4-BE49-F238E27FC236}">
                    <a16:creationId xmlns:a16="http://schemas.microsoft.com/office/drawing/2014/main" id="{144CE6BB-27E1-487E-A0A1-FC371372478D}"/>
                  </a:ext>
                </a:extLst>
              </p:cNvPr>
              <p:cNvSpPr>
                <a:spLocks/>
              </p:cNvSpPr>
              <p:nvPr/>
            </p:nvSpPr>
            <p:spPr bwMode="auto">
              <a:xfrm>
                <a:off x="18731866" y="4464050"/>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04">
                <a:extLst>
                  <a:ext uri="{FF2B5EF4-FFF2-40B4-BE49-F238E27FC236}">
                    <a16:creationId xmlns:a16="http://schemas.microsoft.com/office/drawing/2014/main" id="{735B10EE-4DB3-4424-A0F2-12C4C14EE38C}"/>
                  </a:ext>
                </a:extLst>
              </p:cNvPr>
              <p:cNvSpPr>
                <a:spLocks/>
              </p:cNvSpPr>
              <p:nvPr/>
            </p:nvSpPr>
            <p:spPr bwMode="auto">
              <a:xfrm>
                <a:off x="18731866" y="4464050"/>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05">
                <a:extLst>
                  <a:ext uri="{FF2B5EF4-FFF2-40B4-BE49-F238E27FC236}">
                    <a16:creationId xmlns:a16="http://schemas.microsoft.com/office/drawing/2014/main" id="{79F6A8A6-408F-4B31-B0B5-79E7C9107094}"/>
                  </a:ext>
                </a:extLst>
              </p:cNvPr>
              <p:cNvSpPr>
                <a:spLocks/>
              </p:cNvSpPr>
              <p:nvPr/>
            </p:nvSpPr>
            <p:spPr bwMode="auto">
              <a:xfrm>
                <a:off x="18155603" y="4506913"/>
                <a:ext cx="576263" cy="576263"/>
              </a:xfrm>
              <a:custGeom>
                <a:avLst/>
                <a:gdLst>
                  <a:gd name="T0" fmla="*/ 363 w 363"/>
                  <a:gd name="T1" fmla="*/ 0 h 363"/>
                  <a:gd name="T2" fmla="*/ 0 w 363"/>
                  <a:gd name="T3" fmla="*/ 363 h 363"/>
                  <a:gd name="T4" fmla="*/ 16 w 363"/>
                  <a:gd name="T5" fmla="*/ 363 h 363"/>
                  <a:gd name="T6" fmla="*/ 363 w 363"/>
                  <a:gd name="T7" fmla="*/ 16 h 363"/>
                  <a:gd name="T8" fmla="*/ 363 w 363"/>
                  <a:gd name="T9" fmla="*/ 0 h 363"/>
                </a:gdLst>
                <a:ahLst/>
                <a:cxnLst>
                  <a:cxn ang="0">
                    <a:pos x="T0" y="T1"/>
                  </a:cxn>
                  <a:cxn ang="0">
                    <a:pos x="T2" y="T3"/>
                  </a:cxn>
                  <a:cxn ang="0">
                    <a:pos x="T4" y="T5"/>
                  </a:cxn>
                  <a:cxn ang="0">
                    <a:pos x="T6" y="T7"/>
                  </a:cxn>
                  <a:cxn ang="0">
                    <a:pos x="T8" y="T9"/>
                  </a:cxn>
                </a:cxnLst>
                <a:rect l="0" t="0" r="r" b="b"/>
                <a:pathLst>
                  <a:path w="363" h="363">
                    <a:moveTo>
                      <a:pt x="363" y="0"/>
                    </a:moveTo>
                    <a:lnTo>
                      <a:pt x="0" y="363"/>
                    </a:lnTo>
                    <a:lnTo>
                      <a:pt x="16" y="363"/>
                    </a:lnTo>
                    <a:lnTo>
                      <a:pt x="363" y="16"/>
                    </a:lnTo>
                    <a:lnTo>
                      <a:pt x="3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06">
                <a:extLst>
                  <a:ext uri="{FF2B5EF4-FFF2-40B4-BE49-F238E27FC236}">
                    <a16:creationId xmlns:a16="http://schemas.microsoft.com/office/drawing/2014/main" id="{879F6EB3-B3FD-43F9-8C10-0FEF4B32B37A}"/>
                  </a:ext>
                </a:extLst>
              </p:cNvPr>
              <p:cNvSpPr>
                <a:spLocks/>
              </p:cNvSpPr>
              <p:nvPr/>
            </p:nvSpPr>
            <p:spPr bwMode="auto">
              <a:xfrm>
                <a:off x="18155603" y="4506913"/>
                <a:ext cx="576263" cy="576263"/>
              </a:xfrm>
              <a:custGeom>
                <a:avLst/>
                <a:gdLst>
                  <a:gd name="T0" fmla="*/ 363 w 363"/>
                  <a:gd name="T1" fmla="*/ 0 h 363"/>
                  <a:gd name="T2" fmla="*/ 0 w 363"/>
                  <a:gd name="T3" fmla="*/ 363 h 363"/>
                  <a:gd name="T4" fmla="*/ 16 w 363"/>
                  <a:gd name="T5" fmla="*/ 363 h 363"/>
                  <a:gd name="T6" fmla="*/ 363 w 363"/>
                  <a:gd name="T7" fmla="*/ 16 h 363"/>
                  <a:gd name="T8" fmla="*/ 363 w 363"/>
                  <a:gd name="T9" fmla="*/ 0 h 363"/>
                </a:gdLst>
                <a:ahLst/>
                <a:cxnLst>
                  <a:cxn ang="0">
                    <a:pos x="T0" y="T1"/>
                  </a:cxn>
                  <a:cxn ang="0">
                    <a:pos x="T2" y="T3"/>
                  </a:cxn>
                  <a:cxn ang="0">
                    <a:pos x="T4" y="T5"/>
                  </a:cxn>
                  <a:cxn ang="0">
                    <a:pos x="T6" y="T7"/>
                  </a:cxn>
                  <a:cxn ang="0">
                    <a:pos x="T8" y="T9"/>
                  </a:cxn>
                </a:cxnLst>
                <a:rect l="0" t="0" r="r" b="b"/>
                <a:pathLst>
                  <a:path w="363" h="363">
                    <a:moveTo>
                      <a:pt x="363" y="0"/>
                    </a:moveTo>
                    <a:lnTo>
                      <a:pt x="0" y="363"/>
                    </a:lnTo>
                    <a:lnTo>
                      <a:pt x="16" y="363"/>
                    </a:lnTo>
                    <a:lnTo>
                      <a:pt x="363" y="16"/>
                    </a:lnTo>
                    <a:lnTo>
                      <a:pt x="36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07">
                <a:extLst>
                  <a:ext uri="{FF2B5EF4-FFF2-40B4-BE49-F238E27FC236}">
                    <a16:creationId xmlns:a16="http://schemas.microsoft.com/office/drawing/2014/main" id="{0B558F8F-1AD0-4B41-A8F8-9179C399E1EB}"/>
                  </a:ext>
                </a:extLst>
              </p:cNvPr>
              <p:cNvSpPr>
                <a:spLocks/>
              </p:cNvSpPr>
              <p:nvPr/>
            </p:nvSpPr>
            <p:spPr bwMode="auto">
              <a:xfrm>
                <a:off x="18731866" y="4573588"/>
                <a:ext cx="42863" cy="65088"/>
              </a:xfrm>
              <a:custGeom>
                <a:avLst/>
                <a:gdLst>
                  <a:gd name="T0" fmla="*/ 27 w 27"/>
                  <a:gd name="T1" fmla="*/ 0 h 41"/>
                  <a:gd name="T2" fmla="*/ 0 w 27"/>
                  <a:gd name="T3" fmla="*/ 27 h 41"/>
                  <a:gd name="T4" fmla="*/ 0 w 27"/>
                  <a:gd name="T5" fmla="*/ 41 h 41"/>
                  <a:gd name="T6" fmla="*/ 27 w 27"/>
                  <a:gd name="T7" fmla="*/ 14 h 41"/>
                  <a:gd name="T8" fmla="*/ 27 w 27"/>
                  <a:gd name="T9" fmla="*/ 0 h 41"/>
                </a:gdLst>
                <a:ahLst/>
                <a:cxnLst>
                  <a:cxn ang="0">
                    <a:pos x="T0" y="T1"/>
                  </a:cxn>
                  <a:cxn ang="0">
                    <a:pos x="T2" y="T3"/>
                  </a:cxn>
                  <a:cxn ang="0">
                    <a:pos x="T4" y="T5"/>
                  </a:cxn>
                  <a:cxn ang="0">
                    <a:pos x="T6" y="T7"/>
                  </a:cxn>
                  <a:cxn ang="0">
                    <a:pos x="T8" y="T9"/>
                  </a:cxn>
                </a:cxnLst>
                <a:rect l="0" t="0" r="r" b="b"/>
                <a:pathLst>
                  <a:path w="27" h="41">
                    <a:moveTo>
                      <a:pt x="27" y="0"/>
                    </a:moveTo>
                    <a:lnTo>
                      <a:pt x="0" y="27"/>
                    </a:lnTo>
                    <a:lnTo>
                      <a:pt x="0" y="41"/>
                    </a:lnTo>
                    <a:lnTo>
                      <a:pt x="27" y="14"/>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08">
                <a:extLst>
                  <a:ext uri="{FF2B5EF4-FFF2-40B4-BE49-F238E27FC236}">
                    <a16:creationId xmlns:a16="http://schemas.microsoft.com/office/drawing/2014/main" id="{28155991-5256-4A74-87F0-EBB41E9E41BE}"/>
                  </a:ext>
                </a:extLst>
              </p:cNvPr>
              <p:cNvSpPr>
                <a:spLocks/>
              </p:cNvSpPr>
              <p:nvPr/>
            </p:nvSpPr>
            <p:spPr bwMode="auto">
              <a:xfrm>
                <a:off x="18731866" y="4573588"/>
                <a:ext cx="42863" cy="65088"/>
              </a:xfrm>
              <a:custGeom>
                <a:avLst/>
                <a:gdLst>
                  <a:gd name="T0" fmla="*/ 27 w 27"/>
                  <a:gd name="T1" fmla="*/ 0 h 41"/>
                  <a:gd name="T2" fmla="*/ 0 w 27"/>
                  <a:gd name="T3" fmla="*/ 27 h 41"/>
                  <a:gd name="T4" fmla="*/ 0 w 27"/>
                  <a:gd name="T5" fmla="*/ 41 h 41"/>
                  <a:gd name="T6" fmla="*/ 27 w 27"/>
                  <a:gd name="T7" fmla="*/ 14 h 41"/>
                  <a:gd name="T8" fmla="*/ 27 w 27"/>
                  <a:gd name="T9" fmla="*/ 0 h 41"/>
                </a:gdLst>
                <a:ahLst/>
                <a:cxnLst>
                  <a:cxn ang="0">
                    <a:pos x="T0" y="T1"/>
                  </a:cxn>
                  <a:cxn ang="0">
                    <a:pos x="T2" y="T3"/>
                  </a:cxn>
                  <a:cxn ang="0">
                    <a:pos x="T4" y="T5"/>
                  </a:cxn>
                  <a:cxn ang="0">
                    <a:pos x="T6" y="T7"/>
                  </a:cxn>
                  <a:cxn ang="0">
                    <a:pos x="T8" y="T9"/>
                  </a:cxn>
                </a:cxnLst>
                <a:rect l="0" t="0" r="r" b="b"/>
                <a:pathLst>
                  <a:path w="27" h="41">
                    <a:moveTo>
                      <a:pt x="27" y="0"/>
                    </a:moveTo>
                    <a:lnTo>
                      <a:pt x="0" y="27"/>
                    </a:lnTo>
                    <a:lnTo>
                      <a:pt x="0" y="41"/>
                    </a:lnTo>
                    <a:lnTo>
                      <a:pt x="27" y="14"/>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09">
                <a:extLst>
                  <a:ext uri="{FF2B5EF4-FFF2-40B4-BE49-F238E27FC236}">
                    <a16:creationId xmlns:a16="http://schemas.microsoft.com/office/drawing/2014/main" id="{11C6188E-77B2-4902-8730-E6DC45C36938}"/>
                  </a:ext>
                </a:extLst>
              </p:cNvPr>
              <p:cNvSpPr>
                <a:spLocks/>
              </p:cNvSpPr>
              <p:nvPr/>
            </p:nvSpPr>
            <p:spPr bwMode="auto">
              <a:xfrm>
                <a:off x="18261966" y="4616450"/>
                <a:ext cx="469900" cy="466725"/>
              </a:xfrm>
              <a:custGeom>
                <a:avLst/>
                <a:gdLst>
                  <a:gd name="T0" fmla="*/ 296 w 296"/>
                  <a:gd name="T1" fmla="*/ 0 h 294"/>
                  <a:gd name="T2" fmla="*/ 0 w 296"/>
                  <a:gd name="T3" fmla="*/ 294 h 294"/>
                  <a:gd name="T4" fmla="*/ 16 w 296"/>
                  <a:gd name="T5" fmla="*/ 294 h 294"/>
                  <a:gd name="T6" fmla="*/ 296 w 296"/>
                  <a:gd name="T7" fmla="*/ 14 h 294"/>
                  <a:gd name="T8" fmla="*/ 296 w 296"/>
                  <a:gd name="T9" fmla="*/ 0 h 294"/>
                </a:gdLst>
                <a:ahLst/>
                <a:cxnLst>
                  <a:cxn ang="0">
                    <a:pos x="T0" y="T1"/>
                  </a:cxn>
                  <a:cxn ang="0">
                    <a:pos x="T2" y="T3"/>
                  </a:cxn>
                  <a:cxn ang="0">
                    <a:pos x="T4" y="T5"/>
                  </a:cxn>
                  <a:cxn ang="0">
                    <a:pos x="T6" y="T7"/>
                  </a:cxn>
                  <a:cxn ang="0">
                    <a:pos x="T8" y="T9"/>
                  </a:cxn>
                </a:cxnLst>
                <a:rect l="0" t="0" r="r" b="b"/>
                <a:pathLst>
                  <a:path w="296" h="294">
                    <a:moveTo>
                      <a:pt x="296" y="0"/>
                    </a:moveTo>
                    <a:lnTo>
                      <a:pt x="0" y="294"/>
                    </a:lnTo>
                    <a:lnTo>
                      <a:pt x="16" y="294"/>
                    </a:lnTo>
                    <a:lnTo>
                      <a:pt x="296" y="14"/>
                    </a:lnTo>
                    <a:lnTo>
                      <a:pt x="2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0">
                <a:extLst>
                  <a:ext uri="{FF2B5EF4-FFF2-40B4-BE49-F238E27FC236}">
                    <a16:creationId xmlns:a16="http://schemas.microsoft.com/office/drawing/2014/main" id="{5450AB25-4951-455A-A929-23461D4BF69A}"/>
                  </a:ext>
                </a:extLst>
              </p:cNvPr>
              <p:cNvSpPr>
                <a:spLocks/>
              </p:cNvSpPr>
              <p:nvPr/>
            </p:nvSpPr>
            <p:spPr bwMode="auto">
              <a:xfrm>
                <a:off x="18261966" y="4616450"/>
                <a:ext cx="469900" cy="466725"/>
              </a:xfrm>
              <a:custGeom>
                <a:avLst/>
                <a:gdLst>
                  <a:gd name="T0" fmla="*/ 296 w 296"/>
                  <a:gd name="T1" fmla="*/ 0 h 294"/>
                  <a:gd name="T2" fmla="*/ 0 w 296"/>
                  <a:gd name="T3" fmla="*/ 294 h 294"/>
                  <a:gd name="T4" fmla="*/ 16 w 296"/>
                  <a:gd name="T5" fmla="*/ 294 h 294"/>
                  <a:gd name="T6" fmla="*/ 296 w 296"/>
                  <a:gd name="T7" fmla="*/ 14 h 294"/>
                  <a:gd name="T8" fmla="*/ 296 w 296"/>
                  <a:gd name="T9" fmla="*/ 0 h 294"/>
                </a:gdLst>
                <a:ahLst/>
                <a:cxnLst>
                  <a:cxn ang="0">
                    <a:pos x="T0" y="T1"/>
                  </a:cxn>
                  <a:cxn ang="0">
                    <a:pos x="T2" y="T3"/>
                  </a:cxn>
                  <a:cxn ang="0">
                    <a:pos x="T4" y="T5"/>
                  </a:cxn>
                  <a:cxn ang="0">
                    <a:pos x="T6" y="T7"/>
                  </a:cxn>
                  <a:cxn ang="0">
                    <a:pos x="T8" y="T9"/>
                  </a:cxn>
                </a:cxnLst>
                <a:rect l="0" t="0" r="r" b="b"/>
                <a:pathLst>
                  <a:path w="296" h="294">
                    <a:moveTo>
                      <a:pt x="296" y="0"/>
                    </a:moveTo>
                    <a:lnTo>
                      <a:pt x="0" y="294"/>
                    </a:lnTo>
                    <a:lnTo>
                      <a:pt x="16" y="294"/>
                    </a:lnTo>
                    <a:lnTo>
                      <a:pt x="296" y="14"/>
                    </a:lnTo>
                    <a:lnTo>
                      <a:pt x="29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1">
                <a:extLst>
                  <a:ext uri="{FF2B5EF4-FFF2-40B4-BE49-F238E27FC236}">
                    <a16:creationId xmlns:a16="http://schemas.microsoft.com/office/drawing/2014/main" id="{B7B98C07-6A0A-4CA0-AD8D-4087FA8FAA7B}"/>
                  </a:ext>
                </a:extLst>
              </p:cNvPr>
              <p:cNvSpPr>
                <a:spLocks/>
              </p:cNvSpPr>
              <p:nvPr/>
            </p:nvSpPr>
            <p:spPr bwMode="auto">
              <a:xfrm>
                <a:off x="18731866" y="4679950"/>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12">
                <a:extLst>
                  <a:ext uri="{FF2B5EF4-FFF2-40B4-BE49-F238E27FC236}">
                    <a16:creationId xmlns:a16="http://schemas.microsoft.com/office/drawing/2014/main" id="{047BF5C1-914A-4F39-9082-80FED7D40865}"/>
                  </a:ext>
                </a:extLst>
              </p:cNvPr>
              <p:cNvSpPr>
                <a:spLocks/>
              </p:cNvSpPr>
              <p:nvPr/>
            </p:nvSpPr>
            <p:spPr bwMode="auto">
              <a:xfrm>
                <a:off x="18731866" y="4679950"/>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13">
                <a:extLst>
                  <a:ext uri="{FF2B5EF4-FFF2-40B4-BE49-F238E27FC236}">
                    <a16:creationId xmlns:a16="http://schemas.microsoft.com/office/drawing/2014/main" id="{C994203E-EBA3-48C7-97CB-3BB36511DE82}"/>
                  </a:ext>
                </a:extLst>
              </p:cNvPr>
              <p:cNvSpPr>
                <a:spLocks/>
              </p:cNvSpPr>
              <p:nvPr/>
            </p:nvSpPr>
            <p:spPr bwMode="auto">
              <a:xfrm>
                <a:off x="18371503" y="4722813"/>
                <a:ext cx="360363" cy="360363"/>
              </a:xfrm>
              <a:custGeom>
                <a:avLst/>
                <a:gdLst>
                  <a:gd name="T0" fmla="*/ 227 w 227"/>
                  <a:gd name="T1" fmla="*/ 0 h 227"/>
                  <a:gd name="T2" fmla="*/ 0 w 227"/>
                  <a:gd name="T3" fmla="*/ 227 h 227"/>
                  <a:gd name="T4" fmla="*/ 13 w 227"/>
                  <a:gd name="T5" fmla="*/ 227 h 227"/>
                  <a:gd name="T6" fmla="*/ 227 w 227"/>
                  <a:gd name="T7" fmla="*/ 16 h 227"/>
                  <a:gd name="T8" fmla="*/ 227 w 227"/>
                  <a:gd name="T9" fmla="*/ 0 h 227"/>
                </a:gdLst>
                <a:ahLst/>
                <a:cxnLst>
                  <a:cxn ang="0">
                    <a:pos x="T0" y="T1"/>
                  </a:cxn>
                  <a:cxn ang="0">
                    <a:pos x="T2" y="T3"/>
                  </a:cxn>
                  <a:cxn ang="0">
                    <a:pos x="T4" y="T5"/>
                  </a:cxn>
                  <a:cxn ang="0">
                    <a:pos x="T6" y="T7"/>
                  </a:cxn>
                  <a:cxn ang="0">
                    <a:pos x="T8" y="T9"/>
                  </a:cxn>
                </a:cxnLst>
                <a:rect l="0" t="0" r="r" b="b"/>
                <a:pathLst>
                  <a:path w="227" h="227">
                    <a:moveTo>
                      <a:pt x="227" y="0"/>
                    </a:moveTo>
                    <a:lnTo>
                      <a:pt x="0" y="227"/>
                    </a:lnTo>
                    <a:lnTo>
                      <a:pt x="13" y="227"/>
                    </a:lnTo>
                    <a:lnTo>
                      <a:pt x="227" y="16"/>
                    </a:lnTo>
                    <a:lnTo>
                      <a:pt x="2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14">
                <a:extLst>
                  <a:ext uri="{FF2B5EF4-FFF2-40B4-BE49-F238E27FC236}">
                    <a16:creationId xmlns:a16="http://schemas.microsoft.com/office/drawing/2014/main" id="{87C3C231-3013-4B80-97FB-253427EFB995}"/>
                  </a:ext>
                </a:extLst>
              </p:cNvPr>
              <p:cNvSpPr>
                <a:spLocks/>
              </p:cNvSpPr>
              <p:nvPr/>
            </p:nvSpPr>
            <p:spPr bwMode="auto">
              <a:xfrm>
                <a:off x="18371503" y="4722813"/>
                <a:ext cx="360363" cy="360363"/>
              </a:xfrm>
              <a:custGeom>
                <a:avLst/>
                <a:gdLst>
                  <a:gd name="T0" fmla="*/ 227 w 227"/>
                  <a:gd name="T1" fmla="*/ 0 h 227"/>
                  <a:gd name="T2" fmla="*/ 0 w 227"/>
                  <a:gd name="T3" fmla="*/ 227 h 227"/>
                  <a:gd name="T4" fmla="*/ 13 w 227"/>
                  <a:gd name="T5" fmla="*/ 227 h 227"/>
                  <a:gd name="T6" fmla="*/ 227 w 227"/>
                  <a:gd name="T7" fmla="*/ 16 h 227"/>
                  <a:gd name="T8" fmla="*/ 227 w 227"/>
                  <a:gd name="T9" fmla="*/ 0 h 227"/>
                </a:gdLst>
                <a:ahLst/>
                <a:cxnLst>
                  <a:cxn ang="0">
                    <a:pos x="T0" y="T1"/>
                  </a:cxn>
                  <a:cxn ang="0">
                    <a:pos x="T2" y="T3"/>
                  </a:cxn>
                  <a:cxn ang="0">
                    <a:pos x="T4" y="T5"/>
                  </a:cxn>
                  <a:cxn ang="0">
                    <a:pos x="T6" y="T7"/>
                  </a:cxn>
                  <a:cxn ang="0">
                    <a:pos x="T8" y="T9"/>
                  </a:cxn>
                </a:cxnLst>
                <a:rect l="0" t="0" r="r" b="b"/>
                <a:pathLst>
                  <a:path w="227" h="227">
                    <a:moveTo>
                      <a:pt x="227" y="0"/>
                    </a:moveTo>
                    <a:lnTo>
                      <a:pt x="0" y="227"/>
                    </a:lnTo>
                    <a:lnTo>
                      <a:pt x="13" y="227"/>
                    </a:lnTo>
                    <a:lnTo>
                      <a:pt x="227" y="16"/>
                    </a:lnTo>
                    <a:lnTo>
                      <a:pt x="2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15">
                <a:extLst>
                  <a:ext uri="{FF2B5EF4-FFF2-40B4-BE49-F238E27FC236}">
                    <a16:creationId xmlns:a16="http://schemas.microsoft.com/office/drawing/2014/main" id="{C7DAC299-DDAB-4D97-9AEB-99E4901686FE}"/>
                  </a:ext>
                </a:extLst>
              </p:cNvPr>
              <p:cNvSpPr>
                <a:spLocks/>
              </p:cNvSpPr>
              <p:nvPr/>
            </p:nvSpPr>
            <p:spPr bwMode="auto">
              <a:xfrm>
                <a:off x="18731866" y="478631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16">
                <a:extLst>
                  <a:ext uri="{FF2B5EF4-FFF2-40B4-BE49-F238E27FC236}">
                    <a16:creationId xmlns:a16="http://schemas.microsoft.com/office/drawing/2014/main" id="{CCD317CF-EC93-4CDC-843E-014068A05F2B}"/>
                  </a:ext>
                </a:extLst>
              </p:cNvPr>
              <p:cNvSpPr>
                <a:spLocks/>
              </p:cNvSpPr>
              <p:nvPr/>
            </p:nvSpPr>
            <p:spPr bwMode="auto">
              <a:xfrm>
                <a:off x="18731866" y="4786313"/>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17">
                <a:extLst>
                  <a:ext uri="{FF2B5EF4-FFF2-40B4-BE49-F238E27FC236}">
                    <a16:creationId xmlns:a16="http://schemas.microsoft.com/office/drawing/2014/main" id="{C62E3943-BD12-4C27-939C-F4449F756EC8}"/>
                  </a:ext>
                </a:extLst>
              </p:cNvPr>
              <p:cNvSpPr>
                <a:spLocks/>
              </p:cNvSpPr>
              <p:nvPr/>
            </p:nvSpPr>
            <p:spPr bwMode="auto">
              <a:xfrm>
                <a:off x="18477866" y="4829175"/>
                <a:ext cx="254000" cy="254000"/>
              </a:xfrm>
              <a:custGeom>
                <a:avLst/>
                <a:gdLst>
                  <a:gd name="T0" fmla="*/ 160 w 160"/>
                  <a:gd name="T1" fmla="*/ 0 h 160"/>
                  <a:gd name="T2" fmla="*/ 0 w 160"/>
                  <a:gd name="T3" fmla="*/ 160 h 160"/>
                  <a:gd name="T4" fmla="*/ 13 w 160"/>
                  <a:gd name="T5" fmla="*/ 160 h 160"/>
                  <a:gd name="T6" fmla="*/ 160 w 160"/>
                  <a:gd name="T7" fmla="*/ 16 h 160"/>
                  <a:gd name="T8" fmla="*/ 160 w 160"/>
                  <a:gd name="T9" fmla="*/ 0 h 160"/>
                </a:gdLst>
                <a:ahLst/>
                <a:cxnLst>
                  <a:cxn ang="0">
                    <a:pos x="T0" y="T1"/>
                  </a:cxn>
                  <a:cxn ang="0">
                    <a:pos x="T2" y="T3"/>
                  </a:cxn>
                  <a:cxn ang="0">
                    <a:pos x="T4" y="T5"/>
                  </a:cxn>
                  <a:cxn ang="0">
                    <a:pos x="T6" y="T7"/>
                  </a:cxn>
                  <a:cxn ang="0">
                    <a:pos x="T8" y="T9"/>
                  </a:cxn>
                </a:cxnLst>
                <a:rect l="0" t="0" r="r" b="b"/>
                <a:pathLst>
                  <a:path w="160" h="160">
                    <a:moveTo>
                      <a:pt x="160" y="0"/>
                    </a:moveTo>
                    <a:lnTo>
                      <a:pt x="0" y="160"/>
                    </a:lnTo>
                    <a:lnTo>
                      <a:pt x="13" y="160"/>
                    </a:lnTo>
                    <a:lnTo>
                      <a:pt x="160" y="16"/>
                    </a:lnTo>
                    <a:lnTo>
                      <a:pt x="1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18">
                <a:extLst>
                  <a:ext uri="{FF2B5EF4-FFF2-40B4-BE49-F238E27FC236}">
                    <a16:creationId xmlns:a16="http://schemas.microsoft.com/office/drawing/2014/main" id="{C137AFE9-62E1-4796-9B75-A735CAD4E174}"/>
                  </a:ext>
                </a:extLst>
              </p:cNvPr>
              <p:cNvSpPr>
                <a:spLocks/>
              </p:cNvSpPr>
              <p:nvPr/>
            </p:nvSpPr>
            <p:spPr bwMode="auto">
              <a:xfrm>
                <a:off x="18477866" y="4829175"/>
                <a:ext cx="254000" cy="254000"/>
              </a:xfrm>
              <a:custGeom>
                <a:avLst/>
                <a:gdLst>
                  <a:gd name="T0" fmla="*/ 160 w 160"/>
                  <a:gd name="T1" fmla="*/ 0 h 160"/>
                  <a:gd name="T2" fmla="*/ 0 w 160"/>
                  <a:gd name="T3" fmla="*/ 160 h 160"/>
                  <a:gd name="T4" fmla="*/ 13 w 160"/>
                  <a:gd name="T5" fmla="*/ 160 h 160"/>
                  <a:gd name="T6" fmla="*/ 160 w 160"/>
                  <a:gd name="T7" fmla="*/ 16 h 160"/>
                  <a:gd name="T8" fmla="*/ 160 w 160"/>
                  <a:gd name="T9" fmla="*/ 0 h 160"/>
                </a:gdLst>
                <a:ahLst/>
                <a:cxnLst>
                  <a:cxn ang="0">
                    <a:pos x="T0" y="T1"/>
                  </a:cxn>
                  <a:cxn ang="0">
                    <a:pos x="T2" y="T3"/>
                  </a:cxn>
                  <a:cxn ang="0">
                    <a:pos x="T4" y="T5"/>
                  </a:cxn>
                  <a:cxn ang="0">
                    <a:pos x="T6" y="T7"/>
                  </a:cxn>
                  <a:cxn ang="0">
                    <a:pos x="T8" y="T9"/>
                  </a:cxn>
                </a:cxnLst>
                <a:rect l="0" t="0" r="r" b="b"/>
                <a:pathLst>
                  <a:path w="160" h="160">
                    <a:moveTo>
                      <a:pt x="160" y="0"/>
                    </a:moveTo>
                    <a:lnTo>
                      <a:pt x="0" y="160"/>
                    </a:lnTo>
                    <a:lnTo>
                      <a:pt x="13" y="160"/>
                    </a:lnTo>
                    <a:lnTo>
                      <a:pt x="160" y="16"/>
                    </a:lnTo>
                    <a:lnTo>
                      <a:pt x="16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19">
                <a:extLst>
                  <a:ext uri="{FF2B5EF4-FFF2-40B4-BE49-F238E27FC236}">
                    <a16:creationId xmlns:a16="http://schemas.microsoft.com/office/drawing/2014/main" id="{44C8BB58-E80B-4485-8877-6F8CA875FC86}"/>
                  </a:ext>
                </a:extLst>
              </p:cNvPr>
              <p:cNvSpPr>
                <a:spLocks/>
              </p:cNvSpPr>
              <p:nvPr/>
            </p:nvSpPr>
            <p:spPr bwMode="auto">
              <a:xfrm>
                <a:off x="18731866" y="4892675"/>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20">
                <a:extLst>
                  <a:ext uri="{FF2B5EF4-FFF2-40B4-BE49-F238E27FC236}">
                    <a16:creationId xmlns:a16="http://schemas.microsoft.com/office/drawing/2014/main" id="{C1977693-4DD4-4749-8B81-7095CCD45D56}"/>
                  </a:ext>
                </a:extLst>
              </p:cNvPr>
              <p:cNvSpPr>
                <a:spLocks/>
              </p:cNvSpPr>
              <p:nvPr/>
            </p:nvSpPr>
            <p:spPr bwMode="auto">
              <a:xfrm>
                <a:off x="18731866" y="4892675"/>
                <a:ext cx="42863" cy="68263"/>
              </a:xfrm>
              <a:custGeom>
                <a:avLst/>
                <a:gdLst>
                  <a:gd name="T0" fmla="*/ 27 w 27"/>
                  <a:gd name="T1" fmla="*/ 0 h 43"/>
                  <a:gd name="T2" fmla="*/ 0 w 27"/>
                  <a:gd name="T3" fmla="*/ 27 h 43"/>
                  <a:gd name="T4" fmla="*/ 0 w 27"/>
                  <a:gd name="T5" fmla="*/ 43 h 43"/>
                  <a:gd name="T6" fmla="*/ 27 w 27"/>
                  <a:gd name="T7" fmla="*/ 16 h 43"/>
                  <a:gd name="T8" fmla="*/ 27 w 27"/>
                  <a:gd name="T9" fmla="*/ 0 h 43"/>
                </a:gdLst>
                <a:ahLst/>
                <a:cxnLst>
                  <a:cxn ang="0">
                    <a:pos x="T0" y="T1"/>
                  </a:cxn>
                  <a:cxn ang="0">
                    <a:pos x="T2" y="T3"/>
                  </a:cxn>
                  <a:cxn ang="0">
                    <a:pos x="T4" y="T5"/>
                  </a:cxn>
                  <a:cxn ang="0">
                    <a:pos x="T6" y="T7"/>
                  </a:cxn>
                  <a:cxn ang="0">
                    <a:pos x="T8" y="T9"/>
                  </a:cxn>
                </a:cxnLst>
                <a:rect l="0" t="0" r="r" b="b"/>
                <a:pathLst>
                  <a:path w="27" h="43">
                    <a:moveTo>
                      <a:pt x="27" y="0"/>
                    </a:moveTo>
                    <a:lnTo>
                      <a:pt x="0" y="27"/>
                    </a:lnTo>
                    <a:lnTo>
                      <a:pt x="0" y="43"/>
                    </a:lnTo>
                    <a:lnTo>
                      <a:pt x="27" y="16"/>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21">
                <a:extLst>
                  <a:ext uri="{FF2B5EF4-FFF2-40B4-BE49-F238E27FC236}">
                    <a16:creationId xmlns:a16="http://schemas.microsoft.com/office/drawing/2014/main" id="{95F283E1-128C-4A39-A6A5-AA6DE6B2BEDB}"/>
                  </a:ext>
                </a:extLst>
              </p:cNvPr>
              <p:cNvSpPr>
                <a:spLocks/>
              </p:cNvSpPr>
              <p:nvPr/>
            </p:nvSpPr>
            <p:spPr bwMode="auto">
              <a:xfrm>
                <a:off x="18584228" y="4935538"/>
                <a:ext cx="147638" cy="147638"/>
              </a:xfrm>
              <a:custGeom>
                <a:avLst/>
                <a:gdLst>
                  <a:gd name="T0" fmla="*/ 93 w 93"/>
                  <a:gd name="T1" fmla="*/ 0 h 93"/>
                  <a:gd name="T2" fmla="*/ 0 w 93"/>
                  <a:gd name="T3" fmla="*/ 93 h 93"/>
                  <a:gd name="T4" fmla="*/ 16 w 93"/>
                  <a:gd name="T5" fmla="*/ 93 h 93"/>
                  <a:gd name="T6" fmla="*/ 93 w 93"/>
                  <a:gd name="T7" fmla="*/ 16 h 93"/>
                  <a:gd name="T8" fmla="*/ 93 w 93"/>
                  <a:gd name="T9" fmla="*/ 0 h 93"/>
                </a:gdLst>
                <a:ahLst/>
                <a:cxnLst>
                  <a:cxn ang="0">
                    <a:pos x="T0" y="T1"/>
                  </a:cxn>
                  <a:cxn ang="0">
                    <a:pos x="T2" y="T3"/>
                  </a:cxn>
                  <a:cxn ang="0">
                    <a:pos x="T4" y="T5"/>
                  </a:cxn>
                  <a:cxn ang="0">
                    <a:pos x="T6" y="T7"/>
                  </a:cxn>
                  <a:cxn ang="0">
                    <a:pos x="T8" y="T9"/>
                  </a:cxn>
                </a:cxnLst>
                <a:rect l="0" t="0" r="r" b="b"/>
                <a:pathLst>
                  <a:path w="93" h="93">
                    <a:moveTo>
                      <a:pt x="93" y="0"/>
                    </a:moveTo>
                    <a:lnTo>
                      <a:pt x="0" y="93"/>
                    </a:lnTo>
                    <a:lnTo>
                      <a:pt x="16" y="93"/>
                    </a:lnTo>
                    <a:lnTo>
                      <a:pt x="93" y="16"/>
                    </a:lnTo>
                    <a:lnTo>
                      <a:pt x="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22">
                <a:extLst>
                  <a:ext uri="{FF2B5EF4-FFF2-40B4-BE49-F238E27FC236}">
                    <a16:creationId xmlns:a16="http://schemas.microsoft.com/office/drawing/2014/main" id="{7CE016C5-1073-42E6-99EE-DD659E01B964}"/>
                  </a:ext>
                </a:extLst>
              </p:cNvPr>
              <p:cNvSpPr>
                <a:spLocks/>
              </p:cNvSpPr>
              <p:nvPr/>
            </p:nvSpPr>
            <p:spPr bwMode="auto">
              <a:xfrm>
                <a:off x="18584228" y="4935538"/>
                <a:ext cx="147638" cy="147638"/>
              </a:xfrm>
              <a:custGeom>
                <a:avLst/>
                <a:gdLst>
                  <a:gd name="T0" fmla="*/ 93 w 93"/>
                  <a:gd name="T1" fmla="*/ 0 h 93"/>
                  <a:gd name="T2" fmla="*/ 0 w 93"/>
                  <a:gd name="T3" fmla="*/ 93 h 93"/>
                  <a:gd name="T4" fmla="*/ 16 w 93"/>
                  <a:gd name="T5" fmla="*/ 93 h 93"/>
                  <a:gd name="T6" fmla="*/ 93 w 93"/>
                  <a:gd name="T7" fmla="*/ 16 h 93"/>
                  <a:gd name="T8" fmla="*/ 93 w 93"/>
                  <a:gd name="T9" fmla="*/ 0 h 93"/>
                </a:gdLst>
                <a:ahLst/>
                <a:cxnLst>
                  <a:cxn ang="0">
                    <a:pos x="T0" y="T1"/>
                  </a:cxn>
                  <a:cxn ang="0">
                    <a:pos x="T2" y="T3"/>
                  </a:cxn>
                  <a:cxn ang="0">
                    <a:pos x="T4" y="T5"/>
                  </a:cxn>
                  <a:cxn ang="0">
                    <a:pos x="T6" y="T7"/>
                  </a:cxn>
                  <a:cxn ang="0">
                    <a:pos x="T8" y="T9"/>
                  </a:cxn>
                </a:cxnLst>
                <a:rect l="0" t="0" r="r" b="b"/>
                <a:pathLst>
                  <a:path w="93" h="93">
                    <a:moveTo>
                      <a:pt x="93" y="0"/>
                    </a:moveTo>
                    <a:lnTo>
                      <a:pt x="0" y="93"/>
                    </a:lnTo>
                    <a:lnTo>
                      <a:pt x="16" y="93"/>
                    </a:lnTo>
                    <a:lnTo>
                      <a:pt x="93" y="16"/>
                    </a:lnTo>
                    <a:lnTo>
                      <a:pt x="9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23">
                <a:extLst>
                  <a:ext uri="{FF2B5EF4-FFF2-40B4-BE49-F238E27FC236}">
                    <a16:creationId xmlns:a16="http://schemas.microsoft.com/office/drawing/2014/main" id="{E785F684-C0D3-4BD9-A83A-346B28BE656A}"/>
                  </a:ext>
                </a:extLst>
              </p:cNvPr>
              <p:cNvSpPr>
                <a:spLocks/>
              </p:cNvSpPr>
              <p:nvPr/>
            </p:nvSpPr>
            <p:spPr bwMode="auto">
              <a:xfrm>
                <a:off x="18731866" y="5002213"/>
                <a:ext cx="42863" cy="63500"/>
              </a:xfrm>
              <a:custGeom>
                <a:avLst/>
                <a:gdLst>
                  <a:gd name="T0" fmla="*/ 27 w 27"/>
                  <a:gd name="T1" fmla="*/ 0 h 40"/>
                  <a:gd name="T2" fmla="*/ 0 w 27"/>
                  <a:gd name="T3" fmla="*/ 27 h 40"/>
                  <a:gd name="T4" fmla="*/ 0 w 27"/>
                  <a:gd name="T5" fmla="*/ 40 h 40"/>
                  <a:gd name="T6" fmla="*/ 27 w 27"/>
                  <a:gd name="T7" fmla="*/ 14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7"/>
                    </a:lnTo>
                    <a:lnTo>
                      <a:pt x="0" y="40"/>
                    </a:lnTo>
                    <a:lnTo>
                      <a:pt x="27" y="14"/>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24">
                <a:extLst>
                  <a:ext uri="{FF2B5EF4-FFF2-40B4-BE49-F238E27FC236}">
                    <a16:creationId xmlns:a16="http://schemas.microsoft.com/office/drawing/2014/main" id="{10AC900F-6319-4939-B41B-627A037C6E8F}"/>
                  </a:ext>
                </a:extLst>
              </p:cNvPr>
              <p:cNvSpPr>
                <a:spLocks/>
              </p:cNvSpPr>
              <p:nvPr/>
            </p:nvSpPr>
            <p:spPr bwMode="auto">
              <a:xfrm>
                <a:off x="18731866" y="5002213"/>
                <a:ext cx="42863" cy="63500"/>
              </a:xfrm>
              <a:custGeom>
                <a:avLst/>
                <a:gdLst>
                  <a:gd name="T0" fmla="*/ 27 w 27"/>
                  <a:gd name="T1" fmla="*/ 0 h 40"/>
                  <a:gd name="T2" fmla="*/ 0 w 27"/>
                  <a:gd name="T3" fmla="*/ 27 h 40"/>
                  <a:gd name="T4" fmla="*/ 0 w 27"/>
                  <a:gd name="T5" fmla="*/ 40 h 40"/>
                  <a:gd name="T6" fmla="*/ 27 w 27"/>
                  <a:gd name="T7" fmla="*/ 14 h 40"/>
                  <a:gd name="T8" fmla="*/ 27 w 27"/>
                  <a:gd name="T9" fmla="*/ 0 h 40"/>
                </a:gdLst>
                <a:ahLst/>
                <a:cxnLst>
                  <a:cxn ang="0">
                    <a:pos x="T0" y="T1"/>
                  </a:cxn>
                  <a:cxn ang="0">
                    <a:pos x="T2" y="T3"/>
                  </a:cxn>
                  <a:cxn ang="0">
                    <a:pos x="T4" y="T5"/>
                  </a:cxn>
                  <a:cxn ang="0">
                    <a:pos x="T6" y="T7"/>
                  </a:cxn>
                  <a:cxn ang="0">
                    <a:pos x="T8" y="T9"/>
                  </a:cxn>
                </a:cxnLst>
                <a:rect l="0" t="0" r="r" b="b"/>
                <a:pathLst>
                  <a:path w="27" h="40">
                    <a:moveTo>
                      <a:pt x="27" y="0"/>
                    </a:moveTo>
                    <a:lnTo>
                      <a:pt x="0" y="27"/>
                    </a:lnTo>
                    <a:lnTo>
                      <a:pt x="0" y="40"/>
                    </a:lnTo>
                    <a:lnTo>
                      <a:pt x="27" y="14"/>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25">
                <a:extLst>
                  <a:ext uri="{FF2B5EF4-FFF2-40B4-BE49-F238E27FC236}">
                    <a16:creationId xmlns:a16="http://schemas.microsoft.com/office/drawing/2014/main" id="{86266426-63D4-44A1-B8DB-50D977AEB8A5}"/>
                  </a:ext>
                </a:extLst>
              </p:cNvPr>
              <p:cNvSpPr>
                <a:spLocks/>
              </p:cNvSpPr>
              <p:nvPr/>
            </p:nvSpPr>
            <p:spPr bwMode="auto">
              <a:xfrm>
                <a:off x="18689003" y="5045075"/>
                <a:ext cx="42863" cy="38100"/>
              </a:xfrm>
              <a:custGeom>
                <a:avLst/>
                <a:gdLst>
                  <a:gd name="T0" fmla="*/ 27 w 27"/>
                  <a:gd name="T1" fmla="*/ 0 h 24"/>
                  <a:gd name="T2" fmla="*/ 0 w 27"/>
                  <a:gd name="T3" fmla="*/ 24 h 24"/>
                  <a:gd name="T4" fmla="*/ 16 w 27"/>
                  <a:gd name="T5" fmla="*/ 24 h 24"/>
                  <a:gd name="T6" fmla="*/ 27 w 27"/>
                  <a:gd name="T7" fmla="*/ 13 h 24"/>
                  <a:gd name="T8" fmla="*/ 27 w 27"/>
                  <a:gd name="T9" fmla="*/ 0 h 24"/>
                </a:gdLst>
                <a:ahLst/>
                <a:cxnLst>
                  <a:cxn ang="0">
                    <a:pos x="T0" y="T1"/>
                  </a:cxn>
                  <a:cxn ang="0">
                    <a:pos x="T2" y="T3"/>
                  </a:cxn>
                  <a:cxn ang="0">
                    <a:pos x="T4" y="T5"/>
                  </a:cxn>
                  <a:cxn ang="0">
                    <a:pos x="T6" y="T7"/>
                  </a:cxn>
                  <a:cxn ang="0">
                    <a:pos x="T8" y="T9"/>
                  </a:cxn>
                </a:cxnLst>
                <a:rect l="0" t="0" r="r" b="b"/>
                <a:pathLst>
                  <a:path w="27" h="24">
                    <a:moveTo>
                      <a:pt x="27" y="0"/>
                    </a:moveTo>
                    <a:lnTo>
                      <a:pt x="0" y="24"/>
                    </a:lnTo>
                    <a:lnTo>
                      <a:pt x="16" y="24"/>
                    </a:lnTo>
                    <a:lnTo>
                      <a:pt x="27" y="13"/>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26">
                <a:extLst>
                  <a:ext uri="{FF2B5EF4-FFF2-40B4-BE49-F238E27FC236}">
                    <a16:creationId xmlns:a16="http://schemas.microsoft.com/office/drawing/2014/main" id="{E8653947-5F4D-4762-A562-2590F15C595D}"/>
                  </a:ext>
                </a:extLst>
              </p:cNvPr>
              <p:cNvSpPr>
                <a:spLocks/>
              </p:cNvSpPr>
              <p:nvPr/>
            </p:nvSpPr>
            <p:spPr bwMode="auto">
              <a:xfrm>
                <a:off x="18689003" y="5045075"/>
                <a:ext cx="42863" cy="38100"/>
              </a:xfrm>
              <a:custGeom>
                <a:avLst/>
                <a:gdLst>
                  <a:gd name="T0" fmla="*/ 27 w 27"/>
                  <a:gd name="T1" fmla="*/ 0 h 24"/>
                  <a:gd name="T2" fmla="*/ 0 w 27"/>
                  <a:gd name="T3" fmla="*/ 24 h 24"/>
                  <a:gd name="T4" fmla="*/ 16 w 27"/>
                  <a:gd name="T5" fmla="*/ 24 h 24"/>
                  <a:gd name="T6" fmla="*/ 27 w 27"/>
                  <a:gd name="T7" fmla="*/ 13 h 24"/>
                  <a:gd name="T8" fmla="*/ 27 w 27"/>
                  <a:gd name="T9" fmla="*/ 0 h 24"/>
                </a:gdLst>
                <a:ahLst/>
                <a:cxnLst>
                  <a:cxn ang="0">
                    <a:pos x="T0" y="T1"/>
                  </a:cxn>
                  <a:cxn ang="0">
                    <a:pos x="T2" y="T3"/>
                  </a:cxn>
                  <a:cxn ang="0">
                    <a:pos x="T4" y="T5"/>
                  </a:cxn>
                  <a:cxn ang="0">
                    <a:pos x="T6" y="T7"/>
                  </a:cxn>
                  <a:cxn ang="0">
                    <a:pos x="T8" y="T9"/>
                  </a:cxn>
                </a:cxnLst>
                <a:rect l="0" t="0" r="r" b="b"/>
                <a:pathLst>
                  <a:path w="27" h="24">
                    <a:moveTo>
                      <a:pt x="27" y="0"/>
                    </a:moveTo>
                    <a:lnTo>
                      <a:pt x="0" y="24"/>
                    </a:lnTo>
                    <a:lnTo>
                      <a:pt x="16" y="24"/>
                    </a:lnTo>
                    <a:lnTo>
                      <a:pt x="27" y="13"/>
                    </a:lnTo>
                    <a:lnTo>
                      <a:pt x="2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279">
              <a:extLst>
                <a:ext uri="{FF2B5EF4-FFF2-40B4-BE49-F238E27FC236}">
                  <a16:creationId xmlns:a16="http://schemas.microsoft.com/office/drawing/2014/main" id="{E9F5BA9A-2672-4E3C-8247-C67160C369CF}"/>
                </a:ext>
              </a:extLst>
            </p:cNvPr>
            <p:cNvGrpSpPr/>
            <p:nvPr/>
          </p:nvGrpSpPr>
          <p:grpSpPr>
            <a:xfrm>
              <a:off x="13000991" y="2516188"/>
              <a:ext cx="3887787" cy="2460625"/>
              <a:chOff x="13000991" y="2516188"/>
              <a:chExt cx="3887787" cy="2460625"/>
            </a:xfrm>
            <a:solidFill>
              <a:schemeClr val="tx1"/>
            </a:solidFill>
          </p:grpSpPr>
          <p:sp>
            <p:nvSpPr>
              <p:cNvPr id="201" name="Freeform 127">
                <a:extLst>
                  <a:ext uri="{FF2B5EF4-FFF2-40B4-BE49-F238E27FC236}">
                    <a16:creationId xmlns:a16="http://schemas.microsoft.com/office/drawing/2014/main" id="{D927A926-11EB-4119-A489-6C53A443B17A}"/>
                  </a:ext>
                </a:extLst>
              </p:cNvPr>
              <p:cNvSpPr>
                <a:spLocks/>
              </p:cNvSpPr>
              <p:nvPr/>
            </p:nvSpPr>
            <p:spPr bwMode="auto">
              <a:xfrm>
                <a:off x="14936153" y="2970213"/>
                <a:ext cx="274638" cy="212725"/>
              </a:xfrm>
              <a:custGeom>
                <a:avLst/>
                <a:gdLst>
                  <a:gd name="T0" fmla="*/ 42 w 65"/>
                  <a:gd name="T1" fmla="*/ 50 h 50"/>
                  <a:gd name="T2" fmla="*/ 41 w 65"/>
                  <a:gd name="T3" fmla="*/ 50 h 50"/>
                  <a:gd name="T4" fmla="*/ 35 w 65"/>
                  <a:gd name="T5" fmla="*/ 44 h 50"/>
                  <a:gd name="T6" fmla="*/ 41 w 65"/>
                  <a:gd name="T7" fmla="*/ 38 h 50"/>
                  <a:gd name="T8" fmla="*/ 48 w 65"/>
                  <a:gd name="T9" fmla="*/ 38 h 50"/>
                  <a:gd name="T10" fmla="*/ 53 w 65"/>
                  <a:gd name="T11" fmla="*/ 35 h 50"/>
                  <a:gd name="T12" fmla="*/ 51 w 65"/>
                  <a:gd name="T13" fmla="*/ 33 h 50"/>
                  <a:gd name="T14" fmla="*/ 46 w 65"/>
                  <a:gd name="T15" fmla="*/ 32 h 50"/>
                  <a:gd name="T16" fmla="*/ 1 w 65"/>
                  <a:gd name="T17" fmla="*/ 10 h 50"/>
                  <a:gd name="T18" fmla="*/ 3 w 65"/>
                  <a:gd name="T19" fmla="*/ 2 h 50"/>
                  <a:gd name="T20" fmla="*/ 11 w 65"/>
                  <a:gd name="T21" fmla="*/ 3 h 50"/>
                  <a:gd name="T22" fmla="*/ 48 w 65"/>
                  <a:gd name="T23" fmla="*/ 20 h 50"/>
                  <a:gd name="T24" fmla="*/ 55 w 65"/>
                  <a:gd name="T25" fmla="*/ 22 h 50"/>
                  <a:gd name="T26" fmla="*/ 65 w 65"/>
                  <a:gd name="T27" fmla="*/ 35 h 50"/>
                  <a:gd name="T28" fmla="*/ 51 w 65"/>
                  <a:gd name="T29" fmla="*/ 50 h 50"/>
                  <a:gd name="T30" fmla="*/ 51 w 65"/>
                  <a:gd name="T31" fmla="*/ 50 h 50"/>
                  <a:gd name="T32" fmla="*/ 42 w 65"/>
                  <a:gd name="T3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50">
                    <a:moveTo>
                      <a:pt x="42" y="50"/>
                    </a:moveTo>
                    <a:cubicBezTo>
                      <a:pt x="42" y="50"/>
                      <a:pt x="41" y="50"/>
                      <a:pt x="41" y="50"/>
                    </a:cubicBezTo>
                    <a:cubicBezTo>
                      <a:pt x="38" y="50"/>
                      <a:pt x="35" y="48"/>
                      <a:pt x="35" y="44"/>
                    </a:cubicBezTo>
                    <a:cubicBezTo>
                      <a:pt x="35" y="41"/>
                      <a:pt x="38" y="38"/>
                      <a:pt x="41" y="38"/>
                    </a:cubicBezTo>
                    <a:cubicBezTo>
                      <a:pt x="45" y="39"/>
                      <a:pt x="47" y="38"/>
                      <a:pt x="48" y="38"/>
                    </a:cubicBezTo>
                    <a:cubicBezTo>
                      <a:pt x="51" y="37"/>
                      <a:pt x="53" y="36"/>
                      <a:pt x="53" y="35"/>
                    </a:cubicBezTo>
                    <a:cubicBezTo>
                      <a:pt x="53" y="34"/>
                      <a:pt x="52" y="34"/>
                      <a:pt x="51" y="33"/>
                    </a:cubicBezTo>
                    <a:cubicBezTo>
                      <a:pt x="50" y="33"/>
                      <a:pt x="48" y="32"/>
                      <a:pt x="46" y="32"/>
                    </a:cubicBezTo>
                    <a:cubicBezTo>
                      <a:pt x="34" y="29"/>
                      <a:pt x="12" y="25"/>
                      <a:pt x="1" y="10"/>
                    </a:cubicBezTo>
                    <a:cubicBezTo>
                      <a:pt x="0" y="7"/>
                      <a:pt x="0" y="4"/>
                      <a:pt x="3" y="2"/>
                    </a:cubicBezTo>
                    <a:cubicBezTo>
                      <a:pt x="6" y="0"/>
                      <a:pt x="9" y="0"/>
                      <a:pt x="11" y="3"/>
                    </a:cubicBezTo>
                    <a:cubicBezTo>
                      <a:pt x="19" y="14"/>
                      <a:pt x="38" y="18"/>
                      <a:pt x="48" y="20"/>
                    </a:cubicBezTo>
                    <a:cubicBezTo>
                      <a:pt x="51" y="21"/>
                      <a:pt x="53" y="21"/>
                      <a:pt x="55" y="22"/>
                    </a:cubicBezTo>
                    <a:cubicBezTo>
                      <a:pt x="61" y="24"/>
                      <a:pt x="65" y="29"/>
                      <a:pt x="65" y="35"/>
                    </a:cubicBezTo>
                    <a:cubicBezTo>
                      <a:pt x="64" y="42"/>
                      <a:pt x="59" y="47"/>
                      <a:pt x="51" y="50"/>
                    </a:cubicBezTo>
                    <a:cubicBezTo>
                      <a:pt x="51" y="50"/>
                      <a:pt x="51" y="50"/>
                      <a:pt x="51" y="50"/>
                    </a:cubicBezTo>
                    <a:cubicBezTo>
                      <a:pt x="50" y="50"/>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28">
                <a:extLst>
                  <a:ext uri="{FF2B5EF4-FFF2-40B4-BE49-F238E27FC236}">
                    <a16:creationId xmlns:a16="http://schemas.microsoft.com/office/drawing/2014/main" id="{361ADA67-DE45-45D0-9347-E24CCA52965A}"/>
                  </a:ext>
                </a:extLst>
              </p:cNvPr>
              <p:cNvSpPr>
                <a:spLocks/>
              </p:cNvSpPr>
              <p:nvPr/>
            </p:nvSpPr>
            <p:spPr bwMode="auto">
              <a:xfrm>
                <a:off x="14677391" y="2941638"/>
                <a:ext cx="284163" cy="241300"/>
              </a:xfrm>
              <a:custGeom>
                <a:avLst/>
                <a:gdLst>
                  <a:gd name="T0" fmla="*/ 22 w 67"/>
                  <a:gd name="T1" fmla="*/ 57 h 57"/>
                  <a:gd name="T2" fmla="*/ 14 w 67"/>
                  <a:gd name="T3" fmla="*/ 57 h 57"/>
                  <a:gd name="T4" fmla="*/ 14 w 67"/>
                  <a:gd name="T5" fmla="*/ 57 h 57"/>
                  <a:gd name="T6" fmla="*/ 0 w 67"/>
                  <a:gd name="T7" fmla="*/ 42 h 57"/>
                  <a:gd name="T8" fmla="*/ 10 w 67"/>
                  <a:gd name="T9" fmla="*/ 29 h 57"/>
                  <a:gd name="T10" fmla="*/ 18 w 67"/>
                  <a:gd name="T11" fmla="*/ 27 h 57"/>
                  <a:gd name="T12" fmla="*/ 35 w 67"/>
                  <a:gd name="T13" fmla="*/ 23 h 57"/>
                  <a:gd name="T14" fmla="*/ 53 w 67"/>
                  <a:gd name="T15" fmla="*/ 8 h 57"/>
                  <a:gd name="T16" fmla="*/ 56 w 67"/>
                  <a:gd name="T17" fmla="*/ 3 h 57"/>
                  <a:gd name="T18" fmla="*/ 64 w 67"/>
                  <a:gd name="T19" fmla="*/ 2 h 57"/>
                  <a:gd name="T20" fmla="*/ 65 w 67"/>
                  <a:gd name="T21" fmla="*/ 10 h 57"/>
                  <a:gd name="T22" fmla="*/ 63 w 67"/>
                  <a:gd name="T23" fmla="*/ 14 h 57"/>
                  <a:gd name="T24" fmla="*/ 38 w 67"/>
                  <a:gd name="T25" fmla="*/ 34 h 57"/>
                  <a:gd name="T26" fmla="*/ 20 w 67"/>
                  <a:gd name="T27" fmla="*/ 39 h 57"/>
                  <a:gd name="T28" fmla="*/ 14 w 67"/>
                  <a:gd name="T29" fmla="*/ 40 h 57"/>
                  <a:gd name="T30" fmla="*/ 12 w 67"/>
                  <a:gd name="T31" fmla="*/ 42 h 57"/>
                  <a:gd name="T32" fmla="*/ 17 w 67"/>
                  <a:gd name="T33" fmla="*/ 45 h 57"/>
                  <a:gd name="T34" fmla="*/ 52 w 67"/>
                  <a:gd name="T35" fmla="*/ 33 h 57"/>
                  <a:gd name="T36" fmla="*/ 61 w 67"/>
                  <a:gd name="T37" fmla="*/ 33 h 57"/>
                  <a:gd name="T38" fmla="*/ 61 w 67"/>
                  <a:gd name="T39" fmla="*/ 41 h 57"/>
                  <a:gd name="T40" fmla="*/ 22 w 67"/>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57">
                    <a:moveTo>
                      <a:pt x="22" y="57"/>
                    </a:moveTo>
                    <a:cubicBezTo>
                      <a:pt x="17" y="57"/>
                      <a:pt x="15" y="57"/>
                      <a:pt x="14" y="57"/>
                    </a:cubicBezTo>
                    <a:cubicBezTo>
                      <a:pt x="14" y="57"/>
                      <a:pt x="14" y="57"/>
                      <a:pt x="14" y="57"/>
                    </a:cubicBezTo>
                    <a:cubicBezTo>
                      <a:pt x="6" y="54"/>
                      <a:pt x="1" y="49"/>
                      <a:pt x="0" y="42"/>
                    </a:cubicBezTo>
                    <a:cubicBezTo>
                      <a:pt x="0" y="36"/>
                      <a:pt x="4" y="31"/>
                      <a:pt x="10" y="29"/>
                    </a:cubicBezTo>
                    <a:cubicBezTo>
                      <a:pt x="12" y="28"/>
                      <a:pt x="14" y="28"/>
                      <a:pt x="18" y="27"/>
                    </a:cubicBezTo>
                    <a:cubicBezTo>
                      <a:pt x="22" y="26"/>
                      <a:pt x="28" y="25"/>
                      <a:pt x="35" y="23"/>
                    </a:cubicBezTo>
                    <a:cubicBezTo>
                      <a:pt x="46" y="19"/>
                      <a:pt x="49" y="14"/>
                      <a:pt x="53" y="8"/>
                    </a:cubicBezTo>
                    <a:cubicBezTo>
                      <a:pt x="54" y="6"/>
                      <a:pt x="55" y="5"/>
                      <a:pt x="56" y="3"/>
                    </a:cubicBezTo>
                    <a:cubicBezTo>
                      <a:pt x="58" y="0"/>
                      <a:pt x="61" y="0"/>
                      <a:pt x="64" y="2"/>
                    </a:cubicBezTo>
                    <a:cubicBezTo>
                      <a:pt x="67" y="4"/>
                      <a:pt x="67" y="7"/>
                      <a:pt x="65" y="10"/>
                    </a:cubicBezTo>
                    <a:cubicBezTo>
                      <a:pt x="64" y="11"/>
                      <a:pt x="64" y="13"/>
                      <a:pt x="63" y="14"/>
                    </a:cubicBezTo>
                    <a:cubicBezTo>
                      <a:pt x="59" y="20"/>
                      <a:pt x="54" y="29"/>
                      <a:pt x="38" y="34"/>
                    </a:cubicBezTo>
                    <a:cubicBezTo>
                      <a:pt x="31" y="36"/>
                      <a:pt x="25" y="38"/>
                      <a:pt x="20" y="39"/>
                    </a:cubicBezTo>
                    <a:cubicBezTo>
                      <a:pt x="17" y="39"/>
                      <a:pt x="15" y="40"/>
                      <a:pt x="14" y="40"/>
                    </a:cubicBezTo>
                    <a:cubicBezTo>
                      <a:pt x="13" y="41"/>
                      <a:pt x="12" y="41"/>
                      <a:pt x="12" y="42"/>
                    </a:cubicBezTo>
                    <a:cubicBezTo>
                      <a:pt x="12" y="43"/>
                      <a:pt x="14" y="44"/>
                      <a:pt x="17" y="45"/>
                    </a:cubicBezTo>
                    <a:cubicBezTo>
                      <a:pt x="19" y="45"/>
                      <a:pt x="38" y="47"/>
                      <a:pt x="52" y="33"/>
                    </a:cubicBezTo>
                    <a:cubicBezTo>
                      <a:pt x="55" y="31"/>
                      <a:pt x="59" y="30"/>
                      <a:pt x="61" y="33"/>
                    </a:cubicBezTo>
                    <a:cubicBezTo>
                      <a:pt x="63" y="35"/>
                      <a:pt x="63" y="39"/>
                      <a:pt x="61" y="41"/>
                    </a:cubicBezTo>
                    <a:cubicBezTo>
                      <a:pt x="47" y="55"/>
                      <a:pt x="31" y="57"/>
                      <a:pt x="2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29">
                <a:extLst>
                  <a:ext uri="{FF2B5EF4-FFF2-40B4-BE49-F238E27FC236}">
                    <a16:creationId xmlns:a16="http://schemas.microsoft.com/office/drawing/2014/main" id="{3F275B02-7D01-4718-8DE6-7ECA3318B39D}"/>
                  </a:ext>
                </a:extLst>
              </p:cNvPr>
              <p:cNvSpPr>
                <a:spLocks/>
              </p:cNvSpPr>
              <p:nvPr/>
            </p:nvSpPr>
            <p:spPr bwMode="auto">
              <a:xfrm>
                <a:off x="14745653" y="2728913"/>
                <a:ext cx="207963" cy="271463"/>
              </a:xfrm>
              <a:custGeom>
                <a:avLst/>
                <a:gdLst>
                  <a:gd name="T0" fmla="*/ 43 w 49"/>
                  <a:gd name="T1" fmla="*/ 64 h 64"/>
                  <a:gd name="T2" fmla="*/ 37 w 49"/>
                  <a:gd name="T3" fmla="*/ 59 h 64"/>
                  <a:gd name="T4" fmla="*/ 19 w 49"/>
                  <a:gd name="T5" fmla="*/ 15 h 64"/>
                  <a:gd name="T6" fmla="*/ 27 w 49"/>
                  <a:gd name="T7" fmla="*/ 45 h 64"/>
                  <a:gd name="T8" fmla="*/ 29 w 49"/>
                  <a:gd name="T9" fmla="*/ 53 h 64"/>
                  <a:gd name="T10" fmla="*/ 20 w 49"/>
                  <a:gd name="T11" fmla="*/ 54 h 64"/>
                  <a:gd name="T12" fmla="*/ 10 w 49"/>
                  <a:gd name="T13" fmla="*/ 4 h 64"/>
                  <a:gd name="T14" fmla="*/ 17 w 49"/>
                  <a:gd name="T15" fmla="*/ 1 h 64"/>
                  <a:gd name="T16" fmla="*/ 49 w 49"/>
                  <a:gd name="T17" fmla="*/ 58 h 64"/>
                  <a:gd name="T18" fmla="*/ 43 w 49"/>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64">
                    <a:moveTo>
                      <a:pt x="43" y="64"/>
                    </a:moveTo>
                    <a:cubicBezTo>
                      <a:pt x="40" y="64"/>
                      <a:pt x="37" y="62"/>
                      <a:pt x="37" y="59"/>
                    </a:cubicBezTo>
                    <a:cubicBezTo>
                      <a:pt x="36" y="36"/>
                      <a:pt x="30" y="21"/>
                      <a:pt x="19" y="15"/>
                    </a:cubicBezTo>
                    <a:cubicBezTo>
                      <a:pt x="17" y="22"/>
                      <a:pt x="15" y="36"/>
                      <a:pt x="27" y="45"/>
                    </a:cubicBezTo>
                    <a:cubicBezTo>
                      <a:pt x="30" y="46"/>
                      <a:pt x="31" y="50"/>
                      <a:pt x="29" y="53"/>
                    </a:cubicBezTo>
                    <a:cubicBezTo>
                      <a:pt x="27" y="56"/>
                      <a:pt x="23" y="56"/>
                      <a:pt x="20" y="54"/>
                    </a:cubicBezTo>
                    <a:cubicBezTo>
                      <a:pt x="0" y="41"/>
                      <a:pt x="5" y="15"/>
                      <a:pt x="10" y="4"/>
                    </a:cubicBezTo>
                    <a:cubicBezTo>
                      <a:pt x="11" y="1"/>
                      <a:pt x="14" y="0"/>
                      <a:pt x="17" y="1"/>
                    </a:cubicBezTo>
                    <a:cubicBezTo>
                      <a:pt x="31" y="5"/>
                      <a:pt x="48" y="19"/>
                      <a:pt x="49" y="58"/>
                    </a:cubicBezTo>
                    <a:cubicBezTo>
                      <a:pt x="49" y="61"/>
                      <a:pt x="46" y="64"/>
                      <a:pt x="43"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30">
                <a:extLst>
                  <a:ext uri="{FF2B5EF4-FFF2-40B4-BE49-F238E27FC236}">
                    <a16:creationId xmlns:a16="http://schemas.microsoft.com/office/drawing/2014/main" id="{52859499-22EF-46B4-A188-A09DBE34ED06}"/>
                  </a:ext>
                </a:extLst>
              </p:cNvPr>
              <p:cNvSpPr>
                <a:spLocks/>
              </p:cNvSpPr>
              <p:nvPr/>
            </p:nvSpPr>
            <p:spPr bwMode="auto">
              <a:xfrm>
                <a:off x="14872653" y="3086100"/>
                <a:ext cx="71438" cy="147638"/>
              </a:xfrm>
              <a:custGeom>
                <a:avLst/>
                <a:gdLst>
                  <a:gd name="T0" fmla="*/ 6 w 17"/>
                  <a:gd name="T1" fmla="*/ 35 h 35"/>
                  <a:gd name="T2" fmla="*/ 0 w 17"/>
                  <a:gd name="T3" fmla="*/ 29 h 35"/>
                  <a:gd name="T4" fmla="*/ 1 w 17"/>
                  <a:gd name="T5" fmla="*/ 27 h 35"/>
                  <a:gd name="T6" fmla="*/ 5 w 17"/>
                  <a:gd name="T7" fmla="*/ 5 h 35"/>
                  <a:gd name="T8" fmla="*/ 12 w 17"/>
                  <a:gd name="T9" fmla="*/ 0 h 35"/>
                  <a:gd name="T10" fmla="*/ 17 w 17"/>
                  <a:gd name="T11" fmla="*/ 7 h 35"/>
                  <a:gd name="T12" fmla="*/ 12 w 17"/>
                  <a:gd name="T13" fmla="*/ 30 h 35"/>
                  <a:gd name="T14" fmla="*/ 6 w 1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5">
                    <a:moveTo>
                      <a:pt x="6" y="35"/>
                    </a:moveTo>
                    <a:cubicBezTo>
                      <a:pt x="3" y="35"/>
                      <a:pt x="0" y="32"/>
                      <a:pt x="0" y="29"/>
                    </a:cubicBezTo>
                    <a:cubicBezTo>
                      <a:pt x="0" y="28"/>
                      <a:pt x="0" y="28"/>
                      <a:pt x="1" y="27"/>
                    </a:cubicBezTo>
                    <a:cubicBezTo>
                      <a:pt x="1" y="26"/>
                      <a:pt x="3" y="18"/>
                      <a:pt x="5" y="5"/>
                    </a:cubicBezTo>
                    <a:cubicBezTo>
                      <a:pt x="5" y="2"/>
                      <a:pt x="8" y="0"/>
                      <a:pt x="12" y="0"/>
                    </a:cubicBezTo>
                    <a:cubicBezTo>
                      <a:pt x="15" y="1"/>
                      <a:pt x="17" y="4"/>
                      <a:pt x="17" y="7"/>
                    </a:cubicBezTo>
                    <a:cubicBezTo>
                      <a:pt x="15" y="20"/>
                      <a:pt x="13" y="29"/>
                      <a:pt x="12" y="30"/>
                    </a:cubicBezTo>
                    <a:cubicBezTo>
                      <a:pt x="12" y="33"/>
                      <a:pt x="9"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31">
                <a:extLst>
                  <a:ext uri="{FF2B5EF4-FFF2-40B4-BE49-F238E27FC236}">
                    <a16:creationId xmlns:a16="http://schemas.microsoft.com/office/drawing/2014/main" id="{FDB996FF-638A-4580-89CB-EB312C82A77D}"/>
                  </a:ext>
                </a:extLst>
              </p:cNvPr>
              <p:cNvSpPr>
                <a:spLocks noEditPoints="1"/>
              </p:cNvSpPr>
              <p:nvPr/>
            </p:nvSpPr>
            <p:spPr bwMode="auto">
              <a:xfrm>
                <a:off x="14855191" y="2924175"/>
                <a:ext cx="284163" cy="322263"/>
              </a:xfrm>
              <a:custGeom>
                <a:avLst/>
                <a:gdLst>
                  <a:gd name="T0" fmla="*/ 50 w 67"/>
                  <a:gd name="T1" fmla="*/ 76 h 76"/>
                  <a:gd name="T2" fmla="*/ 47 w 67"/>
                  <a:gd name="T3" fmla="*/ 76 h 76"/>
                  <a:gd name="T4" fmla="*/ 11 w 67"/>
                  <a:gd name="T5" fmla="*/ 46 h 76"/>
                  <a:gd name="T6" fmla="*/ 19 w 67"/>
                  <a:gd name="T7" fmla="*/ 2 h 76"/>
                  <a:gd name="T8" fmla="*/ 26 w 67"/>
                  <a:gd name="T9" fmla="*/ 1 h 76"/>
                  <a:gd name="T10" fmla="*/ 29 w 67"/>
                  <a:gd name="T11" fmla="*/ 7 h 76"/>
                  <a:gd name="T12" fmla="*/ 41 w 67"/>
                  <a:gd name="T13" fmla="*/ 34 h 76"/>
                  <a:gd name="T14" fmla="*/ 56 w 67"/>
                  <a:gd name="T15" fmla="*/ 48 h 76"/>
                  <a:gd name="T16" fmla="*/ 60 w 67"/>
                  <a:gd name="T17" fmla="*/ 51 h 76"/>
                  <a:gd name="T18" fmla="*/ 60 w 67"/>
                  <a:gd name="T19" fmla="*/ 51 h 76"/>
                  <a:gd name="T20" fmla="*/ 65 w 67"/>
                  <a:gd name="T21" fmla="*/ 67 h 76"/>
                  <a:gd name="T22" fmla="*/ 50 w 67"/>
                  <a:gd name="T23" fmla="*/ 76 h 76"/>
                  <a:gd name="T24" fmla="*/ 20 w 67"/>
                  <a:gd name="T25" fmla="*/ 23 h 76"/>
                  <a:gd name="T26" fmla="*/ 22 w 67"/>
                  <a:gd name="T27" fmla="*/ 41 h 76"/>
                  <a:gd name="T28" fmla="*/ 48 w 67"/>
                  <a:gd name="T29" fmla="*/ 64 h 76"/>
                  <a:gd name="T30" fmla="*/ 54 w 67"/>
                  <a:gd name="T31" fmla="*/ 63 h 76"/>
                  <a:gd name="T32" fmla="*/ 53 w 67"/>
                  <a:gd name="T33" fmla="*/ 60 h 76"/>
                  <a:gd name="T34" fmla="*/ 48 w 67"/>
                  <a:gd name="T35" fmla="*/ 57 h 76"/>
                  <a:gd name="T36" fmla="*/ 32 w 67"/>
                  <a:gd name="T37" fmla="*/ 42 h 76"/>
                  <a:gd name="T38" fmla="*/ 20 w 67"/>
                  <a:gd name="T39"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76">
                    <a:moveTo>
                      <a:pt x="50" y="76"/>
                    </a:moveTo>
                    <a:cubicBezTo>
                      <a:pt x="49" y="76"/>
                      <a:pt x="48" y="76"/>
                      <a:pt x="47" y="76"/>
                    </a:cubicBezTo>
                    <a:cubicBezTo>
                      <a:pt x="46" y="75"/>
                      <a:pt x="22" y="72"/>
                      <a:pt x="11" y="46"/>
                    </a:cubicBezTo>
                    <a:cubicBezTo>
                      <a:pt x="0" y="18"/>
                      <a:pt x="18" y="2"/>
                      <a:pt x="19" y="2"/>
                    </a:cubicBezTo>
                    <a:cubicBezTo>
                      <a:pt x="21" y="0"/>
                      <a:pt x="24" y="0"/>
                      <a:pt x="26" y="1"/>
                    </a:cubicBezTo>
                    <a:cubicBezTo>
                      <a:pt x="28" y="2"/>
                      <a:pt x="29" y="4"/>
                      <a:pt x="29" y="7"/>
                    </a:cubicBezTo>
                    <a:cubicBezTo>
                      <a:pt x="29" y="7"/>
                      <a:pt x="28" y="20"/>
                      <a:pt x="41" y="34"/>
                    </a:cubicBezTo>
                    <a:cubicBezTo>
                      <a:pt x="45" y="39"/>
                      <a:pt x="51" y="44"/>
                      <a:pt x="56" y="48"/>
                    </a:cubicBezTo>
                    <a:cubicBezTo>
                      <a:pt x="58" y="49"/>
                      <a:pt x="59" y="50"/>
                      <a:pt x="60" y="51"/>
                    </a:cubicBezTo>
                    <a:cubicBezTo>
                      <a:pt x="60" y="51"/>
                      <a:pt x="60" y="51"/>
                      <a:pt x="60" y="51"/>
                    </a:cubicBezTo>
                    <a:cubicBezTo>
                      <a:pt x="65" y="55"/>
                      <a:pt x="67" y="62"/>
                      <a:pt x="65" y="67"/>
                    </a:cubicBezTo>
                    <a:cubicBezTo>
                      <a:pt x="62" y="73"/>
                      <a:pt x="57" y="76"/>
                      <a:pt x="50" y="76"/>
                    </a:cubicBezTo>
                    <a:close/>
                    <a:moveTo>
                      <a:pt x="20" y="23"/>
                    </a:moveTo>
                    <a:cubicBezTo>
                      <a:pt x="19" y="28"/>
                      <a:pt x="19" y="34"/>
                      <a:pt x="22" y="41"/>
                    </a:cubicBezTo>
                    <a:cubicBezTo>
                      <a:pt x="30" y="61"/>
                      <a:pt x="48" y="64"/>
                      <a:pt x="48" y="64"/>
                    </a:cubicBezTo>
                    <a:cubicBezTo>
                      <a:pt x="52" y="64"/>
                      <a:pt x="53" y="63"/>
                      <a:pt x="54" y="63"/>
                    </a:cubicBezTo>
                    <a:cubicBezTo>
                      <a:pt x="54" y="62"/>
                      <a:pt x="54" y="61"/>
                      <a:pt x="53" y="60"/>
                    </a:cubicBezTo>
                    <a:cubicBezTo>
                      <a:pt x="51" y="59"/>
                      <a:pt x="50" y="58"/>
                      <a:pt x="48" y="57"/>
                    </a:cubicBezTo>
                    <a:cubicBezTo>
                      <a:pt x="43" y="53"/>
                      <a:pt x="37" y="48"/>
                      <a:pt x="32" y="42"/>
                    </a:cubicBezTo>
                    <a:cubicBezTo>
                      <a:pt x="26" y="36"/>
                      <a:pt x="22" y="29"/>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32">
                <a:extLst>
                  <a:ext uri="{FF2B5EF4-FFF2-40B4-BE49-F238E27FC236}">
                    <a16:creationId xmlns:a16="http://schemas.microsoft.com/office/drawing/2014/main" id="{87691BFB-AF66-4190-96A6-8A4F7B13068B}"/>
                  </a:ext>
                </a:extLst>
              </p:cNvPr>
              <p:cNvSpPr>
                <a:spLocks/>
              </p:cNvSpPr>
              <p:nvPr/>
            </p:nvSpPr>
            <p:spPr bwMode="auto">
              <a:xfrm>
                <a:off x="14898053" y="2673350"/>
                <a:ext cx="211138" cy="319088"/>
              </a:xfrm>
              <a:custGeom>
                <a:avLst/>
                <a:gdLst>
                  <a:gd name="T0" fmla="*/ 7 w 50"/>
                  <a:gd name="T1" fmla="*/ 75 h 75"/>
                  <a:gd name="T2" fmla="*/ 2 w 50"/>
                  <a:gd name="T3" fmla="*/ 73 h 75"/>
                  <a:gd name="T4" fmla="*/ 3 w 50"/>
                  <a:gd name="T5" fmla="*/ 64 h 75"/>
                  <a:gd name="T6" fmla="*/ 23 w 50"/>
                  <a:gd name="T7" fmla="*/ 14 h 75"/>
                  <a:gd name="T8" fmla="*/ 13 w 50"/>
                  <a:gd name="T9" fmla="*/ 23 h 75"/>
                  <a:gd name="T10" fmla="*/ 4 w 50"/>
                  <a:gd name="T11" fmla="*/ 24 h 75"/>
                  <a:gd name="T12" fmla="*/ 3 w 50"/>
                  <a:gd name="T13" fmla="*/ 15 h 75"/>
                  <a:gd name="T14" fmla="*/ 25 w 50"/>
                  <a:gd name="T15" fmla="*/ 1 h 75"/>
                  <a:gd name="T16" fmla="*/ 32 w 50"/>
                  <a:gd name="T17" fmla="*/ 4 h 75"/>
                  <a:gd name="T18" fmla="*/ 11 w 50"/>
                  <a:gd name="T19" fmla="*/ 74 h 75"/>
                  <a:gd name="T20" fmla="*/ 7 w 50"/>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75">
                    <a:moveTo>
                      <a:pt x="7" y="75"/>
                    </a:moveTo>
                    <a:cubicBezTo>
                      <a:pt x="5" y="75"/>
                      <a:pt x="4" y="74"/>
                      <a:pt x="2" y="73"/>
                    </a:cubicBezTo>
                    <a:cubicBezTo>
                      <a:pt x="0" y="70"/>
                      <a:pt x="1" y="66"/>
                      <a:pt x="3" y="64"/>
                    </a:cubicBezTo>
                    <a:cubicBezTo>
                      <a:pt x="27" y="44"/>
                      <a:pt x="25" y="24"/>
                      <a:pt x="23" y="14"/>
                    </a:cubicBezTo>
                    <a:cubicBezTo>
                      <a:pt x="17" y="17"/>
                      <a:pt x="13" y="23"/>
                      <a:pt x="13" y="23"/>
                    </a:cubicBezTo>
                    <a:cubicBezTo>
                      <a:pt x="11" y="25"/>
                      <a:pt x="7" y="26"/>
                      <a:pt x="4" y="24"/>
                    </a:cubicBezTo>
                    <a:cubicBezTo>
                      <a:pt x="2" y="22"/>
                      <a:pt x="1" y="18"/>
                      <a:pt x="3" y="15"/>
                    </a:cubicBezTo>
                    <a:cubicBezTo>
                      <a:pt x="4" y="15"/>
                      <a:pt x="12" y="3"/>
                      <a:pt x="25" y="1"/>
                    </a:cubicBezTo>
                    <a:cubicBezTo>
                      <a:pt x="28" y="0"/>
                      <a:pt x="30" y="1"/>
                      <a:pt x="32" y="4"/>
                    </a:cubicBezTo>
                    <a:cubicBezTo>
                      <a:pt x="32" y="4"/>
                      <a:pt x="50" y="41"/>
                      <a:pt x="11" y="74"/>
                    </a:cubicBezTo>
                    <a:cubicBezTo>
                      <a:pt x="10" y="74"/>
                      <a:pt x="8" y="75"/>
                      <a:pt x="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33">
                <a:extLst>
                  <a:ext uri="{FF2B5EF4-FFF2-40B4-BE49-F238E27FC236}">
                    <a16:creationId xmlns:a16="http://schemas.microsoft.com/office/drawing/2014/main" id="{80D0DB4E-75E4-4B68-8E23-FEDE3649B657}"/>
                  </a:ext>
                </a:extLst>
              </p:cNvPr>
              <p:cNvSpPr>
                <a:spLocks/>
              </p:cNvSpPr>
              <p:nvPr/>
            </p:nvSpPr>
            <p:spPr bwMode="auto">
              <a:xfrm>
                <a:off x="14931391" y="2792413"/>
                <a:ext cx="258763" cy="207963"/>
              </a:xfrm>
              <a:custGeom>
                <a:avLst/>
                <a:gdLst>
                  <a:gd name="T0" fmla="*/ 23 w 61"/>
                  <a:gd name="T1" fmla="*/ 49 h 49"/>
                  <a:gd name="T2" fmla="*/ 5 w 61"/>
                  <a:gd name="T3" fmla="*/ 46 h 49"/>
                  <a:gd name="T4" fmla="*/ 1 w 61"/>
                  <a:gd name="T5" fmla="*/ 39 h 49"/>
                  <a:gd name="T6" fmla="*/ 9 w 61"/>
                  <a:gd name="T7" fmla="*/ 35 h 49"/>
                  <a:gd name="T8" fmla="*/ 38 w 61"/>
                  <a:gd name="T9" fmla="*/ 34 h 49"/>
                  <a:gd name="T10" fmla="*/ 47 w 61"/>
                  <a:gd name="T11" fmla="*/ 24 h 49"/>
                  <a:gd name="T12" fmla="*/ 20 w 61"/>
                  <a:gd name="T13" fmla="*/ 26 h 49"/>
                  <a:gd name="T14" fmla="*/ 12 w 61"/>
                  <a:gd name="T15" fmla="*/ 24 h 49"/>
                  <a:gd name="T16" fmla="*/ 13 w 61"/>
                  <a:gd name="T17" fmla="*/ 16 h 49"/>
                  <a:gd name="T18" fmla="*/ 58 w 61"/>
                  <a:gd name="T19" fmla="*/ 16 h 49"/>
                  <a:gd name="T20" fmla="*/ 60 w 61"/>
                  <a:gd name="T21" fmla="*/ 23 h 49"/>
                  <a:gd name="T22" fmla="*/ 44 w 61"/>
                  <a:gd name="T23" fmla="*/ 44 h 49"/>
                  <a:gd name="T24" fmla="*/ 23 w 61"/>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49">
                    <a:moveTo>
                      <a:pt x="23" y="49"/>
                    </a:moveTo>
                    <a:cubicBezTo>
                      <a:pt x="13" y="49"/>
                      <a:pt x="6" y="47"/>
                      <a:pt x="5" y="46"/>
                    </a:cubicBezTo>
                    <a:cubicBezTo>
                      <a:pt x="2" y="45"/>
                      <a:pt x="0" y="42"/>
                      <a:pt x="1" y="39"/>
                    </a:cubicBezTo>
                    <a:cubicBezTo>
                      <a:pt x="2" y="36"/>
                      <a:pt x="6" y="34"/>
                      <a:pt x="9" y="35"/>
                    </a:cubicBezTo>
                    <a:cubicBezTo>
                      <a:pt x="9" y="35"/>
                      <a:pt x="26" y="40"/>
                      <a:pt x="38" y="34"/>
                    </a:cubicBezTo>
                    <a:cubicBezTo>
                      <a:pt x="42" y="31"/>
                      <a:pt x="45" y="28"/>
                      <a:pt x="47" y="24"/>
                    </a:cubicBezTo>
                    <a:cubicBezTo>
                      <a:pt x="42" y="21"/>
                      <a:pt x="31" y="18"/>
                      <a:pt x="20" y="26"/>
                    </a:cubicBezTo>
                    <a:cubicBezTo>
                      <a:pt x="17" y="28"/>
                      <a:pt x="14" y="27"/>
                      <a:pt x="12" y="24"/>
                    </a:cubicBezTo>
                    <a:cubicBezTo>
                      <a:pt x="10" y="22"/>
                      <a:pt x="10" y="18"/>
                      <a:pt x="13" y="16"/>
                    </a:cubicBezTo>
                    <a:cubicBezTo>
                      <a:pt x="36" y="0"/>
                      <a:pt x="57" y="15"/>
                      <a:pt x="58" y="16"/>
                    </a:cubicBezTo>
                    <a:cubicBezTo>
                      <a:pt x="60" y="18"/>
                      <a:pt x="61" y="20"/>
                      <a:pt x="60" y="23"/>
                    </a:cubicBezTo>
                    <a:cubicBezTo>
                      <a:pt x="57" y="32"/>
                      <a:pt x="52" y="40"/>
                      <a:pt x="44" y="44"/>
                    </a:cubicBezTo>
                    <a:cubicBezTo>
                      <a:pt x="37" y="48"/>
                      <a:pt x="30" y="49"/>
                      <a:pt x="2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34">
                <a:extLst>
                  <a:ext uri="{FF2B5EF4-FFF2-40B4-BE49-F238E27FC236}">
                    <a16:creationId xmlns:a16="http://schemas.microsoft.com/office/drawing/2014/main" id="{74579BC9-2D19-424E-82B9-9D39E21189E5}"/>
                  </a:ext>
                </a:extLst>
              </p:cNvPr>
              <p:cNvSpPr>
                <a:spLocks/>
              </p:cNvSpPr>
              <p:nvPr/>
            </p:nvSpPr>
            <p:spPr bwMode="auto">
              <a:xfrm>
                <a:off x="14936153" y="4124325"/>
                <a:ext cx="274638" cy="215900"/>
              </a:xfrm>
              <a:custGeom>
                <a:avLst/>
                <a:gdLst>
                  <a:gd name="T0" fmla="*/ 42 w 65"/>
                  <a:gd name="T1" fmla="*/ 51 h 51"/>
                  <a:gd name="T2" fmla="*/ 41 w 65"/>
                  <a:gd name="T3" fmla="*/ 51 h 51"/>
                  <a:gd name="T4" fmla="*/ 35 w 65"/>
                  <a:gd name="T5" fmla="*/ 44 h 51"/>
                  <a:gd name="T6" fmla="*/ 41 w 65"/>
                  <a:gd name="T7" fmla="*/ 39 h 51"/>
                  <a:gd name="T8" fmla="*/ 48 w 65"/>
                  <a:gd name="T9" fmla="*/ 38 h 51"/>
                  <a:gd name="T10" fmla="*/ 53 w 65"/>
                  <a:gd name="T11" fmla="*/ 35 h 51"/>
                  <a:gd name="T12" fmla="*/ 51 w 65"/>
                  <a:gd name="T13" fmla="*/ 33 h 51"/>
                  <a:gd name="T14" fmla="*/ 46 w 65"/>
                  <a:gd name="T15" fmla="*/ 32 h 51"/>
                  <a:gd name="T16" fmla="*/ 1 w 65"/>
                  <a:gd name="T17" fmla="*/ 10 h 51"/>
                  <a:gd name="T18" fmla="*/ 3 w 65"/>
                  <a:gd name="T19" fmla="*/ 2 h 51"/>
                  <a:gd name="T20" fmla="*/ 11 w 65"/>
                  <a:gd name="T21" fmla="*/ 3 h 51"/>
                  <a:gd name="T22" fmla="*/ 48 w 65"/>
                  <a:gd name="T23" fmla="*/ 20 h 51"/>
                  <a:gd name="T24" fmla="*/ 55 w 65"/>
                  <a:gd name="T25" fmla="*/ 22 h 51"/>
                  <a:gd name="T26" fmla="*/ 65 w 65"/>
                  <a:gd name="T27" fmla="*/ 35 h 51"/>
                  <a:gd name="T28" fmla="*/ 51 w 65"/>
                  <a:gd name="T29" fmla="*/ 50 h 51"/>
                  <a:gd name="T30" fmla="*/ 51 w 65"/>
                  <a:gd name="T31" fmla="*/ 50 h 51"/>
                  <a:gd name="T32" fmla="*/ 42 w 65"/>
                  <a:gd name="T3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51">
                    <a:moveTo>
                      <a:pt x="42" y="51"/>
                    </a:moveTo>
                    <a:cubicBezTo>
                      <a:pt x="42" y="51"/>
                      <a:pt x="41" y="51"/>
                      <a:pt x="41" y="51"/>
                    </a:cubicBezTo>
                    <a:cubicBezTo>
                      <a:pt x="38" y="51"/>
                      <a:pt x="35" y="48"/>
                      <a:pt x="35" y="44"/>
                    </a:cubicBezTo>
                    <a:cubicBezTo>
                      <a:pt x="35" y="41"/>
                      <a:pt x="38" y="39"/>
                      <a:pt x="41" y="39"/>
                    </a:cubicBezTo>
                    <a:cubicBezTo>
                      <a:pt x="45" y="39"/>
                      <a:pt x="47" y="38"/>
                      <a:pt x="48" y="38"/>
                    </a:cubicBezTo>
                    <a:cubicBezTo>
                      <a:pt x="51" y="37"/>
                      <a:pt x="53" y="36"/>
                      <a:pt x="53" y="35"/>
                    </a:cubicBezTo>
                    <a:cubicBezTo>
                      <a:pt x="53" y="35"/>
                      <a:pt x="52" y="34"/>
                      <a:pt x="51" y="33"/>
                    </a:cubicBezTo>
                    <a:cubicBezTo>
                      <a:pt x="50" y="33"/>
                      <a:pt x="48" y="33"/>
                      <a:pt x="46" y="32"/>
                    </a:cubicBezTo>
                    <a:cubicBezTo>
                      <a:pt x="34" y="30"/>
                      <a:pt x="12" y="25"/>
                      <a:pt x="1" y="10"/>
                    </a:cubicBezTo>
                    <a:cubicBezTo>
                      <a:pt x="0" y="8"/>
                      <a:pt x="0" y="4"/>
                      <a:pt x="3" y="2"/>
                    </a:cubicBezTo>
                    <a:cubicBezTo>
                      <a:pt x="6" y="0"/>
                      <a:pt x="9" y="1"/>
                      <a:pt x="11" y="3"/>
                    </a:cubicBezTo>
                    <a:cubicBezTo>
                      <a:pt x="19" y="14"/>
                      <a:pt x="38" y="18"/>
                      <a:pt x="48" y="20"/>
                    </a:cubicBezTo>
                    <a:cubicBezTo>
                      <a:pt x="51" y="21"/>
                      <a:pt x="53" y="21"/>
                      <a:pt x="55" y="22"/>
                    </a:cubicBezTo>
                    <a:cubicBezTo>
                      <a:pt x="61" y="24"/>
                      <a:pt x="65" y="29"/>
                      <a:pt x="65" y="35"/>
                    </a:cubicBezTo>
                    <a:cubicBezTo>
                      <a:pt x="64" y="42"/>
                      <a:pt x="59" y="48"/>
                      <a:pt x="51" y="50"/>
                    </a:cubicBezTo>
                    <a:cubicBezTo>
                      <a:pt x="51" y="50"/>
                      <a:pt x="51" y="50"/>
                      <a:pt x="51" y="50"/>
                    </a:cubicBezTo>
                    <a:cubicBezTo>
                      <a:pt x="50" y="50"/>
                      <a:pt x="47" y="51"/>
                      <a:pt x="4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35">
                <a:extLst>
                  <a:ext uri="{FF2B5EF4-FFF2-40B4-BE49-F238E27FC236}">
                    <a16:creationId xmlns:a16="http://schemas.microsoft.com/office/drawing/2014/main" id="{EE98AF94-12B3-4B02-BDBC-8AF858A74DB7}"/>
                  </a:ext>
                </a:extLst>
              </p:cNvPr>
              <p:cNvSpPr>
                <a:spLocks/>
              </p:cNvSpPr>
              <p:nvPr/>
            </p:nvSpPr>
            <p:spPr bwMode="auto">
              <a:xfrm>
                <a:off x="14677391" y="4094163"/>
                <a:ext cx="284163" cy="242888"/>
              </a:xfrm>
              <a:custGeom>
                <a:avLst/>
                <a:gdLst>
                  <a:gd name="T0" fmla="*/ 22 w 67"/>
                  <a:gd name="T1" fmla="*/ 57 h 57"/>
                  <a:gd name="T2" fmla="*/ 14 w 67"/>
                  <a:gd name="T3" fmla="*/ 57 h 57"/>
                  <a:gd name="T4" fmla="*/ 14 w 67"/>
                  <a:gd name="T5" fmla="*/ 57 h 57"/>
                  <a:gd name="T6" fmla="*/ 0 w 67"/>
                  <a:gd name="T7" fmla="*/ 42 h 57"/>
                  <a:gd name="T8" fmla="*/ 10 w 67"/>
                  <a:gd name="T9" fmla="*/ 29 h 57"/>
                  <a:gd name="T10" fmla="*/ 18 w 67"/>
                  <a:gd name="T11" fmla="*/ 27 h 57"/>
                  <a:gd name="T12" fmla="*/ 35 w 67"/>
                  <a:gd name="T13" fmla="*/ 23 h 57"/>
                  <a:gd name="T14" fmla="*/ 53 w 67"/>
                  <a:gd name="T15" fmla="*/ 8 h 57"/>
                  <a:gd name="T16" fmla="*/ 56 w 67"/>
                  <a:gd name="T17" fmla="*/ 3 h 57"/>
                  <a:gd name="T18" fmla="*/ 64 w 67"/>
                  <a:gd name="T19" fmla="*/ 2 h 57"/>
                  <a:gd name="T20" fmla="*/ 65 w 67"/>
                  <a:gd name="T21" fmla="*/ 10 h 57"/>
                  <a:gd name="T22" fmla="*/ 63 w 67"/>
                  <a:gd name="T23" fmla="*/ 14 h 57"/>
                  <a:gd name="T24" fmla="*/ 38 w 67"/>
                  <a:gd name="T25" fmla="*/ 34 h 57"/>
                  <a:gd name="T26" fmla="*/ 20 w 67"/>
                  <a:gd name="T27" fmla="*/ 39 h 57"/>
                  <a:gd name="T28" fmla="*/ 14 w 67"/>
                  <a:gd name="T29" fmla="*/ 40 h 57"/>
                  <a:gd name="T30" fmla="*/ 12 w 67"/>
                  <a:gd name="T31" fmla="*/ 42 h 57"/>
                  <a:gd name="T32" fmla="*/ 17 w 67"/>
                  <a:gd name="T33" fmla="*/ 45 h 57"/>
                  <a:gd name="T34" fmla="*/ 52 w 67"/>
                  <a:gd name="T35" fmla="*/ 33 h 57"/>
                  <a:gd name="T36" fmla="*/ 61 w 67"/>
                  <a:gd name="T37" fmla="*/ 33 h 57"/>
                  <a:gd name="T38" fmla="*/ 61 w 67"/>
                  <a:gd name="T39" fmla="*/ 42 h 57"/>
                  <a:gd name="T40" fmla="*/ 22 w 67"/>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57">
                    <a:moveTo>
                      <a:pt x="22" y="57"/>
                    </a:moveTo>
                    <a:cubicBezTo>
                      <a:pt x="17" y="57"/>
                      <a:pt x="15" y="57"/>
                      <a:pt x="14" y="57"/>
                    </a:cubicBezTo>
                    <a:cubicBezTo>
                      <a:pt x="14" y="57"/>
                      <a:pt x="14" y="57"/>
                      <a:pt x="14" y="57"/>
                    </a:cubicBezTo>
                    <a:cubicBezTo>
                      <a:pt x="6" y="55"/>
                      <a:pt x="1" y="49"/>
                      <a:pt x="0" y="42"/>
                    </a:cubicBezTo>
                    <a:cubicBezTo>
                      <a:pt x="0" y="36"/>
                      <a:pt x="4" y="31"/>
                      <a:pt x="10" y="29"/>
                    </a:cubicBezTo>
                    <a:cubicBezTo>
                      <a:pt x="12" y="28"/>
                      <a:pt x="14" y="28"/>
                      <a:pt x="18" y="27"/>
                    </a:cubicBezTo>
                    <a:cubicBezTo>
                      <a:pt x="22" y="26"/>
                      <a:pt x="28" y="25"/>
                      <a:pt x="35" y="23"/>
                    </a:cubicBezTo>
                    <a:cubicBezTo>
                      <a:pt x="46" y="19"/>
                      <a:pt x="49" y="14"/>
                      <a:pt x="53" y="8"/>
                    </a:cubicBezTo>
                    <a:cubicBezTo>
                      <a:pt x="54" y="6"/>
                      <a:pt x="55" y="5"/>
                      <a:pt x="56" y="3"/>
                    </a:cubicBezTo>
                    <a:cubicBezTo>
                      <a:pt x="58" y="1"/>
                      <a:pt x="61" y="0"/>
                      <a:pt x="64" y="2"/>
                    </a:cubicBezTo>
                    <a:cubicBezTo>
                      <a:pt x="67" y="4"/>
                      <a:pt x="67" y="8"/>
                      <a:pt x="65" y="10"/>
                    </a:cubicBezTo>
                    <a:cubicBezTo>
                      <a:pt x="64" y="11"/>
                      <a:pt x="64" y="13"/>
                      <a:pt x="63" y="14"/>
                    </a:cubicBezTo>
                    <a:cubicBezTo>
                      <a:pt x="59" y="21"/>
                      <a:pt x="54" y="29"/>
                      <a:pt x="38" y="34"/>
                    </a:cubicBezTo>
                    <a:cubicBezTo>
                      <a:pt x="31" y="37"/>
                      <a:pt x="25" y="38"/>
                      <a:pt x="20" y="39"/>
                    </a:cubicBezTo>
                    <a:cubicBezTo>
                      <a:pt x="17" y="40"/>
                      <a:pt x="15" y="40"/>
                      <a:pt x="14" y="40"/>
                    </a:cubicBezTo>
                    <a:cubicBezTo>
                      <a:pt x="13" y="41"/>
                      <a:pt x="12" y="42"/>
                      <a:pt x="12" y="42"/>
                    </a:cubicBezTo>
                    <a:cubicBezTo>
                      <a:pt x="12" y="43"/>
                      <a:pt x="14" y="44"/>
                      <a:pt x="17" y="45"/>
                    </a:cubicBezTo>
                    <a:cubicBezTo>
                      <a:pt x="19" y="45"/>
                      <a:pt x="38" y="48"/>
                      <a:pt x="52" y="33"/>
                    </a:cubicBezTo>
                    <a:cubicBezTo>
                      <a:pt x="55" y="31"/>
                      <a:pt x="59" y="31"/>
                      <a:pt x="61" y="33"/>
                    </a:cubicBezTo>
                    <a:cubicBezTo>
                      <a:pt x="63" y="35"/>
                      <a:pt x="63" y="39"/>
                      <a:pt x="61" y="42"/>
                    </a:cubicBezTo>
                    <a:cubicBezTo>
                      <a:pt x="47" y="55"/>
                      <a:pt x="31" y="57"/>
                      <a:pt x="2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36">
                <a:extLst>
                  <a:ext uri="{FF2B5EF4-FFF2-40B4-BE49-F238E27FC236}">
                    <a16:creationId xmlns:a16="http://schemas.microsoft.com/office/drawing/2014/main" id="{2DDAC525-52E0-4B4F-9CC9-4F5F20F48F79}"/>
                  </a:ext>
                </a:extLst>
              </p:cNvPr>
              <p:cNvSpPr>
                <a:spLocks/>
              </p:cNvSpPr>
              <p:nvPr/>
            </p:nvSpPr>
            <p:spPr bwMode="auto">
              <a:xfrm>
                <a:off x="14745653" y="3883025"/>
                <a:ext cx="207963" cy="276225"/>
              </a:xfrm>
              <a:custGeom>
                <a:avLst/>
                <a:gdLst>
                  <a:gd name="T0" fmla="*/ 43 w 49"/>
                  <a:gd name="T1" fmla="*/ 65 h 65"/>
                  <a:gd name="T2" fmla="*/ 37 w 49"/>
                  <a:gd name="T3" fmla="*/ 59 h 65"/>
                  <a:gd name="T4" fmla="*/ 19 w 49"/>
                  <a:gd name="T5" fmla="*/ 15 h 65"/>
                  <a:gd name="T6" fmla="*/ 27 w 49"/>
                  <a:gd name="T7" fmla="*/ 45 h 65"/>
                  <a:gd name="T8" fmla="*/ 29 w 49"/>
                  <a:gd name="T9" fmla="*/ 53 h 65"/>
                  <a:gd name="T10" fmla="*/ 20 w 49"/>
                  <a:gd name="T11" fmla="*/ 55 h 65"/>
                  <a:gd name="T12" fmla="*/ 10 w 49"/>
                  <a:gd name="T13" fmla="*/ 4 h 65"/>
                  <a:gd name="T14" fmla="*/ 17 w 49"/>
                  <a:gd name="T15" fmla="*/ 1 h 65"/>
                  <a:gd name="T16" fmla="*/ 49 w 49"/>
                  <a:gd name="T17" fmla="*/ 58 h 65"/>
                  <a:gd name="T18" fmla="*/ 43 w 49"/>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65">
                    <a:moveTo>
                      <a:pt x="43" y="65"/>
                    </a:moveTo>
                    <a:cubicBezTo>
                      <a:pt x="40" y="65"/>
                      <a:pt x="37" y="62"/>
                      <a:pt x="37" y="59"/>
                    </a:cubicBezTo>
                    <a:cubicBezTo>
                      <a:pt x="36" y="36"/>
                      <a:pt x="30" y="22"/>
                      <a:pt x="19" y="15"/>
                    </a:cubicBezTo>
                    <a:cubicBezTo>
                      <a:pt x="17" y="23"/>
                      <a:pt x="15" y="37"/>
                      <a:pt x="27" y="45"/>
                    </a:cubicBezTo>
                    <a:cubicBezTo>
                      <a:pt x="30" y="47"/>
                      <a:pt x="31" y="50"/>
                      <a:pt x="29" y="53"/>
                    </a:cubicBezTo>
                    <a:cubicBezTo>
                      <a:pt x="27" y="56"/>
                      <a:pt x="23" y="56"/>
                      <a:pt x="20" y="55"/>
                    </a:cubicBezTo>
                    <a:cubicBezTo>
                      <a:pt x="0" y="41"/>
                      <a:pt x="5" y="16"/>
                      <a:pt x="10" y="4"/>
                    </a:cubicBezTo>
                    <a:cubicBezTo>
                      <a:pt x="11" y="1"/>
                      <a:pt x="14" y="0"/>
                      <a:pt x="17" y="1"/>
                    </a:cubicBezTo>
                    <a:cubicBezTo>
                      <a:pt x="31" y="6"/>
                      <a:pt x="48" y="19"/>
                      <a:pt x="49" y="58"/>
                    </a:cubicBezTo>
                    <a:cubicBezTo>
                      <a:pt x="49" y="62"/>
                      <a:pt x="46" y="64"/>
                      <a:pt x="4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37">
                <a:extLst>
                  <a:ext uri="{FF2B5EF4-FFF2-40B4-BE49-F238E27FC236}">
                    <a16:creationId xmlns:a16="http://schemas.microsoft.com/office/drawing/2014/main" id="{C03470B7-A72F-411D-987E-DD0D47F93ECE}"/>
                  </a:ext>
                </a:extLst>
              </p:cNvPr>
              <p:cNvSpPr>
                <a:spLocks/>
              </p:cNvSpPr>
              <p:nvPr/>
            </p:nvSpPr>
            <p:spPr bwMode="auto">
              <a:xfrm>
                <a:off x="14872653" y="4238625"/>
                <a:ext cx="71438" cy="149225"/>
              </a:xfrm>
              <a:custGeom>
                <a:avLst/>
                <a:gdLst>
                  <a:gd name="T0" fmla="*/ 6 w 17"/>
                  <a:gd name="T1" fmla="*/ 35 h 35"/>
                  <a:gd name="T2" fmla="*/ 6 w 17"/>
                  <a:gd name="T3" fmla="*/ 35 h 35"/>
                  <a:gd name="T4" fmla="*/ 0 w 17"/>
                  <a:gd name="T5" fmla="*/ 29 h 35"/>
                  <a:gd name="T6" fmla="*/ 1 w 17"/>
                  <a:gd name="T7" fmla="*/ 28 h 35"/>
                  <a:gd name="T8" fmla="*/ 5 w 17"/>
                  <a:gd name="T9" fmla="*/ 6 h 35"/>
                  <a:gd name="T10" fmla="*/ 12 w 17"/>
                  <a:gd name="T11" fmla="*/ 0 h 35"/>
                  <a:gd name="T12" fmla="*/ 17 w 17"/>
                  <a:gd name="T13" fmla="*/ 7 h 35"/>
                  <a:gd name="T14" fmla="*/ 12 w 17"/>
                  <a:gd name="T15" fmla="*/ 31 h 35"/>
                  <a:gd name="T16" fmla="*/ 6 w 17"/>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5">
                    <a:moveTo>
                      <a:pt x="6" y="35"/>
                    </a:moveTo>
                    <a:cubicBezTo>
                      <a:pt x="6" y="35"/>
                      <a:pt x="6" y="35"/>
                      <a:pt x="6" y="35"/>
                    </a:cubicBezTo>
                    <a:cubicBezTo>
                      <a:pt x="3" y="35"/>
                      <a:pt x="0" y="32"/>
                      <a:pt x="0" y="29"/>
                    </a:cubicBezTo>
                    <a:cubicBezTo>
                      <a:pt x="0" y="29"/>
                      <a:pt x="0" y="28"/>
                      <a:pt x="1" y="28"/>
                    </a:cubicBezTo>
                    <a:cubicBezTo>
                      <a:pt x="1" y="27"/>
                      <a:pt x="3" y="18"/>
                      <a:pt x="5" y="6"/>
                    </a:cubicBezTo>
                    <a:cubicBezTo>
                      <a:pt x="5" y="2"/>
                      <a:pt x="8" y="0"/>
                      <a:pt x="12" y="0"/>
                    </a:cubicBezTo>
                    <a:cubicBezTo>
                      <a:pt x="15" y="1"/>
                      <a:pt x="17" y="4"/>
                      <a:pt x="17" y="7"/>
                    </a:cubicBezTo>
                    <a:cubicBezTo>
                      <a:pt x="15" y="20"/>
                      <a:pt x="12" y="30"/>
                      <a:pt x="12" y="31"/>
                    </a:cubicBezTo>
                    <a:cubicBezTo>
                      <a:pt x="12" y="33"/>
                      <a:pt x="9"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38">
                <a:extLst>
                  <a:ext uri="{FF2B5EF4-FFF2-40B4-BE49-F238E27FC236}">
                    <a16:creationId xmlns:a16="http://schemas.microsoft.com/office/drawing/2014/main" id="{0EEDA6B1-907A-44B6-B501-979DDED07AA6}"/>
                  </a:ext>
                </a:extLst>
              </p:cNvPr>
              <p:cNvSpPr>
                <a:spLocks noEditPoints="1"/>
              </p:cNvSpPr>
              <p:nvPr/>
            </p:nvSpPr>
            <p:spPr bwMode="auto">
              <a:xfrm>
                <a:off x="14855191" y="4078288"/>
                <a:ext cx="284163" cy="322263"/>
              </a:xfrm>
              <a:custGeom>
                <a:avLst/>
                <a:gdLst>
                  <a:gd name="T0" fmla="*/ 50 w 67"/>
                  <a:gd name="T1" fmla="*/ 76 h 76"/>
                  <a:gd name="T2" fmla="*/ 47 w 67"/>
                  <a:gd name="T3" fmla="*/ 76 h 76"/>
                  <a:gd name="T4" fmla="*/ 11 w 67"/>
                  <a:gd name="T5" fmla="*/ 46 h 76"/>
                  <a:gd name="T6" fmla="*/ 19 w 67"/>
                  <a:gd name="T7" fmla="*/ 2 h 76"/>
                  <a:gd name="T8" fmla="*/ 26 w 67"/>
                  <a:gd name="T9" fmla="*/ 1 h 76"/>
                  <a:gd name="T10" fmla="*/ 29 w 67"/>
                  <a:gd name="T11" fmla="*/ 7 h 76"/>
                  <a:gd name="T12" fmla="*/ 41 w 67"/>
                  <a:gd name="T13" fmla="*/ 34 h 76"/>
                  <a:gd name="T14" fmla="*/ 56 w 67"/>
                  <a:gd name="T15" fmla="*/ 48 h 76"/>
                  <a:gd name="T16" fmla="*/ 60 w 67"/>
                  <a:gd name="T17" fmla="*/ 51 h 76"/>
                  <a:gd name="T18" fmla="*/ 60 w 67"/>
                  <a:gd name="T19" fmla="*/ 51 h 76"/>
                  <a:gd name="T20" fmla="*/ 65 w 67"/>
                  <a:gd name="T21" fmla="*/ 67 h 76"/>
                  <a:gd name="T22" fmla="*/ 50 w 67"/>
                  <a:gd name="T23" fmla="*/ 76 h 76"/>
                  <a:gd name="T24" fmla="*/ 20 w 67"/>
                  <a:gd name="T25" fmla="*/ 23 h 76"/>
                  <a:gd name="T26" fmla="*/ 22 w 67"/>
                  <a:gd name="T27" fmla="*/ 42 h 76"/>
                  <a:gd name="T28" fmla="*/ 48 w 67"/>
                  <a:gd name="T29" fmla="*/ 64 h 76"/>
                  <a:gd name="T30" fmla="*/ 54 w 67"/>
                  <a:gd name="T31" fmla="*/ 63 h 76"/>
                  <a:gd name="T32" fmla="*/ 53 w 67"/>
                  <a:gd name="T33" fmla="*/ 60 h 76"/>
                  <a:gd name="T34" fmla="*/ 48 w 67"/>
                  <a:gd name="T35" fmla="*/ 57 h 76"/>
                  <a:gd name="T36" fmla="*/ 32 w 67"/>
                  <a:gd name="T37" fmla="*/ 42 h 76"/>
                  <a:gd name="T38" fmla="*/ 20 w 67"/>
                  <a:gd name="T39"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76">
                    <a:moveTo>
                      <a:pt x="50" y="76"/>
                    </a:moveTo>
                    <a:cubicBezTo>
                      <a:pt x="49" y="76"/>
                      <a:pt x="48" y="76"/>
                      <a:pt x="47" y="76"/>
                    </a:cubicBezTo>
                    <a:cubicBezTo>
                      <a:pt x="46" y="76"/>
                      <a:pt x="22" y="72"/>
                      <a:pt x="11" y="46"/>
                    </a:cubicBezTo>
                    <a:cubicBezTo>
                      <a:pt x="0" y="18"/>
                      <a:pt x="18" y="2"/>
                      <a:pt x="19" y="2"/>
                    </a:cubicBezTo>
                    <a:cubicBezTo>
                      <a:pt x="21" y="0"/>
                      <a:pt x="24" y="0"/>
                      <a:pt x="26" y="1"/>
                    </a:cubicBezTo>
                    <a:cubicBezTo>
                      <a:pt x="28" y="2"/>
                      <a:pt x="29" y="5"/>
                      <a:pt x="29" y="7"/>
                    </a:cubicBezTo>
                    <a:cubicBezTo>
                      <a:pt x="29" y="7"/>
                      <a:pt x="28" y="20"/>
                      <a:pt x="41" y="34"/>
                    </a:cubicBezTo>
                    <a:cubicBezTo>
                      <a:pt x="45" y="39"/>
                      <a:pt x="51" y="44"/>
                      <a:pt x="56" y="48"/>
                    </a:cubicBezTo>
                    <a:cubicBezTo>
                      <a:pt x="58" y="49"/>
                      <a:pt x="59" y="50"/>
                      <a:pt x="60" y="51"/>
                    </a:cubicBezTo>
                    <a:cubicBezTo>
                      <a:pt x="60" y="51"/>
                      <a:pt x="60" y="51"/>
                      <a:pt x="60" y="51"/>
                    </a:cubicBezTo>
                    <a:cubicBezTo>
                      <a:pt x="65" y="55"/>
                      <a:pt x="67" y="62"/>
                      <a:pt x="65" y="67"/>
                    </a:cubicBezTo>
                    <a:cubicBezTo>
                      <a:pt x="62" y="73"/>
                      <a:pt x="57" y="76"/>
                      <a:pt x="50" y="76"/>
                    </a:cubicBezTo>
                    <a:close/>
                    <a:moveTo>
                      <a:pt x="20" y="23"/>
                    </a:moveTo>
                    <a:cubicBezTo>
                      <a:pt x="19" y="28"/>
                      <a:pt x="19" y="34"/>
                      <a:pt x="22" y="42"/>
                    </a:cubicBezTo>
                    <a:cubicBezTo>
                      <a:pt x="30" y="61"/>
                      <a:pt x="48" y="64"/>
                      <a:pt x="48" y="64"/>
                    </a:cubicBezTo>
                    <a:cubicBezTo>
                      <a:pt x="52" y="64"/>
                      <a:pt x="53" y="63"/>
                      <a:pt x="54" y="63"/>
                    </a:cubicBezTo>
                    <a:cubicBezTo>
                      <a:pt x="54" y="62"/>
                      <a:pt x="54" y="61"/>
                      <a:pt x="53" y="60"/>
                    </a:cubicBezTo>
                    <a:cubicBezTo>
                      <a:pt x="51" y="59"/>
                      <a:pt x="50" y="58"/>
                      <a:pt x="48" y="57"/>
                    </a:cubicBezTo>
                    <a:cubicBezTo>
                      <a:pt x="43" y="53"/>
                      <a:pt x="37" y="48"/>
                      <a:pt x="32" y="42"/>
                    </a:cubicBezTo>
                    <a:cubicBezTo>
                      <a:pt x="26" y="36"/>
                      <a:pt x="22" y="29"/>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39">
                <a:extLst>
                  <a:ext uri="{FF2B5EF4-FFF2-40B4-BE49-F238E27FC236}">
                    <a16:creationId xmlns:a16="http://schemas.microsoft.com/office/drawing/2014/main" id="{D6A9CA26-32B9-44D7-81DC-B5DF453BE738}"/>
                  </a:ext>
                </a:extLst>
              </p:cNvPr>
              <p:cNvSpPr>
                <a:spLocks/>
              </p:cNvSpPr>
              <p:nvPr/>
            </p:nvSpPr>
            <p:spPr bwMode="auto">
              <a:xfrm>
                <a:off x="14898053" y="3827463"/>
                <a:ext cx="211138" cy="319088"/>
              </a:xfrm>
              <a:custGeom>
                <a:avLst/>
                <a:gdLst>
                  <a:gd name="T0" fmla="*/ 7 w 50"/>
                  <a:gd name="T1" fmla="*/ 75 h 75"/>
                  <a:gd name="T2" fmla="*/ 2 w 50"/>
                  <a:gd name="T3" fmla="*/ 73 h 75"/>
                  <a:gd name="T4" fmla="*/ 3 w 50"/>
                  <a:gd name="T5" fmla="*/ 65 h 75"/>
                  <a:gd name="T6" fmla="*/ 23 w 50"/>
                  <a:gd name="T7" fmla="*/ 14 h 75"/>
                  <a:gd name="T8" fmla="*/ 13 w 50"/>
                  <a:gd name="T9" fmla="*/ 23 h 75"/>
                  <a:gd name="T10" fmla="*/ 4 w 50"/>
                  <a:gd name="T11" fmla="*/ 24 h 75"/>
                  <a:gd name="T12" fmla="*/ 3 w 50"/>
                  <a:gd name="T13" fmla="*/ 16 h 75"/>
                  <a:gd name="T14" fmla="*/ 25 w 50"/>
                  <a:gd name="T15" fmla="*/ 1 h 75"/>
                  <a:gd name="T16" fmla="*/ 32 w 50"/>
                  <a:gd name="T17" fmla="*/ 4 h 75"/>
                  <a:gd name="T18" fmla="*/ 11 w 50"/>
                  <a:gd name="T19" fmla="*/ 74 h 75"/>
                  <a:gd name="T20" fmla="*/ 7 w 50"/>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75">
                    <a:moveTo>
                      <a:pt x="7" y="75"/>
                    </a:moveTo>
                    <a:cubicBezTo>
                      <a:pt x="5" y="75"/>
                      <a:pt x="4" y="74"/>
                      <a:pt x="2" y="73"/>
                    </a:cubicBezTo>
                    <a:cubicBezTo>
                      <a:pt x="0" y="70"/>
                      <a:pt x="1" y="67"/>
                      <a:pt x="3" y="65"/>
                    </a:cubicBezTo>
                    <a:cubicBezTo>
                      <a:pt x="27" y="45"/>
                      <a:pt x="25" y="24"/>
                      <a:pt x="23" y="14"/>
                    </a:cubicBezTo>
                    <a:cubicBezTo>
                      <a:pt x="17" y="17"/>
                      <a:pt x="13" y="23"/>
                      <a:pt x="13" y="23"/>
                    </a:cubicBezTo>
                    <a:cubicBezTo>
                      <a:pt x="11" y="25"/>
                      <a:pt x="7" y="26"/>
                      <a:pt x="4" y="24"/>
                    </a:cubicBezTo>
                    <a:cubicBezTo>
                      <a:pt x="2" y="22"/>
                      <a:pt x="1" y="18"/>
                      <a:pt x="3" y="16"/>
                    </a:cubicBezTo>
                    <a:cubicBezTo>
                      <a:pt x="4" y="15"/>
                      <a:pt x="12" y="4"/>
                      <a:pt x="25" y="1"/>
                    </a:cubicBezTo>
                    <a:cubicBezTo>
                      <a:pt x="28" y="0"/>
                      <a:pt x="30" y="2"/>
                      <a:pt x="32" y="4"/>
                    </a:cubicBezTo>
                    <a:cubicBezTo>
                      <a:pt x="32" y="4"/>
                      <a:pt x="50" y="41"/>
                      <a:pt x="11" y="74"/>
                    </a:cubicBezTo>
                    <a:cubicBezTo>
                      <a:pt x="10" y="75"/>
                      <a:pt x="8" y="75"/>
                      <a:pt x="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40">
                <a:extLst>
                  <a:ext uri="{FF2B5EF4-FFF2-40B4-BE49-F238E27FC236}">
                    <a16:creationId xmlns:a16="http://schemas.microsoft.com/office/drawing/2014/main" id="{D074046F-BE55-41C7-BA8F-F2715A0DC86B}"/>
                  </a:ext>
                </a:extLst>
              </p:cNvPr>
              <p:cNvSpPr>
                <a:spLocks/>
              </p:cNvSpPr>
              <p:nvPr/>
            </p:nvSpPr>
            <p:spPr bwMode="auto">
              <a:xfrm>
                <a:off x="14931391" y="3951288"/>
                <a:ext cx="258763" cy="203200"/>
              </a:xfrm>
              <a:custGeom>
                <a:avLst/>
                <a:gdLst>
                  <a:gd name="T0" fmla="*/ 23 w 61"/>
                  <a:gd name="T1" fmla="*/ 48 h 48"/>
                  <a:gd name="T2" fmla="*/ 5 w 61"/>
                  <a:gd name="T3" fmla="*/ 46 h 48"/>
                  <a:gd name="T4" fmla="*/ 1 w 61"/>
                  <a:gd name="T5" fmla="*/ 38 h 48"/>
                  <a:gd name="T6" fmla="*/ 9 w 61"/>
                  <a:gd name="T7" fmla="*/ 34 h 48"/>
                  <a:gd name="T8" fmla="*/ 38 w 61"/>
                  <a:gd name="T9" fmla="*/ 33 h 48"/>
                  <a:gd name="T10" fmla="*/ 47 w 61"/>
                  <a:gd name="T11" fmla="*/ 23 h 48"/>
                  <a:gd name="T12" fmla="*/ 20 w 61"/>
                  <a:gd name="T13" fmla="*/ 25 h 48"/>
                  <a:gd name="T14" fmla="*/ 12 w 61"/>
                  <a:gd name="T15" fmla="*/ 23 h 48"/>
                  <a:gd name="T16" fmla="*/ 13 w 61"/>
                  <a:gd name="T17" fmla="*/ 15 h 48"/>
                  <a:gd name="T18" fmla="*/ 58 w 61"/>
                  <a:gd name="T19" fmla="*/ 15 h 48"/>
                  <a:gd name="T20" fmla="*/ 60 w 61"/>
                  <a:gd name="T21" fmla="*/ 22 h 48"/>
                  <a:gd name="T22" fmla="*/ 44 w 61"/>
                  <a:gd name="T23" fmla="*/ 43 h 48"/>
                  <a:gd name="T24" fmla="*/ 23 w 61"/>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48">
                    <a:moveTo>
                      <a:pt x="23" y="48"/>
                    </a:moveTo>
                    <a:cubicBezTo>
                      <a:pt x="13" y="48"/>
                      <a:pt x="6" y="46"/>
                      <a:pt x="5" y="46"/>
                    </a:cubicBezTo>
                    <a:cubicBezTo>
                      <a:pt x="2" y="45"/>
                      <a:pt x="0" y="41"/>
                      <a:pt x="1" y="38"/>
                    </a:cubicBezTo>
                    <a:cubicBezTo>
                      <a:pt x="2" y="35"/>
                      <a:pt x="6" y="33"/>
                      <a:pt x="9" y="34"/>
                    </a:cubicBezTo>
                    <a:cubicBezTo>
                      <a:pt x="9" y="34"/>
                      <a:pt x="26" y="39"/>
                      <a:pt x="38" y="33"/>
                    </a:cubicBezTo>
                    <a:cubicBezTo>
                      <a:pt x="42" y="31"/>
                      <a:pt x="45" y="27"/>
                      <a:pt x="47" y="23"/>
                    </a:cubicBezTo>
                    <a:cubicBezTo>
                      <a:pt x="42" y="20"/>
                      <a:pt x="31" y="17"/>
                      <a:pt x="20" y="25"/>
                    </a:cubicBezTo>
                    <a:cubicBezTo>
                      <a:pt x="17" y="27"/>
                      <a:pt x="14" y="26"/>
                      <a:pt x="12" y="23"/>
                    </a:cubicBezTo>
                    <a:cubicBezTo>
                      <a:pt x="10" y="21"/>
                      <a:pt x="10" y="17"/>
                      <a:pt x="13" y="15"/>
                    </a:cubicBezTo>
                    <a:cubicBezTo>
                      <a:pt x="36" y="0"/>
                      <a:pt x="57" y="15"/>
                      <a:pt x="58" y="15"/>
                    </a:cubicBezTo>
                    <a:cubicBezTo>
                      <a:pt x="60" y="17"/>
                      <a:pt x="61" y="19"/>
                      <a:pt x="60" y="22"/>
                    </a:cubicBezTo>
                    <a:cubicBezTo>
                      <a:pt x="57" y="32"/>
                      <a:pt x="52" y="39"/>
                      <a:pt x="44" y="43"/>
                    </a:cubicBezTo>
                    <a:cubicBezTo>
                      <a:pt x="37" y="47"/>
                      <a:pt x="30" y="48"/>
                      <a:pt x="2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41">
                <a:extLst>
                  <a:ext uri="{FF2B5EF4-FFF2-40B4-BE49-F238E27FC236}">
                    <a16:creationId xmlns:a16="http://schemas.microsoft.com/office/drawing/2014/main" id="{D696DF9B-BF16-430A-AF73-FEAA9F2DC798}"/>
                  </a:ext>
                </a:extLst>
              </p:cNvPr>
              <p:cNvSpPr>
                <a:spLocks/>
              </p:cNvSpPr>
              <p:nvPr/>
            </p:nvSpPr>
            <p:spPr bwMode="auto">
              <a:xfrm>
                <a:off x="14936153" y="3548063"/>
                <a:ext cx="274638" cy="215900"/>
              </a:xfrm>
              <a:custGeom>
                <a:avLst/>
                <a:gdLst>
                  <a:gd name="T0" fmla="*/ 42 w 65"/>
                  <a:gd name="T1" fmla="*/ 51 h 51"/>
                  <a:gd name="T2" fmla="*/ 41 w 65"/>
                  <a:gd name="T3" fmla="*/ 51 h 51"/>
                  <a:gd name="T4" fmla="*/ 35 w 65"/>
                  <a:gd name="T5" fmla="*/ 44 h 51"/>
                  <a:gd name="T6" fmla="*/ 41 w 65"/>
                  <a:gd name="T7" fmla="*/ 39 h 51"/>
                  <a:gd name="T8" fmla="*/ 48 w 65"/>
                  <a:gd name="T9" fmla="*/ 38 h 51"/>
                  <a:gd name="T10" fmla="*/ 53 w 65"/>
                  <a:gd name="T11" fmla="*/ 35 h 51"/>
                  <a:gd name="T12" fmla="*/ 51 w 65"/>
                  <a:gd name="T13" fmla="*/ 33 h 51"/>
                  <a:gd name="T14" fmla="*/ 46 w 65"/>
                  <a:gd name="T15" fmla="*/ 32 h 51"/>
                  <a:gd name="T16" fmla="*/ 1 w 65"/>
                  <a:gd name="T17" fmla="*/ 10 h 51"/>
                  <a:gd name="T18" fmla="*/ 3 w 65"/>
                  <a:gd name="T19" fmla="*/ 2 h 51"/>
                  <a:gd name="T20" fmla="*/ 11 w 65"/>
                  <a:gd name="T21" fmla="*/ 3 h 51"/>
                  <a:gd name="T22" fmla="*/ 48 w 65"/>
                  <a:gd name="T23" fmla="*/ 20 h 51"/>
                  <a:gd name="T24" fmla="*/ 55 w 65"/>
                  <a:gd name="T25" fmla="*/ 22 h 51"/>
                  <a:gd name="T26" fmla="*/ 65 w 65"/>
                  <a:gd name="T27" fmla="*/ 35 h 51"/>
                  <a:gd name="T28" fmla="*/ 51 w 65"/>
                  <a:gd name="T29" fmla="*/ 50 h 51"/>
                  <a:gd name="T30" fmla="*/ 51 w 65"/>
                  <a:gd name="T31" fmla="*/ 50 h 51"/>
                  <a:gd name="T32" fmla="*/ 42 w 65"/>
                  <a:gd name="T3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51">
                    <a:moveTo>
                      <a:pt x="42" y="51"/>
                    </a:moveTo>
                    <a:cubicBezTo>
                      <a:pt x="42" y="51"/>
                      <a:pt x="41" y="51"/>
                      <a:pt x="41" y="51"/>
                    </a:cubicBezTo>
                    <a:cubicBezTo>
                      <a:pt x="38" y="50"/>
                      <a:pt x="35" y="48"/>
                      <a:pt x="35" y="44"/>
                    </a:cubicBezTo>
                    <a:cubicBezTo>
                      <a:pt x="35" y="41"/>
                      <a:pt x="38" y="38"/>
                      <a:pt x="41" y="39"/>
                    </a:cubicBezTo>
                    <a:cubicBezTo>
                      <a:pt x="45" y="39"/>
                      <a:pt x="47" y="38"/>
                      <a:pt x="48" y="38"/>
                    </a:cubicBezTo>
                    <a:cubicBezTo>
                      <a:pt x="51" y="37"/>
                      <a:pt x="53" y="36"/>
                      <a:pt x="53" y="35"/>
                    </a:cubicBezTo>
                    <a:cubicBezTo>
                      <a:pt x="53" y="34"/>
                      <a:pt x="52" y="34"/>
                      <a:pt x="51" y="33"/>
                    </a:cubicBezTo>
                    <a:cubicBezTo>
                      <a:pt x="50" y="33"/>
                      <a:pt x="48" y="33"/>
                      <a:pt x="46" y="32"/>
                    </a:cubicBezTo>
                    <a:cubicBezTo>
                      <a:pt x="34" y="30"/>
                      <a:pt x="12" y="25"/>
                      <a:pt x="1" y="10"/>
                    </a:cubicBezTo>
                    <a:cubicBezTo>
                      <a:pt x="0" y="7"/>
                      <a:pt x="0" y="4"/>
                      <a:pt x="3" y="2"/>
                    </a:cubicBezTo>
                    <a:cubicBezTo>
                      <a:pt x="6" y="0"/>
                      <a:pt x="9" y="0"/>
                      <a:pt x="11" y="3"/>
                    </a:cubicBezTo>
                    <a:cubicBezTo>
                      <a:pt x="19" y="14"/>
                      <a:pt x="38" y="18"/>
                      <a:pt x="48" y="20"/>
                    </a:cubicBezTo>
                    <a:cubicBezTo>
                      <a:pt x="51" y="21"/>
                      <a:pt x="53" y="21"/>
                      <a:pt x="55" y="22"/>
                    </a:cubicBezTo>
                    <a:cubicBezTo>
                      <a:pt x="61" y="24"/>
                      <a:pt x="65" y="29"/>
                      <a:pt x="65" y="35"/>
                    </a:cubicBezTo>
                    <a:cubicBezTo>
                      <a:pt x="64" y="42"/>
                      <a:pt x="59" y="47"/>
                      <a:pt x="51" y="50"/>
                    </a:cubicBezTo>
                    <a:cubicBezTo>
                      <a:pt x="51" y="50"/>
                      <a:pt x="51" y="50"/>
                      <a:pt x="51" y="50"/>
                    </a:cubicBezTo>
                    <a:cubicBezTo>
                      <a:pt x="49" y="50"/>
                      <a:pt x="47" y="51"/>
                      <a:pt x="4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42">
                <a:extLst>
                  <a:ext uri="{FF2B5EF4-FFF2-40B4-BE49-F238E27FC236}">
                    <a16:creationId xmlns:a16="http://schemas.microsoft.com/office/drawing/2014/main" id="{52CD1457-2F13-4B18-94D8-CF824A3A2BF2}"/>
                  </a:ext>
                </a:extLst>
              </p:cNvPr>
              <p:cNvSpPr>
                <a:spLocks/>
              </p:cNvSpPr>
              <p:nvPr/>
            </p:nvSpPr>
            <p:spPr bwMode="auto">
              <a:xfrm>
                <a:off x="14677391" y="3517900"/>
                <a:ext cx="284163" cy="241300"/>
              </a:xfrm>
              <a:custGeom>
                <a:avLst/>
                <a:gdLst>
                  <a:gd name="T0" fmla="*/ 22 w 67"/>
                  <a:gd name="T1" fmla="*/ 57 h 57"/>
                  <a:gd name="T2" fmla="*/ 14 w 67"/>
                  <a:gd name="T3" fmla="*/ 57 h 57"/>
                  <a:gd name="T4" fmla="*/ 14 w 67"/>
                  <a:gd name="T5" fmla="*/ 57 h 57"/>
                  <a:gd name="T6" fmla="*/ 0 w 67"/>
                  <a:gd name="T7" fmla="*/ 42 h 57"/>
                  <a:gd name="T8" fmla="*/ 10 w 67"/>
                  <a:gd name="T9" fmla="*/ 29 h 57"/>
                  <a:gd name="T10" fmla="*/ 18 w 67"/>
                  <a:gd name="T11" fmla="*/ 27 h 57"/>
                  <a:gd name="T12" fmla="*/ 35 w 67"/>
                  <a:gd name="T13" fmla="*/ 23 h 57"/>
                  <a:gd name="T14" fmla="*/ 53 w 67"/>
                  <a:gd name="T15" fmla="*/ 8 h 57"/>
                  <a:gd name="T16" fmla="*/ 56 w 67"/>
                  <a:gd name="T17" fmla="*/ 3 h 57"/>
                  <a:gd name="T18" fmla="*/ 64 w 67"/>
                  <a:gd name="T19" fmla="*/ 2 h 57"/>
                  <a:gd name="T20" fmla="*/ 65 w 67"/>
                  <a:gd name="T21" fmla="*/ 10 h 57"/>
                  <a:gd name="T22" fmla="*/ 63 w 67"/>
                  <a:gd name="T23" fmla="*/ 14 h 57"/>
                  <a:gd name="T24" fmla="*/ 38 w 67"/>
                  <a:gd name="T25" fmla="*/ 34 h 57"/>
                  <a:gd name="T26" fmla="*/ 20 w 67"/>
                  <a:gd name="T27" fmla="*/ 39 h 57"/>
                  <a:gd name="T28" fmla="*/ 14 w 67"/>
                  <a:gd name="T29" fmla="*/ 40 h 57"/>
                  <a:gd name="T30" fmla="*/ 12 w 67"/>
                  <a:gd name="T31" fmla="*/ 42 h 57"/>
                  <a:gd name="T32" fmla="*/ 17 w 67"/>
                  <a:gd name="T33" fmla="*/ 45 h 57"/>
                  <a:gd name="T34" fmla="*/ 52 w 67"/>
                  <a:gd name="T35" fmla="*/ 33 h 57"/>
                  <a:gd name="T36" fmla="*/ 61 w 67"/>
                  <a:gd name="T37" fmla="*/ 33 h 57"/>
                  <a:gd name="T38" fmla="*/ 61 w 67"/>
                  <a:gd name="T39" fmla="*/ 41 h 57"/>
                  <a:gd name="T40" fmla="*/ 22 w 67"/>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57">
                    <a:moveTo>
                      <a:pt x="22" y="57"/>
                    </a:moveTo>
                    <a:cubicBezTo>
                      <a:pt x="17" y="57"/>
                      <a:pt x="15" y="57"/>
                      <a:pt x="14" y="57"/>
                    </a:cubicBezTo>
                    <a:cubicBezTo>
                      <a:pt x="14" y="57"/>
                      <a:pt x="14" y="57"/>
                      <a:pt x="14" y="57"/>
                    </a:cubicBezTo>
                    <a:cubicBezTo>
                      <a:pt x="6" y="54"/>
                      <a:pt x="1" y="49"/>
                      <a:pt x="0" y="42"/>
                    </a:cubicBezTo>
                    <a:cubicBezTo>
                      <a:pt x="0" y="36"/>
                      <a:pt x="4" y="31"/>
                      <a:pt x="10" y="29"/>
                    </a:cubicBezTo>
                    <a:cubicBezTo>
                      <a:pt x="12" y="28"/>
                      <a:pt x="14" y="28"/>
                      <a:pt x="18" y="27"/>
                    </a:cubicBezTo>
                    <a:cubicBezTo>
                      <a:pt x="22" y="26"/>
                      <a:pt x="28" y="25"/>
                      <a:pt x="35" y="23"/>
                    </a:cubicBezTo>
                    <a:cubicBezTo>
                      <a:pt x="46" y="19"/>
                      <a:pt x="49" y="14"/>
                      <a:pt x="53" y="8"/>
                    </a:cubicBezTo>
                    <a:cubicBezTo>
                      <a:pt x="54" y="6"/>
                      <a:pt x="55" y="5"/>
                      <a:pt x="56" y="3"/>
                    </a:cubicBezTo>
                    <a:cubicBezTo>
                      <a:pt x="58" y="0"/>
                      <a:pt x="61" y="0"/>
                      <a:pt x="64" y="2"/>
                    </a:cubicBezTo>
                    <a:cubicBezTo>
                      <a:pt x="67" y="4"/>
                      <a:pt x="67" y="7"/>
                      <a:pt x="65" y="10"/>
                    </a:cubicBezTo>
                    <a:cubicBezTo>
                      <a:pt x="64" y="11"/>
                      <a:pt x="64" y="13"/>
                      <a:pt x="63" y="14"/>
                    </a:cubicBezTo>
                    <a:cubicBezTo>
                      <a:pt x="59" y="21"/>
                      <a:pt x="54" y="29"/>
                      <a:pt x="38" y="34"/>
                    </a:cubicBezTo>
                    <a:cubicBezTo>
                      <a:pt x="31" y="37"/>
                      <a:pt x="25" y="38"/>
                      <a:pt x="20" y="39"/>
                    </a:cubicBezTo>
                    <a:cubicBezTo>
                      <a:pt x="17" y="39"/>
                      <a:pt x="15" y="40"/>
                      <a:pt x="14" y="40"/>
                    </a:cubicBezTo>
                    <a:cubicBezTo>
                      <a:pt x="13" y="41"/>
                      <a:pt x="12" y="41"/>
                      <a:pt x="12" y="42"/>
                    </a:cubicBezTo>
                    <a:cubicBezTo>
                      <a:pt x="12" y="43"/>
                      <a:pt x="14" y="44"/>
                      <a:pt x="17" y="45"/>
                    </a:cubicBezTo>
                    <a:cubicBezTo>
                      <a:pt x="19" y="45"/>
                      <a:pt x="38" y="47"/>
                      <a:pt x="52" y="33"/>
                    </a:cubicBezTo>
                    <a:cubicBezTo>
                      <a:pt x="55" y="31"/>
                      <a:pt x="59" y="31"/>
                      <a:pt x="61" y="33"/>
                    </a:cubicBezTo>
                    <a:cubicBezTo>
                      <a:pt x="63" y="35"/>
                      <a:pt x="63" y="39"/>
                      <a:pt x="61" y="41"/>
                    </a:cubicBezTo>
                    <a:cubicBezTo>
                      <a:pt x="47" y="55"/>
                      <a:pt x="31" y="57"/>
                      <a:pt x="2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43">
                <a:extLst>
                  <a:ext uri="{FF2B5EF4-FFF2-40B4-BE49-F238E27FC236}">
                    <a16:creationId xmlns:a16="http://schemas.microsoft.com/office/drawing/2014/main" id="{6002A036-5D03-4428-9FD0-2A4CB28010F4}"/>
                  </a:ext>
                </a:extLst>
              </p:cNvPr>
              <p:cNvSpPr>
                <a:spLocks/>
              </p:cNvSpPr>
              <p:nvPr/>
            </p:nvSpPr>
            <p:spPr bwMode="auto">
              <a:xfrm>
                <a:off x="14745653" y="3305175"/>
                <a:ext cx="207963" cy="271463"/>
              </a:xfrm>
              <a:custGeom>
                <a:avLst/>
                <a:gdLst>
                  <a:gd name="T0" fmla="*/ 43 w 49"/>
                  <a:gd name="T1" fmla="*/ 64 h 64"/>
                  <a:gd name="T2" fmla="*/ 37 w 49"/>
                  <a:gd name="T3" fmla="*/ 59 h 64"/>
                  <a:gd name="T4" fmla="*/ 19 w 49"/>
                  <a:gd name="T5" fmla="*/ 15 h 64"/>
                  <a:gd name="T6" fmla="*/ 27 w 49"/>
                  <a:gd name="T7" fmla="*/ 45 h 64"/>
                  <a:gd name="T8" fmla="*/ 29 w 49"/>
                  <a:gd name="T9" fmla="*/ 53 h 64"/>
                  <a:gd name="T10" fmla="*/ 20 w 49"/>
                  <a:gd name="T11" fmla="*/ 55 h 64"/>
                  <a:gd name="T12" fmla="*/ 10 w 49"/>
                  <a:gd name="T13" fmla="*/ 4 h 64"/>
                  <a:gd name="T14" fmla="*/ 17 w 49"/>
                  <a:gd name="T15" fmla="*/ 1 h 64"/>
                  <a:gd name="T16" fmla="*/ 49 w 49"/>
                  <a:gd name="T17" fmla="*/ 58 h 64"/>
                  <a:gd name="T18" fmla="*/ 43 w 49"/>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64">
                    <a:moveTo>
                      <a:pt x="43" y="64"/>
                    </a:moveTo>
                    <a:cubicBezTo>
                      <a:pt x="40" y="64"/>
                      <a:pt x="37" y="62"/>
                      <a:pt x="37" y="59"/>
                    </a:cubicBezTo>
                    <a:cubicBezTo>
                      <a:pt x="36" y="36"/>
                      <a:pt x="30" y="21"/>
                      <a:pt x="19" y="15"/>
                    </a:cubicBezTo>
                    <a:cubicBezTo>
                      <a:pt x="17" y="23"/>
                      <a:pt x="15" y="36"/>
                      <a:pt x="27" y="45"/>
                    </a:cubicBezTo>
                    <a:cubicBezTo>
                      <a:pt x="30" y="46"/>
                      <a:pt x="31" y="50"/>
                      <a:pt x="29" y="53"/>
                    </a:cubicBezTo>
                    <a:cubicBezTo>
                      <a:pt x="27" y="56"/>
                      <a:pt x="23" y="56"/>
                      <a:pt x="20" y="55"/>
                    </a:cubicBezTo>
                    <a:cubicBezTo>
                      <a:pt x="0" y="41"/>
                      <a:pt x="5" y="15"/>
                      <a:pt x="10" y="4"/>
                    </a:cubicBezTo>
                    <a:cubicBezTo>
                      <a:pt x="11" y="1"/>
                      <a:pt x="14" y="0"/>
                      <a:pt x="17" y="1"/>
                    </a:cubicBezTo>
                    <a:cubicBezTo>
                      <a:pt x="31" y="5"/>
                      <a:pt x="48" y="19"/>
                      <a:pt x="49" y="58"/>
                    </a:cubicBezTo>
                    <a:cubicBezTo>
                      <a:pt x="49" y="62"/>
                      <a:pt x="46" y="64"/>
                      <a:pt x="43"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44">
                <a:extLst>
                  <a:ext uri="{FF2B5EF4-FFF2-40B4-BE49-F238E27FC236}">
                    <a16:creationId xmlns:a16="http://schemas.microsoft.com/office/drawing/2014/main" id="{B4CE5AC2-B08C-40DA-840A-628617BBEC00}"/>
                  </a:ext>
                </a:extLst>
              </p:cNvPr>
              <p:cNvSpPr>
                <a:spLocks/>
              </p:cNvSpPr>
              <p:nvPr/>
            </p:nvSpPr>
            <p:spPr bwMode="auto">
              <a:xfrm>
                <a:off x="14872653" y="3662363"/>
                <a:ext cx="71438" cy="147638"/>
              </a:xfrm>
              <a:custGeom>
                <a:avLst/>
                <a:gdLst>
                  <a:gd name="T0" fmla="*/ 6 w 17"/>
                  <a:gd name="T1" fmla="*/ 35 h 35"/>
                  <a:gd name="T2" fmla="*/ 6 w 17"/>
                  <a:gd name="T3" fmla="*/ 35 h 35"/>
                  <a:gd name="T4" fmla="*/ 0 w 17"/>
                  <a:gd name="T5" fmla="*/ 29 h 35"/>
                  <a:gd name="T6" fmla="*/ 1 w 17"/>
                  <a:gd name="T7" fmla="*/ 27 h 35"/>
                  <a:gd name="T8" fmla="*/ 5 w 17"/>
                  <a:gd name="T9" fmla="*/ 5 h 35"/>
                  <a:gd name="T10" fmla="*/ 12 w 17"/>
                  <a:gd name="T11" fmla="*/ 0 h 35"/>
                  <a:gd name="T12" fmla="*/ 17 w 17"/>
                  <a:gd name="T13" fmla="*/ 7 h 35"/>
                  <a:gd name="T14" fmla="*/ 12 w 17"/>
                  <a:gd name="T15" fmla="*/ 30 h 35"/>
                  <a:gd name="T16" fmla="*/ 6 w 17"/>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5">
                    <a:moveTo>
                      <a:pt x="6" y="35"/>
                    </a:moveTo>
                    <a:cubicBezTo>
                      <a:pt x="6" y="35"/>
                      <a:pt x="6" y="35"/>
                      <a:pt x="6" y="35"/>
                    </a:cubicBezTo>
                    <a:cubicBezTo>
                      <a:pt x="3" y="35"/>
                      <a:pt x="0" y="32"/>
                      <a:pt x="0" y="29"/>
                    </a:cubicBezTo>
                    <a:cubicBezTo>
                      <a:pt x="0" y="28"/>
                      <a:pt x="0" y="28"/>
                      <a:pt x="1" y="27"/>
                    </a:cubicBezTo>
                    <a:cubicBezTo>
                      <a:pt x="1" y="26"/>
                      <a:pt x="3" y="18"/>
                      <a:pt x="5" y="5"/>
                    </a:cubicBezTo>
                    <a:cubicBezTo>
                      <a:pt x="5" y="2"/>
                      <a:pt x="8" y="0"/>
                      <a:pt x="12" y="0"/>
                    </a:cubicBezTo>
                    <a:cubicBezTo>
                      <a:pt x="15" y="1"/>
                      <a:pt x="17" y="4"/>
                      <a:pt x="17" y="7"/>
                    </a:cubicBezTo>
                    <a:cubicBezTo>
                      <a:pt x="15" y="20"/>
                      <a:pt x="12" y="29"/>
                      <a:pt x="12" y="30"/>
                    </a:cubicBezTo>
                    <a:cubicBezTo>
                      <a:pt x="12" y="33"/>
                      <a:pt x="9"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45">
                <a:extLst>
                  <a:ext uri="{FF2B5EF4-FFF2-40B4-BE49-F238E27FC236}">
                    <a16:creationId xmlns:a16="http://schemas.microsoft.com/office/drawing/2014/main" id="{91F5F086-1CD5-4960-97C5-2AA3973C7B45}"/>
                  </a:ext>
                </a:extLst>
              </p:cNvPr>
              <p:cNvSpPr>
                <a:spLocks noEditPoints="1"/>
              </p:cNvSpPr>
              <p:nvPr/>
            </p:nvSpPr>
            <p:spPr bwMode="auto">
              <a:xfrm>
                <a:off x="14855191" y="3500438"/>
                <a:ext cx="284163" cy="322263"/>
              </a:xfrm>
              <a:custGeom>
                <a:avLst/>
                <a:gdLst>
                  <a:gd name="T0" fmla="*/ 50 w 67"/>
                  <a:gd name="T1" fmla="*/ 76 h 76"/>
                  <a:gd name="T2" fmla="*/ 47 w 67"/>
                  <a:gd name="T3" fmla="*/ 76 h 76"/>
                  <a:gd name="T4" fmla="*/ 11 w 67"/>
                  <a:gd name="T5" fmla="*/ 46 h 76"/>
                  <a:gd name="T6" fmla="*/ 19 w 67"/>
                  <a:gd name="T7" fmla="*/ 2 h 76"/>
                  <a:gd name="T8" fmla="*/ 26 w 67"/>
                  <a:gd name="T9" fmla="*/ 1 h 76"/>
                  <a:gd name="T10" fmla="*/ 29 w 67"/>
                  <a:gd name="T11" fmla="*/ 7 h 76"/>
                  <a:gd name="T12" fmla="*/ 41 w 67"/>
                  <a:gd name="T13" fmla="*/ 34 h 76"/>
                  <a:gd name="T14" fmla="*/ 56 w 67"/>
                  <a:gd name="T15" fmla="*/ 48 h 76"/>
                  <a:gd name="T16" fmla="*/ 60 w 67"/>
                  <a:gd name="T17" fmla="*/ 51 h 76"/>
                  <a:gd name="T18" fmla="*/ 60 w 67"/>
                  <a:gd name="T19" fmla="*/ 51 h 76"/>
                  <a:gd name="T20" fmla="*/ 65 w 67"/>
                  <a:gd name="T21" fmla="*/ 67 h 76"/>
                  <a:gd name="T22" fmla="*/ 50 w 67"/>
                  <a:gd name="T23" fmla="*/ 76 h 76"/>
                  <a:gd name="T24" fmla="*/ 20 w 67"/>
                  <a:gd name="T25" fmla="*/ 23 h 76"/>
                  <a:gd name="T26" fmla="*/ 22 w 67"/>
                  <a:gd name="T27" fmla="*/ 42 h 76"/>
                  <a:gd name="T28" fmla="*/ 48 w 67"/>
                  <a:gd name="T29" fmla="*/ 64 h 76"/>
                  <a:gd name="T30" fmla="*/ 54 w 67"/>
                  <a:gd name="T31" fmla="*/ 63 h 76"/>
                  <a:gd name="T32" fmla="*/ 53 w 67"/>
                  <a:gd name="T33" fmla="*/ 60 h 76"/>
                  <a:gd name="T34" fmla="*/ 48 w 67"/>
                  <a:gd name="T35" fmla="*/ 57 h 76"/>
                  <a:gd name="T36" fmla="*/ 32 w 67"/>
                  <a:gd name="T37" fmla="*/ 42 h 76"/>
                  <a:gd name="T38" fmla="*/ 20 w 67"/>
                  <a:gd name="T39"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76">
                    <a:moveTo>
                      <a:pt x="50" y="76"/>
                    </a:moveTo>
                    <a:cubicBezTo>
                      <a:pt x="49" y="76"/>
                      <a:pt x="48" y="76"/>
                      <a:pt x="47" y="76"/>
                    </a:cubicBezTo>
                    <a:cubicBezTo>
                      <a:pt x="46" y="76"/>
                      <a:pt x="22" y="72"/>
                      <a:pt x="11" y="46"/>
                    </a:cubicBezTo>
                    <a:cubicBezTo>
                      <a:pt x="0" y="18"/>
                      <a:pt x="18" y="2"/>
                      <a:pt x="19" y="2"/>
                    </a:cubicBezTo>
                    <a:cubicBezTo>
                      <a:pt x="21" y="0"/>
                      <a:pt x="24" y="0"/>
                      <a:pt x="26" y="1"/>
                    </a:cubicBezTo>
                    <a:cubicBezTo>
                      <a:pt x="28" y="2"/>
                      <a:pt x="29" y="4"/>
                      <a:pt x="29" y="7"/>
                    </a:cubicBezTo>
                    <a:cubicBezTo>
                      <a:pt x="29" y="7"/>
                      <a:pt x="28" y="20"/>
                      <a:pt x="41" y="34"/>
                    </a:cubicBezTo>
                    <a:cubicBezTo>
                      <a:pt x="45" y="39"/>
                      <a:pt x="51" y="44"/>
                      <a:pt x="56" y="48"/>
                    </a:cubicBezTo>
                    <a:cubicBezTo>
                      <a:pt x="58" y="49"/>
                      <a:pt x="59" y="50"/>
                      <a:pt x="60" y="51"/>
                    </a:cubicBezTo>
                    <a:cubicBezTo>
                      <a:pt x="60" y="51"/>
                      <a:pt x="60" y="51"/>
                      <a:pt x="60" y="51"/>
                    </a:cubicBezTo>
                    <a:cubicBezTo>
                      <a:pt x="65" y="55"/>
                      <a:pt x="67" y="62"/>
                      <a:pt x="65" y="67"/>
                    </a:cubicBezTo>
                    <a:cubicBezTo>
                      <a:pt x="62" y="73"/>
                      <a:pt x="57" y="76"/>
                      <a:pt x="50" y="76"/>
                    </a:cubicBezTo>
                    <a:close/>
                    <a:moveTo>
                      <a:pt x="20" y="23"/>
                    </a:moveTo>
                    <a:cubicBezTo>
                      <a:pt x="19" y="28"/>
                      <a:pt x="19" y="34"/>
                      <a:pt x="22" y="42"/>
                    </a:cubicBezTo>
                    <a:cubicBezTo>
                      <a:pt x="30" y="61"/>
                      <a:pt x="48" y="64"/>
                      <a:pt x="48" y="64"/>
                    </a:cubicBezTo>
                    <a:cubicBezTo>
                      <a:pt x="52" y="64"/>
                      <a:pt x="53" y="63"/>
                      <a:pt x="54" y="63"/>
                    </a:cubicBezTo>
                    <a:cubicBezTo>
                      <a:pt x="54" y="62"/>
                      <a:pt x="54" y="61"/>
                      <a:pt x="53" y="60"/>
                    </a:cubicBezTo>
                    <a:cubicBezTo>
                      <a:pt x="51" y="59"/>
                      <a:pt x="50" y="58"/>
                      <a:pt x="48" y="57"/>
                    </a:cubicBezTo>
                    <a:cubicBezTo>
                      <a:pt x="43" y="53"/>
                      <a:pt x="37" y="48"/>
                      <a:pt x="32" y="42"/>
                    </a:cubicBezTo>
                    <a:cubicBezTo>
                      <a:pt x="26" y="36"/>
                      <a:pt x="22" y="29"/>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46">
                <a:extLst>
                  <a:ext uri="{FF2B5EF4-FFF2-40B4-BE49-F238E27FC236}">
                    <a16:creationId xmlns:a16="http://schemas.microsoft.com/office/drawing/2014/main" id="{814B13A5-9A15-41D8-9EE3-280C80E16EAB}"/>
                  </a:ext>
                </a:extLst>
              </p:cNvPr>
              <p:cNvSpPr>
                <a:spLocks/>
              </p:cNvSpPr>
              <p:nvPr/>
            </p:nvSpPr>
            <p:spPr bwMode="auto">
              <a:xfrm>
                <a:off x="14898053" y="3251200"/>
                <a:ext cx="211138" cy="317500"/>
              </a:xfrm>
              <a:custGeom>
                <a:avLst/>
                <a:gdLst>
                  <a:gd name="T0" fmla="*/ 7 w 50"/>
                  <a:gd name="T1" fmla="*/ 75 h 75"/>
                  <a:gd name="T2" fmla="*/ 2 w 50"/>
                  <a:gd name="T3" fmla="*/ 73 h 75"/>
                  <a:gd name="T4" fmla="*/ 3 w 50"/>
                  <a:gd name="T5" fmla="*/ 64 h 75"/>
                  <a:gd name="T6" fmla="*/ 23 w 50"/>
                  <a:gd name="T7" fmla="*/ 14 h 75"/>
                  <a:gd name="T8" fmla="*/ 13 w 50"/>
                  <a:gd name="T9" fmla="*/ 23 h 75"/>
                  <a:gd name="T10" fmla="*/ 4 w 50"/>
                  <a:gd name="T11" fmla="*/ 24 h 75"/>
                  <a:gd name="T12" fmla="*/ 3 w 50"/>
                  <a:gd name="T13" fmla="*/ 16 h 75"/>
                  <a:gd name="T14" fmla="*/ 25 w 50"/>
                  <a:gd name="T15" fmla="*/ 1 h 75"/>
                  <a:gd name="T16" fmla="*/ 32 w 50"/>
                  <a:gd name="T17" fmla="*/ 4 h 75"/>
                  <a:gd name="T18" fmla="*/ 11 w 50"/>
                  <a:gd name="T19" fmla="*/ 74 h 75"/>
                  <a:gd name="T20" fmla="*/ 7 w 50"/>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75">
                    <a:moveTo>
                      <a:pt x="7" y="75"/>
                    </a:moveTo>
                    <a:cubicBezTo>
                      <a:pt x="5" y="75"/>
                      <a:pt x="4" y="74"/>
                      <a:pt x="2" y="73"/>
                    </a:cubicBezTo>
                    <a:cubicBezTo>
                      <a:pt x="0" y="70"/>
                      <a:pt x="1" y="67"/>
                      <a:pt x="3" y="64"/>
                    </a:cubicBezTo>
                    <a:cubicBezTo>
                      <a:pt x="27" y="45"/>
                      <a:pt x="25" y="24"/>
                      <a:pt x="23" y="14"/>
                    </a:cubicBezTo>
                    <a:cubicBezTo>
                      <a:pt x="17" y="17"/>
                      <a:pt x="13" y="23"/>
                      <a:pt x="13" y="23"/>
                    </a:cubicBezTo>
                    <a:cubicBezTo>
                      <a:pt x="11" y="25"/>
                      <a:pt x="7" y="26"/>
                      <a:pt x="4" y="24"/>
                    </a:cubicBezTo>
                    <a:cubicBezTo>
                      <a:pt x="2" y="22"/>
                      <a:pt x="1" y="18"/>
                      <a:pt x="3" y="16"/>
                    </a:cubicBezTo>
                    <a:cubicBezTo>
                      <a:pt x="4" y="15"/>
                      <a:pt x="12" y="3"/>
                      <a:pt x="25" y="1"/>
                    </a:cubicBezTo>
                    <a:cubicBezTo>
                      <a:pt x="28" y="0"/>
                      <a:pt x="30" y="1"/>
                      <a:pt x="32" y="4"/>
                    </a:cubicBezTo>
                    <a:cubicBezTo>
                      <a:pt x="32" y="4"/>
                      <a:pt x="50" y="41"/>
                      <a:pt x="11" y="74"/>
                    </a:cubicBezTo>
                    <a:cubicBezTo>
                      <a:pt x="10" y="75"/>
                      <a:pt x="8" y="75"/>
                      <a:pt x="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47">
                <a:extLst>
                  <a:ext uri="{FF2B5EF4-FFF2-40B4-BE49-F238E27FC236}">
                    <a16:creationId xmlns:a16="http://schemas.microsoft.com/office/drawing/2014/main" id="{745B4924-3DF3-4A0B-BC26-D8B9DFAC90A3}"/>
                  </a:ext>
                </a:extLst>
              </p:cNvPr>
              <p:cNvSpPr>
                <a:spLocks/>
              </p:cNvSpPr>
              <p:nvPr/>
            </p:nvSpPr>
            <p:spPr bwMode="auto">
              <a:xfrm>
                <a:off x="14931391" y="3370263"/>
                <a:ext cx="258763" cy="206375"/>
              </a:xfrm>
              <a:custGeom>
                <a:avLst/>
                <a:gdLst>
                  <a:gd name="T0" fmla="*/ 23 w 61"/>
                  <a:gd name="T1" fmla="*/ 49 h 49"/>
                  <a:gd name="T2" fmla="*/ 5 w 61"/>
                  <a:gd name="T3" fmla="*/ 46 h 49"/>
                  <a:gd name="T4" fmla="*/ 1 w 61"/>
                  <a:gd name="T5" fmla="*/ 39 h 49"/>
                  <a:gd name="T6" fmla="*/ 9 w 61"/>
                  <a:gd name="T7" fmla="*/ 35 h 49"/>
                  <a:gd name="T8" fmla="*/ 38 w 61"/>
                  <a:gd name="T9" fmla="*/ 34 h 49"/>
                  <a:gd name="T10" fmla="*/ 47 w 61"/>
                  <a:gd name="T11" fmla="*/ 24 h 49"/>
                  <a:gd name="T12" fmla="*/ 20 w 61"/>
                  <a:gd name="T13" fmla="*/ 26 h 49"/>
                  <a:gd name="T14" fmla="*/ 12 w 61"/>
                  <a:gd name="T15" fmla="*/ 24 h 49"/>
                  <a:gd name="T16" fmla="*/ 13 w 61"/>
                  <a:gd name="T17" fmla="*/ 16 h 49"/>
                  <a:gd name="T18" fmla="*/ 58 w 61"/>
                  <a:gd name="T19" fmla="*/ 16 h 49"/>
                  <a:gd name="T20" fmla="*/ 60 w 61"/>
                  <a:gd name="T21" fmla="*/ 23 h 49"/>
                  <a:gd name="T22" fmla="*/ 44 w 61"/>
                  <a:gd name="T23" fmla="*/ 44 h 49"/>
                  <a:gd name="T24" fmla="*/ 23 w 61"/>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49">
                    <a:moveTo>
                      <a:pt x="23" y="49"/>
                    </a:moveTo>
                    <a:cubicBezTo>
                      <a:pt x="13" y="49"/>
                      <a:pt x="6" y="47"/>
                      <a:pt x="5" y="46"/>
                    </a:cubicBezTo>
                    <a:cubicBezTo>
                      <a:pt x="2" y="45"/>
                      <a:pt x="0" y="42"/>
                      <a:pt x="1" y="39"/>
                    </a:cubicBezTo>
                    <a:cubicBezTo>
                      <a:pt x="2" y="36"/>
                      <a:pt x="6" y="34"/>
                      <a:pt x="9" y="35"/>
                    </a:cubicBezTo>
                    <a:cubicBezTo>
                      <a:pt x="9" y="35"/>
                      <a:pt x="26" y="40"/>
                      <a:pt x="38" y="34"/>
                    </a:cubicBezTo>
                    <a:cubicBezTo>
                      <a:pt x="42" y="31"/>
                      <a:pt x="45" y="28"/>
                      <a:pt x="47" y="24"/>
                    </a:cubicBezTo>
                    <a:cubicBezTo>
                      <a:pt x="42" y="21"/>
                      <a:pt x="31" y="18"/>
                      <a:pt x="20" y="26"/>
                    </a:cubicBezTo>
                    <a:cubicBezTo>
                      <a:pt x="17" y="28"/>
                      <a:pt x="14" y="27"/>
                      <a:pt x="12" y="24"/>
                    </a:cubicBezTo>
                    <a:cubicBezTo>
                      <a:pt x="10" y="22"/>
                      <a:pt x="10" y="18"/>
                      <a:pt x="13" y="16"/>
                    </a:cubicBezTo>
                    <a:cubicBezTo>
                      <a:pt x="36" y="0"/>
                      <a:pt x="57" y="16"/>
                      <a:pt x="58" y="16"/>
                    </a:cubicBezTo>
                    <a:cubicBezTo>
                      <a:pt x="60" y="18"/>
                      <a:pt x="61" y="20"/>
                      <a:pt x="60" y="23"/>
                    </a:cubicBezTo>
                    <a:cubicBezTo>
                      <a:pt x="57" y="33"/>
                      <a:pt x="52" y="40"/>
                      <a:pt x="44" y="44"/>
                    </a:cubicBezTo>
                    <a:cubicBezTo>
                      <a:pt x="37" y="48"/>
                      <a:pt x="30" y="49"/>
                      <a:pt x="2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48">
                <a:extLst>
                  <a:ext uri="{FF2B5EF4-FFF2-40B4-BE49-F238E27FC236}">
                    <a16:creationId xmlns:a16="http://schemas.microsoft.com/office/drawing/2014/main" id="{86036CFB-439E-43FB-BD99-0340FB15FA3D}"/>
                  </a:ext>
                </a:extLst>
              </p:cNvPr>
              <p:cNvSpPr>
                <a:spLocks/>
              </p:cNvSpPr>
              <p:nvPr/>
            </p:nvSpPr>
            <p:spPr bwMode="auto">
              <a:xfrm>
                <a:off x="14936153" y="4702175"/>
                <a:ext cx="274638" cy="211138"/>
              </a:xfrm>
              <a:custGeom>
                <a:avLst/>
                <a:gdLst>
                  <a:gd name="T0" fmla="*/ 42 w 65"/>
                  <a:gd name="T1" fmla="*/ 50 h 50"/>
                  <a:gd name="T2" fmla="*/ 41 w 65"/>
                  <a:gd name="T3" fmla="*/ 50 h 50"/>
                  <a:gd name="T4" fmla="*/ 35 w 65"/>
                  <a:gd name="T5" fmla="*/ 44 h 50"/>
                  <a:gd name="T6" fmla="*/ 41 w 65"/>
                  <a:gd name="T7" fmla="*/ 38 h 50"/>
                  <a:gd name="T8" fmla="*/ 48 w 65"/>
                  <a:gd name="T9" fmla="*/ 38 h 50"/>
                  <a:gd name="T10" fmla="*/ 53 w 65"/>
                  <a:gd name="T11" fmla="*/ 35 h 50"/>
                  <a:gd name="T12" fmla="*/ 51 w 65"/>
                  <a:gd name="T13" fmla="*/ 33 h 50"/>
                  <a:gd name="T14" fmla="*/ 46 w 65"/>
                  <a:gd name="T15" fmla="*/ 32 h 50"/>
                  <a:gd name="T16" fmla="*/ 1 w 65"/>
                  <a:gd name="T17" fmla="*/ 10 h 50"/>
                  <a:gd name="T18" fmla="*/ 3 w 65"/>
                  <a:gd name="T19" fmla="*/ 2 h 50"/>
                  <a:gd name="T20" fmla="*/ 11 w 65"/>
                  <a:gd name="T21" fmla="*/ 3 h 50"/>
                  <a:gd name="T22" fmla="*/ 48 w 65"/>
                  <a:gd name="T23" fmla="*/ 20 h 50"/>
                  <a:gd name="T24" fmla="*/ 55 w 65"/>
                  <a:gd name="T25" fmla="*/ 22 h 50"/>
                  <a:gd name="T26" fmla="*/ 65 w 65"/>
                  <a:gd name="T27" fmla="*/ 35 h 50"/>
                  <a:gd name="T28" fmla="*/ 51 w 65"/>
                  <a:gd name="T29" fmla="*/ 50 h 50"/>
                  <a:gd name="T30" fmla="*/ 51 w 65"/>
                  <a:gd name="T31" fmla="*/ 50 h 50"/>
                  <a:gd name="T32" fmla="*/ 42 w 65"/>
                  <a:gd name="T3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50">
                    <a:moveTo>
                      <a:pt x="42" y="50"/>
                    </a:moveTo>
                    <a:cubicBezTo>
                      <a:pt x="42" y="50"/>
                      <a:pt x="41" y="50"/>
                      <a:pt x="41" y="50"/>
                    </a:cubicBezTo>
                    <a:cubicBezTo>
                      <a:pt x="38" y="50"/>
                      <a:pt x="35" y="48"/>
                      <a:pt x="35" y="44"/>
                    </a:cubicBezTo>
                    <a:cubicBezTo>
                      <a:pt x="35" y="41"/>
                      <a:pt x="38" y="38"/>
                      <a:pt x="41" y="38"/>
                    </a:cubicBezTo>
                    <a:cubicBezTo>
                      <a:pt x="45" y="39"/>
                      <a:pt x="47" y="38"/>
                      <a:pt x="48" y="38"/>
                    </a:cubicBezTo>
                    <a:cubicBezTo>
                      <a:pt x="51" y="37"/>
                      <a:pt x="53" y="36"/>
                      <a:pt x="53" y="35"/>
                    </a:cubicBezTo>
                    <a:cubicBezTo>
                      <a:pt x="53" y="34"/>
                      <a:pt x="52" y="34"/>
                      <a:pt x="51" y="33"/>
                    </a:cubicBezTo>
                    <a:cubicBezTo>
                      <a:pt x="50" y="33"/>
                      <a:pt x="48" y="32"/>
                      <a:pt x="46" y="32"/>
                    </a:cubicBezTo>
                    <a:cubicBezTo>
                      <a:pt x="34" y="29"/>
                      <a:pt x="12" y="25"/>
                      <a:pt x="1" y="10"/>
                    </a:cubicBezTo>
                    <a:cubicBezTo>
                      <a:pt x="0" y="7"/>
                      <a:pt x="0" y="4"/>
                      <a:pt x="3" y="2"/>
                    </a:cubicBezTo>
                    <a:cubicBezTo>
                      <a:pt x="6" y="0"/>
                      <a:pt x="9" y="0"/>
                      <a:pt x="11" y="3"/>
                    </a:cubicBezTo>
                    <a:cubicBezTo>
                      <a:pt x="19" y="14"/>
                      <a:pt x="38" y="18"/>
                      <a:pt x="48" y="20"/>
                    </a:cubicBezTo>
                    <a:cubicBezTo>
                      <a:pt x="51" y="21"/>
                      <a:pt x="53" y="21"/>
                      <a:pt x="55" y="22"/>
                    </a:cubicBezTo>
                    <a:cubicBezTo>
                      <a:pt x="61" y="24"/>
                      <a:pt x="65" y="29"/>
                      <a:pt x="65" y="35"/>
                    </a:cubicBezTo>
                    <a:cubicBezTo>
                      <a:pt x="64" y="42"/>
                      <a:pt x="59" y="47"/>
                      <a:pt x="51" y="50"/>
                    </a:cubicBezTo>
                    <a:cubicBezTo>
                      <a:pt x="51" y="50"/>
                      <a:pt x="51" y="50"/>
                      <a:pt x="51" y="50"/>
                    </a:cubicBezTo>
                    <a:cubicBezTo>
                      <a:pt x="50" y="50"/>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49">
                <a:extLst>
                  <a:ext uri="{FF2B5EF4-FFF2-40B4-BE49-F238E27FC236}">
                    <a16:creationId xmlns:a16="http://schemas.microsoft.com/office/drawing/2014/main" id="{685F0772-18B9-4DD2-9CC0-C518F06458D0}"/>
                  </a:ext>
                </a:extLst>
              </p:cNvPr>
              <p:cNvSpPr>
                <a:spLocks/>
              </p:cNvSpPr>
              <p:nvPr/>
            </p:nvSpPr>
            <p:spPr bwMode="auto">
              <a:xfrm>
                <a:off x="14677391" y="4672013"/>
                <a:ext cx="284163" cy="241300"/>
              </a:xfrm>
              <a:custGeom>
                <a:avLst/>
                <a:gdLst>
                  <a:gd name="T0" fmla="*/ 22 w 67"/>
                  <a:gd name="T1" fmla="*/ 57 h 57"/>
                  <a:gd name="T2" fmla="*/ 14 w 67"/>
                  <a:gd name="T3" fmla="*/ 57 h 57"/>
                  <a:gd name="T4" fmla="*/ 14 w 67"/>
                  <a:gd name="T5" fmla="*/ 57 h 57"/>
                  <a:gd name="T6" fmla="*/ 0 w 67"/>
                  <a:gd name="T7" fmla="*/ 42 h 57"/>
                  <a:gd name="T8" fmla="*/ 10 w 67"/>
                  <a:gd name="T9" fmla="*/ 29 h 57"/>
                  <a:gd name="T10" fmla="*/ 18 w 67"/>
                  <a:gd name="T11" fmla="*/ 27 h 57"/>
                  <a:gd name="T12" fmla="*/ 35 w 67"/>
                  <a:gd name="T13" fmla="*/ 23 h 57"/>
                  <a:gd name="T14" fmla="*/ 53 w 67"/>
                  <a:gd name="T15" fmla="*/ 8 h 57"/>
                  <a:gd name="T16" fmla="*/ 56 w 67"/>
                  <a:gd name="T17" fmla="*/ 3 h 57"/>
                  <a:gd name="T18" fmla="*/ 64 w 67"/>
                  <a:gd name="T19" fmla="*/ 2 h 57"/>
                  <a:gd name="T20" fmla="*/ 65 w 67"/>
                  <a:gd name="T21" fmla="*/ 10 h 57"/>
                  <a:gd name="T22" fmla="*/ 63 w 67"/>
                  <a:gd name="T23" fmla="*/ 14 h 57"/>
                  <a:gd name="T24" fmla="*/ 38 w 67"/>
                  <a:gd name="T25" fmla="*/ 34 h 57"/>
                  <a:gd name="T26" fmla="*/ 20 w 67"/>
                  <a:gd name="T27" fmla="*/ 39 h 57"/>
                  <a:gd name="T28" fmla="*/ 14 w 67"/>
                  <a:gd name="T29" fmla="*/ 40 h 57"/>
                  <a:gd name="T30" fmla="*/ 12 w 67"/>
                  <a:gd name="T31" fmla="*/ 42 h 57"/>
                  <a:gd name="T32" fmla="*/ 17 w 67"/>
                  <a:gd name="T33" fmla="*/ 45 h 57"/>
                  <a:gd name="T34" fmla="*/ 52 w 67"/>
                  <a:gd name="T35" fmla="*/ 33 h 57"/>
                  <a:gd name="T36" fmla="*/ 61 w 67"/>
                  <a:gd name="T37" fmla="*/ 33 h 57"/>
                  <a:gd name="T38" fmla="*/ 61 w 67"/>
                  <a:gd name="T39" fmla="*/ 41 h 57"/>
                  <a:gd name="T40" fmla="*/ 22 w 67"/>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57">
                    <a:moveTo>
                      <a:pt x="22" y="57"/>
                    </a:moveTo>
                    <a:cubicBezTo>
                      <a:pt x="17" y="57"/>
                      <a:pt x="15" y="57"/>
                      <a:pt x="14" y="57"/>
                    </a:cubicBezTo>
                    <a:cubicBezTo>
                      <a:pt x="14" y="57"/>
                      <a:pt x="14" y="57"/>
                      <a:pt x="14" y="57"/>
                    </a:cubicBezTo>
                    <a:cubicBezTo>
                      <a:pt x="6" y="54"/>
                      <a:pt x="1" y="49"/>
                      <a:pt x="0" y="42"/>
                    </a:cubicBezTo>
                    <a:cubicBezTo>
                      <a:pt x="0" y="36"/>
                      <a:pt x="4" y="31"/>
                      <a:pt x="10" y="29"/>
                    </a:cubicBezTo>
                    <a:cubicBezTo>
                      <a:pt x="12" y="28"/>
                      <a:pt x="14" y="28"/>
                      <a:pt x="18" y="27"/>
                    </a:cubicBezTo>
                    <a:cubicBezTo>
                      <a:pt x="22" y="26"/>
                      <a:pt x="28" y="25"/>
                      <a:pt x="35" y="23"/>
                    </a:cubicBezTo>
                    <a:cubicBezTo>
                      <a:pt x="46" y="19"/>
                      <a:pt x="49" y="14"/>
                      <a:pt x="53" y="8"/>
                    </a:cubicBezTo>
                    <a:cubicBezTo>
                      <a:pt x="54" y="6"/>
                      <a:pt x="55" y="5"/>
                      <a:pt x="56" y="3"/>
                    </a:cubicBezTo>
                    <a:cubicBezTo>
                      <a:pt x="58" y="0"/>
                      <a:pt x="61" y="0"/>
                      <a:pt x="64" y="2"/>
                    </a:cubicBezTo>
                    <a:cubicBezTo>
                      <a:pt x="67" y="4"/>
                      <a:pt x="67" y="7"/>
                      <a:pt x="65" y="10"/>
                    </a:cubicBezTo>
                    <a:cubicBezTo>
                      <a:pt x="64" y="11"/>
                      <a:pt x="64" y="13"/>
                      <a:pt x="63" y="14"/>
                    </a:cubicBezTo>
                    <a:cubicBezTo>
                      <a:pt x="59" y="20"/>
                      <a:pt x="54" y="29"/>
                      <a:pt x="38" y="34"/>
                    </a:cubicBezTo>
                    <a:cubicBezTo>
                      <a:pt x="31" y="36"/>
                      <a:pt x="25" y="38"/>
                      <a:pt x="20" y="39"/>
                    </a:cubicBezTo>
                    <a:cubicBezTo>
                      <a:pt x="17" y="39"/>
                      <a:pt x="15" y="40"/>
                      <a:pt x="14" y="40"/>
                    </a:cubicBezTo>
                    <a:cubicBezTo>
                      <a:pt x="13" y="41"/>
                      <a:pt x="12" y="41"/>
                      <a:pt x="12" y="42"/>
                    </a:cubicBezTo>
                    <a:cubicBezTo>
                      <a:pt x="12" y="43"/>
                      <a:pt x="14" y="44"/>
                      <a:pt x="17" y="45"/>
                    </a:cubicBezTo>
                    <a:cubicBezTo>
                      <a:pt x="19" y="45"/>
                      <a:pt x="38" y="47"/>
                      <a:pt x="52" y="33"/>
                    </a:cubicBezTo>
                    <a:cubicBezTo>
                      <a:pt x="55" y="31"/>
                      <a:pt x="59" y="30"/>
                      <a:pt x="61" y="33"/>
                    </a:cubicBezTo>
                    <a:cubicBezTo>
                      <a:pt x="63" y="35"/>
                      <a:pt x="63" y="39"/>
                      <a:pt x="61" y="41"/>
                    </a:cubicBezTo>
                    <a:cubicBezTo>
                      <a:pt x="47" y="55"/>
                      <a:pt x="31" y="57"/>
                      <a:pt x="2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50">
                <a:extLst>
                  <a:ext uri="{FF2B5EF4-FFF2-40B4-BE49-F238E27FC236}">
                    <a16:creationId xmlns:a16="http://schemas.microsoft.com/office/drawing/2014/main" id="{9B512D0F-6710-47A2-977C-0286BDE261D3}"/>
                  </a:ext>
                </a:extLst>
              </p:cNvPr>
              <p:cNvSpPr>
                <a:spLocks/>
              </p:cNvSpPr>
              <p:nvPr/>
            </p:nvSpPr>
            <p:spPr bwMode="auto">
              <a:xfrm>
                <a:off x="14745653" y="4459288"/>
                <a:ext cx="207963" cy="271463"/>
              </a:xfrm>
              <a:custGeom>
                <a:avLst/>
                <a:gdLst>
                  <a:gd name="T0" fmla="*/ 43 w 49"/>
                  <a:gd name="T1" fmla="*/ 64 h 64"/>
                  <a:gd name="T2" fmla="*/ 37 w 49"/>
                  <a:gd name="T3" fmla="*/ 59 h 64"/>
                  <a:gd name="T4" fmla="*/ 19 w 49"/>
                  <a:gd name="T5" fmla="*/ 15 h 64"/>
                  <a:gd name="T6" fmla="*/ 27 w 49"/>
                  <a:gd name="T7" fmla="*/ 45 h 64"/>
                  <a:gd name="T8" fmla="*/ 29 w 49"/>
                  <a:gd name="T9" fmla="*/ 53 h 64"/>
                  <a:gd name="T10" fmla="*/ 20 w 49"/>
                  <a:gd name="T11" fmla="*/ 54 h 64"/>
                  <a:gd name="T12" fmla="*/ 10 w 49"/>
                  <a:gd name="T13" fmla="*/ 4 h 64"/>
                  <a:gd name="T14" fmla="*/ 17 w 49"/>
                  <a:gd name="T15" fmla="*/ 1 h 64"/>
                  <a:gd name="T16" fmla="*/ 49 w 49"/>
                  <a:gd name="T17" fmla="*/ 58 h 64"/>
                  <a:gd name="T18" fmla="*/ 43 w 49"/>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64">
                    <a:moveTo>
                      <a:pt x="43" y="64"/>
                    </a:moveTo>
                    <a:cubicBezTo>
                      <a:pt x="40" y="64"/>
                      <a:pt x="37" y="62"/>
                      <a:pt x="37" y="59"/>
                    </a:cubicBezTo>
                    <a:cubicBezTo>
                      <a:pt x="36" y="36"/>
                      <a:pt x="30" y="21"/>
                      <a:pt x="19" y="15"/>
                    </a:cubicBezTo>
                    <a:cubicBezTo>
                      <a:pt x="17" y="22"/>
                      <a:pt x="15" y="36"/>
                      <a:pt x="27" y="45"/>
                    </a:cubicBezTo>
                    <a:cubicBezTo>
                      <a:pt x="30" y="46"/>
                      <a:pt x="31" y="50"/>
                      <a:pt x="29" y="53"/>
                    </a:cubicBezTo>
                    <a:cubicBezTo>
                      <a:pt x="27" y="56"/>
                      <a:pt x="23" y="56"/>
                      <a:pt x="20" y="54"/>
                    </a:cubicBezTo>
                    <a:cubicBezTo>
                      <a:pt x="0" y="41"/>
                      <a:pt x="5" y="15"/>
                      <a:pt x="10" y="4"/>
                    </a:cubicBezTo>
                    <a:cubicBezTo>
                      <a:pt x="11" y="1"/>
                      <a:pt x="14" y="0"/>
                      <a:pt x="17" y="1"/>
                    </a:cubicBezTo>
                    <a:cubicBezTo>
                      <a:pt x="31" y="5"/>
                      <a:pt x="48" y="19"/>
                      <a:pt x="49" y="58"/>
                    </a:cubicBezTo>
                    <a:cubicBezTo>
                      <a:pt x="49" y="61"/>
                      <a:pt x="46" y="64"/>
                      <a:pt x="43"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51">
                <a:extLst>
                  <a:ext uri="{FF2B5EF4-FFF2-40B4-BE49-F238E27FC236}">
                    <a16:creationId xmlns:a16="http://schemas.microsoft.com/office/drawing/2014/main" id="{BDF9E5ED-672C-4129-9F8C-81AF93DBB3D7}"/>
                  </a:ext>
                </a:extLst>
              </p:cNvPr>
              <p:cNvSpPr>
                <a:spLocks/>
              </p:cNvSpPr>
              <p:nvPr/>
            </p:nvSpPr>
            <p:spPr bwMode="auto">
              <a:xfrm>
                <a:off x="14872653" y="4816475"/>
                <a:ext cx="71438" cy="147638"/>
              </a:xfrm>
              <a:custGeom>
                <a:avLst/>
                <a:gdLst>
                  <a:gd name="T0" fmla="*/ 6 w 17"/>
                  <a:gd name="T1" fmla="*/ 35 h 35"/>
                  <a:gd name="T2" fmla="*/ 0 w 17"/>
                  <a:gd name="T3" fmla="*/ 29 h 35"/>
                  <a:gd name="T4" fmla="*/ 1 w 17"/>
                  <a:gd name="T5" fmla="*/ 27 h 35"/>
                  <a:gd name="T6" fmla="*/ 5 w 17"/>
                  <a:gd name="T7" fmla="*/ 5 h 35"/>
                  <a:gd name="T8" fmla="*/ 12 w 17"/>
                  <a:gd name="T9" fmla="*/ 0 h 35"/>
                  <a:gd name="T10" fmla="*/ 17 w 17"/>
                  <a:gd name="T11" fmla="*/ 7 h 35"/>
                  <a:gd name="T12" fmla="*/ 12 w 17"/>
                  <a:gd name="T13" fmla="*/ 30 h 35"/>
                  <a:gd name="T14" fmla="*/ 6 w 1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5">
                    <a:moveTo>
                      <a:pt x="6" y="35"/>
                    </a:moveTo>
                    <a:cubicBezTo>
                      <a:pt x="3" y="35"/>
                      <a:pt x="0" y="32"/>
                      <a:pt x="0" y="29"/>
                    </a:cubicBezTo>
                    <a:cubicBezTo>
                      <a:pt x="0" y="28"/>
                      <a:pt x="0" y="28"/>
                      <a:pt x="1" y="27"/>
                    </a:cubicBezTo>
                    <a:cubicBezTo>
                      <a:pt x="1" y="26"/>
                      <a:pt x="3" y="18"/>
                      <a:pt x="5" y="5"/>
                    </a:cubicBezTo>
                    <a:cubicBezTo>
                      <a:pt x="5" y="2"/>
                      <a:pt x="8" y="0"/>
                      <a:pt x="12" y="0"/>
                    </a:cubicBezTo>
                    <a:cubicBezTo>
                      <a:pt x="15" y="1"/>
                      <a:pt x="17" y="4"/>
                      <a:pt x="17" y="7"/>
                    </a:cubicBezTo>
                    <a:cubicBezTo>
                      <a:pt x="15" y="20"/>
                      <a:pt x="13" y="29"/>
                      <a:pt x="12" y="30"/>
                    </a:cubicBezTo>
                    <a:cubicBezTo>
                      <a:pt x="12" y="33"/>
                      <a:pt x="9"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52">
                <a:extLst>
                  <a:ext uri="{FF2B5EF4-FFF2-40B4-BE49-F238E27FC236}">
                    <a16:creationId xmlns:a16="http://schemas.microsoft.com/office/drawing/2014/main" id="{8E452EF4-2A5D-4753-A721-08E5C44DCF92}"/>
                  </a:ext>
                </a:extLst>
              </p:cNvPr>
              <p:cNvSpPr>
                <a:spLocks noEditPoints="1"/>
              </p:cNvSpPr>
              <p:nvPr/>
            </p:nvSpPr>
            <p:spPr bwMode="auto">
              <a:xfrm>
                <a:off x="14855191" y="4654550"/>
                <a:ext cx="284163" cy="322263"/>
              </a:xfrm>
              <a:custGeom>
                <a:avLst/>
                <a:gdLst>
                  <a:gd name="T0" fmla="*/ 50 w 67"/>
                  <a:gd name="T1" fmla="*/ 76 h 76"/>
                  <a:gd name="T2" fmla="*/ 47 w 67"/>
                  <a:gd name="T3" fmla="*/ 76 h 76"/>
                  <a:gd name="T4" fmla="*/ 11 w 67"/>
                  <a:gd name="T5" fmla="*/ 46 h 76"/>
                  <a:gd name="T6" fmla="*/ 19 w 67"/>
                  <a:gd name="T7" fmla="*/ 2 h 76"/>
                  <a:gd name="T8" fmla="*/ 26 w 67"/>
                  <a:gd name="T9" fmla="*/ 1 h 76"/>
                  <a:gd name="T10" fmla="*/ 29 w 67"/>
                  <a:gd name="T11" fmla="*/ 7 h 76"/>
                  <a:gd name="T12" fmla="*/ 41 w 67"/>
                  <a:gd name="T13" fmla="*/ 34 h 76"/>
                  <a:gd name="T14" fmla="*/ 56 w 67"/>
                  <a:gd name="T15" fmla="*/ 48 h 76"/>
                  <a:gd name="T16" fmla="*/ 60 w 67"/>
                  <a:gd name="T17" fmla="*/ 51 h 76"/>
                  <a:gd name="T18" fmla="*/ 60 w 67"/>
                  <a:gd name="T19" fmla="*/ 51 h 76"/>
                  <a:gd name="T20" fmla="*/ 65 w 67"/>
                  <a:gd name="T21" fmla="*/ 67 h 76"/>
                  <a:gd name="T22" fmla="*/ 50 w 67"/>
                  <a:gd name="T23" fmla="*/ 76 h 76"/>
                  <a:gd name="T24" fmla="*/ 20 w 67"/>
                  <a:gd name="T25" fmla="*/ 23 h 76"/>
                  <a:gd name="T26" fmla="*/ 22 w 67"/>
                  <a:gd name="T27" fmla="*/ 41 h 76"/>
                  <a:gd name="T28" fmla="*/ 48 w 67"/>
                  <a:gd name="T29" fmla="*/ 64 h 76"/>
                  <a:gd name="T30" fmla="*/ 54 w 67"/>
                  <a:gd name="T31" fmla="*/ 63 h 76"/>
                  <a:gd name="T32" fmla="*/ 53 w 67"/>
                  <a:gd name="T33" fmla="*/ 60 h 76"/>
                  <a:gd name="T34" fmla="*/ 48 w 67"/>
                  <a:gd name="T35" fmla="*/ 57 h 76"/>
                  <a:gd name="T36" fmla="*/ 32 w 67"/>
                  <a:gd name="T37" fmla="*/ 42 h 76"/>
                  <a:gd name="T38" fmla="*/ 20 w 67"/>
                  <a:gd name="T39"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76">
                    <a:moveTo>
                      <a:pt x="50" y="76"/>
                    </a:moveTo>
                    <a:cubicBezTo>
                      <a:pt x="49" y="76"/>
                      <a:pt x="48" y="76"/>
                      <a:pt x="47" y="76"/>
                    </a:cubicBezTo>
                    <a:cubicBezTo>
                      <a:pt x="46" y="75"/>
                      <a:pt x="22" y="72"/>
                      <a:pt x="11" y="46"/>
                    </a:cubicBezTo>
                    <a:cubicBezTo>
                      <a:pt x="0" y="18"/>
                      <a:pt x="18" y="2"/>
                      <a:pt x="19" y="2"/>
                    </a:cubicBezTo>
                    <a:cubicBezTo>
                      <a:pt x="21" y="0"/>
                      <a:pt x="24" y="0"/>
                      <a:pt x="26" y="1"/>
                    </a:cubicBezTo>
                    <a:cubicBezTo>
                      <a:pt x="28" y="2"/>
                      <a:pt x="29" y="4"/>
                      <a:pt x="29" y="7"/>
                    </a:cubicBezTo>
                    <a:cubicBezTo>
                      <a:pt x="29" y="7"/>
                      <a:pt x="28" y="20"/>
                      <a:pt x="41" y="34"/>
                    </a:cubicBezTo>
                    <a:cubicBezTo>
                      <a:pt x="45" y="39"/>
                      <a:pt x="51" y="44"/>
                      <a:pt x="56" y="48"/>
                    </a:cubicBezTo>
                    <a:cubicBezTo>
                      <a:pt x="58" y="49"/>
                      <a:pt x="59" y="50"/>
                      <a:pt x="60" y="51"/>
                    </a:cubicBezTo>
                    <a:cubicBezTo>
                      <a:pt x="60" y="51"/>
                      <a:pt x="60" y="51"/>
                      <a:pt x="60" y="51"/>
                    </a:cubicBezTo>
                    <a:cubicBezTo>
                      <a:pt x="65" y="55"/>
                      <a:pt x="67" y="62"/>
                      <a:pt x="65" y="67"/>
                    </a:cubicBezTo>
                    <a:cubicBezTo>
                      <a:pt x="62" y="73"/>
                      <a:pt x="57" y="76"/>
                      <a:pt x="50" y="76"/>
                    </a:cubicBezTo>
                    <a:close/>
                    <a:moveTo>
                      <a:pt x="20" y="23"/>
                    </a:moveTo>
                    <a:cubicBezTo>
                      <a:pt x="19" y="28"/>
                      <a:pt x="19" y="34"/>
                      <a:pt x="22" y="41"/>
                    </a:cubicBezTo>
                    <a:cubicBezTo>
                      <a:pt x="30" y="61"/>
                      <a:pt x="48" y="64"/>
                      <a:pt x="48" y="64"/>
                    </a:cubicBezTo>
                    <a:cubicBezTo>
                      <a:pt x="52" y="64"/>
                      <a:pt x="53" y="63"/>
                      <a:pt x="54" y="63"/>
                    </a:cubicBezTo>
                    <a:cubicBezTo>
                      <a:pt x="54" y="62"/>
                      <a:pt x="54" y="61"/>
                      <a:pt x="53" y="60"/>
                    </a:cubicBezTo>
                    <a:cubicBezTo>
                      <a:pt x="51" y="59"/>
                      <a:pt x="50" y="58"/>
                      <a:pt x="48" y="57"/>
                    </a:cubicBezTo>
                    <a:cubicBezTo>
                      <a:pt x="43" y="53"/>
                      <a:pt x="37" y="48"/>
                      <a:pt x="32" y="42"/>
                    </a:cubicBezTo>
                    <a:cubicBezTo>
                      <a:pt x="26" y="36"/>
                      <a:pt x="22" y="29"/>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53">
                <a:extLst>
                  <a:ext uri="{FF2B5EF4-FFF2-40B4-BE49-F238E27FC236}">
                    <a16:creationId xmlns:a16="http://schemas.microsoft.com/office/drawing/2014/main" id="{AA6A128C-50BC-41BE-9A03-17C9B7A4AAA3}"/>
                  </a:ext>
                </a:extLst>
              </p:cNvPr>
              <p:cNvSpPr>
                <a:spLocks/>
              </p:cNvSpPr>
              <p:nvPr/>
            </p:nvSpPr>
            <p:spPr bwMode="auto">
              <a:xfrm>
                <a:off x="14898053" y="4405313"/>
                <a:ext cx="211138" cy="317500"/>
              </a:xfrm>
              <a:custGeom>
                <a:avLst/>
                <a:gdLst>
                  <a:gd name="T0" fmla="*/ 7 w 50"/>
                  <a:gd name="T1" fmla="*/ 75 h 75"/>
                  <a:gd name="T2" fmla="*/ 2 w 50"/>
                  <a:gd name="T3" fmla="*/ 73 h 75"/>
                  <a:gd name="T4" fmla="*/ 3 w 50"/>
                  <a:gd name="T5" fmla="*/ 64 h 75"/>
                  <a:gd name="T6" fmla="*/ 23 w 50"/>
                  <a:gd name="T7" fmla="*/ 14 h 75"/>
                  <a:gd name="T8" fmla="*/ 13 w 50"/>
                  <a:gd name="T9" fmla="*/ 23 h 75"/>
                  <a:gd name="T10" fmla="*/ 4 w 50"/>
                  <a:gd name="T11" fmla="*/ 24 h 75"/>
                  <a:gd name="T12" fmla="*/ 3 w 50"/>
                  <a:gd name="T13" fmla="*/ 15 h 75"/>
                  <a:gd name="T14" fmla="*/ 25 w 50"/>
                  <a:gd name="T15" fmla="*/ 1 h 75"/>
                  <a:gd name="T16" fmla="*/ 32 w 50"/>
                  <a:gd name="T17" fmla="*/ 4 h 75"/>
                  <a:gd name="T18" fmla="*/ 11 w 50"/>
                  <a:gd name="T19" fmla="*/ 74 h 75"/>
                  <a:gd name="T20" fmla="*/ 7 w 50"/>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75">
                    <a:moveTo>
                      <a:pt x="7" y="75"/>
                    </a:moveTo>
                    <a:cubicBezTo>
                      <a:pt x="5" y="75"/>
                      <a:pt x="4" y="74"/>
                      <a:pt x="2" y="73"/>
                    </a:cubicBezTo>
                    <a:cubicBezTo>
                      <a:pt x="0" y="70"/>
                      <a:pt x="1" y="66"/>
                      <a:pt x="3" y="64"/>
                    </a:cubicBezTo>
                    <a:cubicBezTo>
                      <a:pt x="27" y="44"/>
                      <a:pt x="25" y="24"/>
                      <a:pt x="23" y="14"/>
                    </a:cubicBezTo>
                    <a:cubicBezTo>
                      <a:pt x="17" y="17"/>
                      <a:pt x="13" y="23"/>
                      <a:pt x="13" y="23"/>
                    </a:cubicBezTo>
                    <a:cubicBezTo>
                      <a:pt x="11" y="25"/>
                      <a:pt x="7" y="26"/>
                      <a:pt x="4" y="24"/>
                    </a:cubicBezTo>
                    <a:cubicBezTo>
                      <a:pt x="2" y="22"/>
                      <a:pt x="1" y="18"/>
                      <a:pt x="3" y="15"/>
                    </a:cubicBezTo>
                    <a:cubicBezTo>
                      <a:pt x="4" y="15"/>
                      <a:pt x="12" y="3"/>
                      <a:pt x="25" y="1"/>
                    </a:cubicBezTo>
                    <a:cubicBezTo>
                      <a:pt x="28" y="0"/>
                      <a:pt x="30" y="1"/>
                      <a:pt x="32" y="4"/>
                    </a:cubicBezTo>
                    <a:cubicBezTo>
                      <a:pt x="32" y="4"/>
                      <a:pt x="50" y="41"/>
                      <a:pt x="11" y="74"/>
                    </a:cubicBezTo>
                    <a:cubicBezTo>
                      <a:pt x="10" y="74"/>
                      <a:pt x="8" y="75"/>
                      <a:pt x="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54">
                <a:extLst>
                  <a:ext uri="{FF2B5EF4-FFF2-40B4-BE49-F238E27FC236}">
                    <a16:creationId xmlns:a16="http://schemas.microsoft.com/office/drawing/2014/main" id="{2024B4DE-F79E-4EFB-B962-BB7362E0F513}"/>
                  </a:ext>
                </a:extLst>
              </p:cNvPr>
              <p:cNvSpPr>
                <a:spLocks/>
              </p:cNvSpPr>
              <p:nvPr/>
            </p:nvSpPr>
            <p:spPr bwMode="auto">
              <a:xfrm>
                <a:off x="14931391" y="4522788"/>
                <a:ext cx="258763" cy="207963"/>
              </a:xfrm>
              <a:custGeom>
                <a:avLst/>
                <a:gdLst>
                  <a:gd name="T0" fmla="*/ 23 w 61"/>
                  <a:gd name="T1" fmla="*/ 49 h 49"/>
                  <a:gd name="T2" fmla="*/ 5 w 61"/>
                  <a:gd name="T3" fmla="*/ 46 h 49"/>
                  <a:gd name="T4" fmla="*/ 1 w 61"/>
                  <a:gd name="T5" fmla="*/ 39 h 49"/>
                  <a:gd name="T6" fmla="*/ 9 w 61"/>
                  <a:gd name="T7" fmla="*/ 35 h 49"/>
                  <a:gd name="T8" fmla="*/ 38 w 61"/>
                  <a:gd name="T9" fmla="*/ 34 h 49"/>
                  <a:gd name="T10" fmla="*/ 47 w 61"/>
                  <a:gd name="T11" fmla="*/ 24 h 49"/>
                  <a:gd name="T12" fmla="*/ 20 w 61"/>
                  <a:gd name="T13" fmla="*/ 26 h 49"/>
                  <a:gd name="T14" fmla="*/ 12 w 61"/>
                  <a:gd name="T15" fmla="*/ 24 h 49"/>
                  <a:gd name="T16" fmla="*/ 13 w 61"/>
                  <a:gd name="T17" fmla="*/ 16 h 49"/>
                  <a:gd name="T18" fmla="*/ 58 w 61"/>
                  <a:gd name="T19" fmla="*/ 16 h 49"/>
                  <a:gd name="T20" fmla="*/ 60 w 61"/>
                  <a:gd name="T21" fmla="*/ 23 h 49"/>
                  <a:gd name="T22" fmla="*/ 44 w 61"/>
                  <a:gd name="T23" fmla="*/ 44 h 49"/>
                  <a:gd name="T24" fmla="*/ 23 w 61"/>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49">
                    <a:moveTo>
                      <a:pt x="23" y="49"/>
                    </a:moveTo>
                    <a:cubicBezTo>
                      <a:pt x="13" y="49"/>
                      <a:pt x="6" y="47"/>
                      <a:pt x="5" y="46"/>
                    </a:cubicBezTo>
                    <a:cubicBezTo>
                      <a:pt x="2" y="45"/>
                      <a:pt x="0" y="42"/>
                      <a:pt x="1" y="39"/>
                    </a:cubicBezTo>
                    <a:cubicBezTo>
                      <a:pt x="2" y="36"/>
                      <a:pt x="6" y="34"/>
                      <a:pt x="9" y="35"/>
                    </a:cubicBezTo>
                    <a:cubicBezTo>
                      <a:pt x="9" y="35"/>
                      <a:pt x="26" y="40"/>
                      <a:pt x="38" y="34"/>
                    </a:cubicBezTo>
                    <a:cubicBezTo>
                      <a:pt x="42" y="31"/>
                      <a:pt x="45" y="28"/>
                      <a:pt x="47" y="24"/>
                    </a:cubicBezTo>
                    <a:cubicBezTo>
                      <a:pt x="42" y="21"/>
                      <a:pt x="31" y="18"/>
                      <a:pt x="20" y="26"/>
                    </a:cubicBezTo>
                    <a:cubicBezTo>
                      <a:pt x="17" y="28"/>
                      <a:pt x="14" y="27"/>
                      <a:pt x="12" y="24"/>
                    </a:cubicBezTo>
                    <a:cubicBezTo>
                      <a:pt x="10" y="22"/>
                      <a:pt x="10" y="18"/>
                      <a:pt x="13" y="16"/>
                    </a:cubicBezTo>
                    <a:cubicBezTo>
                      <a:pt x="36" y="0"/>
                      <a:pt x="57" y="15"/>
                      <a:pt x="58" y="16"/>
                    </a:cubicBezTo>
                    <a:cubicBezTo>
                      <a:pt x="60" y="18"/>
                      <a:pt x="61" y="20"/>
                      <a:pt x="60" y="23"/>
                    </a:cubicBezTo>
                    <a:cubicBezTo>
                      <a:pt x="57" y="32"/>
                      <a:pt x="52" y="40"/>
                      <a:pt x="44" y="44"/>
                    </a:cubicBezTo>
                    <a:cubicBezTo>
                      <a:pt x="37" y="48"/>
                      <a:pt x="30" y="49"/>
                      <a:pt x="2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55">
                <a:extLst>
                  <a:ext uri="{FF2B5EF4-FFF2-40B4-BE49-F238E27FC236}">
                    <a16:creationId xmlns:a16="http://schemas.microsoft.com/office/drawing/2014/main" id="{19A22FE8-0E60-40BC-9159-CC3E0655F893}"/>
                  </a:ext>
                </a:extLst>
              </p:cNvPr>
              <p:cNvSpPr>
                <a:spLocks noEditPoints="1"/>
              </p:cNvSpPr>
              <p:nvPr/>
            </p:nvSpPr>
            <p:spPr bwMode="auto">
              <a:xfrm>
                <a:off x="13559791" y="2673350"/>
                <a:ext cx="533400" cy="573088"/>
              </a:xfrm>
              <a:custGeom>
                <a:avLst/>
                <a:gdLst>
                  <a:gd name="T0" fmla="*/ 109 w 126"/>
                  <a:gd name="T1" fmla="*/ 90 h 135"/>
                  <a:gd name="T2" fmla="*/ 83 w 126"/>
                  <a:gd name="T3" fmla="*/ 77 h 135"/>
                  <a:gd name="T4" fmla="*/ 120 w 126"/>
                  <a:gd name="T5" fmla="*/ 51 h 135"/>
                  <a:gd name="T6" fmla="*/ 86 w 126"/>
                  <a:gd name="T7" fmla="*/ 38 h 135"/>
                  <a:gd name="T8" fmla="*/ 77 w 126"/>
                  <a:gd name="T9" fmla="*/ 1 h 135"/>
                  <a:gd name="T10" fmla="*/ 56 w 126"/>
                  <a:gd name="T11" fmla="*/ 24 h 135"/>
                  <a:gd name="T12" fmla="*/ 74 w 126"/>
                  <a:gd name="T13" fmla="*/ 14 h 135"/>
                  <a:gd name="T14" fmla="*/ 33 w 126"/>
                  <a:gd name="T15" fmla="*/ 14 h 135"/>
                  <a:gd name="T16" fmla="*/ 36 w 126"/>
                  <a:gd name="T17" fmla="*/ 67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1 w 126"/>
                  <a:gd name="T29" fmla="*/ 120 h 135"/>
                  <a:gd name="T30" fmla="*/ 46 w 126"/>
                  <a:gd name="T31" fmla="*/ 124 h 135"/>
                  <a:gd name="T32" fmla="*/ 52 w 126"/>
                  <a:gd name="T33" fmla="*/ 132 h 135"/>
                  <a:gd name="T34" fmla="*/ 60 w 126"/>
                  <a:gd name="T35" fmla="*/ 118 h 135"/>
                  <a:gd name="T36" fmla="*/ 92 w 126"/>
                  <a:gd name="T37" fmla="*/ 135 h 135"/>
                  <a:gd name="T38" fmla="*/ 107 w 126"/>
                  <a:gd name="T39" fmla="*/ 120 h 135"/>
                  <a:gd name="T40" fmla="*/ 112 w 126"/>
                  <a:gd name="T41" fmla="*/ 120 h 135"/>
                  <a:gd name="T42" fmla="*/ 115 w 126"/>
                  <a:gd name="T43" fmla="*/ 92 h 135"/>
                  <a:gd name="T44" fmla="*/ 98 w 126"/>
                  <a:gd name="T45" fmla="*/ 62 h 135"/>
                  <a:gd name="T46" fmla="*/ 80 w 126"/>
                  <a:gd name="T47" fmla="*/ 54 h 135"/>
                  <a:gd name="T48" fmla="*/ 17 w 126"/>
                  <a:gd name="T49" fmla="*/ 108 h 135"/>
                  <a:gd name="T50" fmla="*/ 14 w 126"/>
                  <a:gd name="T51" fmla="*/ 103 h 135"/>
                  <a:gd name="T52" fmla="*/ 38 w 126"/>
                  <a:gd name="T53" fmla="*/ 97 h 135"/>
                  <a:gd name="T54" fmla="*/ 51 w 126"/>
                  <a:gd name="T55" fmla="*/ 97 h 135"/>
                  <a:gd name="T56" fmla="*/ 95 w 126"/>
                  <a:gd name="T57" fmla="*/ 122 h 135"/>
                  <a:gd name="T58" fmla="*/ 64 w 126"/>
                  <a:gd name="T59" fmla="*/ 100 h 135"/>
                  <a:gd name="T60" fmla="*/ 74 w 126"/>
                  <a:gd name="T61" fmla="*/ 101 h 135"/>
                  <a:gd name="T62" fmla="*/ 94 w 126"/>
                  <a:gd name="T63" fmla="*/ 119 h 135"/>
                  <a:gd name="T64" fmla="*/ 95 w 126"/>
                  <a:gd name="T65" fmla="*/ 122 h 135"/>
                  <a:gd name="T66" fmla="*/ 102 w 126"/>
                  <a:gd name="T67" fmla="*/ 108 h 135"/>
                  <a:gd name="T68" fmla="*/ 98 w 126"/>
                  <a:gd name="T69" fmla="*/ 107 h 135"/>
                  <a:gd name="T70" fmla="*/ 106 w 126"/>
                  <a:gd name="T71" fmla="*/ 102 h 135"/>
                  <a:gd name="T72" fmla="*/ 1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5" y="92"/>
                    </a:moveTo>
                    <a:cubicBezTo>
                      <a:pt x="114" y="91"/>
                      <a:pt x="112" y="91"/>
                      <a:pt x="109" y="90"/>
                    </a:cubicBezTo>
                    <a:cubicBezTo>
                      <a:pt x="100" y="88"/>
                      <a:pt x="84" y="85"/>
                      <a:pt x="75" y="76"/>
                    </a:cubicBezTo>
                    <a:cubicBezTo>
                      <a:pt x="77" y="77"/>
                      <a:pt x="80" y="77"/>
                      <a:pt x="83" y="77"/>
                    </a:cubicBezTo>
                    <a:cubicBezTo>
                      <a:pt x="89" y="77"/>
                      <a:pt x="97" y="76"/>
                      <a:pt x="104" y="72"/>
                    </a:cubicBezTo>
                    <a:cubicBezTo>
                      <a:pt x="112" y="68"/>
                      <a:pt x="117" y="60"/>
                      <a:pt x="120" y="51"/>
                    </a:cubicBezTo>
                    <a:cubicBezTo>
                      <a:pt x="121" y="48"/>
                      <a:pt x="120" y="46"/>
                      <a:pt x="118" y="44"/>
                    </a:cubicBezTo>
                    <a:cubicBezTo>
                      <a:pt x="117" y="44"/>
                      <a:pt x="103" y="34"/>
                      <a:pt x="86" y="38"/>
                    </a:cubicBezTo>
                    <a:cubicBezTo>
                      <a:pt x="91" y="19"/>
                      <a:pt x="84" y="4"/>
                      <a:pt x="83" y="4"/>
                    </a:cubicBezTo>
                    <a:cubicBezTo>
                      <a:pt x="82" y="1"/>
                      <a:pt x="79" y="0"/>
                      <a:pt x="77" y="1"/>
                    </a:cubicBezTo>
                    <a:cubicBezTo>
                      <a:pt x="64" y="3"/>
                      <a:pt x="55" y="15"/>
                      <a:pt x="55" y="15"/>
                    </a:cubicBezTo>
                    <a:cubicBezTo>
                      <a:pt x="53" y="18"/>
                      <a:pt x="54" y="22"/>
                      <a:pt x="56" y="24"/>
                    </a:cubicBezTo>
                    <a:cubicBezTo>
                      <a:pt x="59" y="26"/>
                      <a:pt x="63" y="25"/>
                      <a:pt x="65" y="23"/>
                    </a:cubicBezTo>
                    <a:cubicBezTo>
                      <a:pt x="65" y="23"/>
                      <a:pt x="69" y="17"/>
                      <a:pt x="74" y="14"/>
                    </a:cubicBezTo>
                    <a:cubicBezTo>
                      <a:pt x="77" y="22"/>
                      <a:pt x="78" y="39"/>
                      <a:pt x="63" y="56"/>
                    </a:cubicBezTo>
                    <a:cubicBezTo>
                      <a:pt x="59" y="29"/>
                      <a:pt x="45" y="18"/>
                      <a:pt x="33" y="14"/>
                    </a:cubicBezTo>
                    <a:cubicBezTo>
                      <a:pt x="30" y="13"/>
                      <a:pt x="27" y="14"/>
                      <a:pt x="26" y="17"/>
                    </a:cubicBezTo>
                    <a:cubicBezTo>
                      <a:pt x="21" y="28"/>
                      <a:pt x="16" y="54"/>
                      <a:pt x="36" y="67"/>
                    </a:cubicBezTo>
                    <a:cubicBezTo>
                      <a:pt x="39" y="69"/>
                      <a:pt x="43" y="69"/>
                      <a:pt x="44" y="66"/>
                    </a:cubicBezTo>
                    <a:cubicBezTo>
                      <a:pt x="46" y="63"/>
                      <a:pt x="46" y="59"/>
                      <a:pt x="43" y="58"/>
                    </a:cubicBezTo>
                    <a:cubicBezTo>
                      <a:pt x="31" y="49"/>
                      <a:pt x="33" y="35"/>
                      <a:pt x="35" y="28"/>
                    </a:cubicBezTo>
                    <a:cubicBezTo>
                      <a:pt x="46" y="34"/>
                      <a:pt x="52" y="49"/>
                      <a:pt x="53" y="71"/>
                    </a:cubicBezTo>
                    <a:cubicBezTo>
                      <a:pt x="52" y="71"/>
                      <a:pt x="52"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7"/>
                      <a:pt x="14" y="120"/>
                    </a:cubicBezTo>
                    <a:cubicBezTo>
                      <a:pt x="14" y="120"/>
                      <a:pt x="14" y="120"/>
                      <a:pt x="14" y="120"/>
                    </a:cubicBezTo>
                    <a:cubicBezTo>
                      <a:pt x="15" y="120"/>
                      <a:pt x="17" y="120"/>
                      <a:pt x="21" y="120"/>
                    </a:cubicBezTo>
                    <a:cubicBezTo>
                      <a:pt x="28" y="120"/>
                      <a:pt x="39" y="119"/>
                      <a:pt x="49" y="113"/>
                    </a:cubicBezTo>
                    <a:cubicBezTo>
                      <a:pt x="48" y="120"/>
                      <a:pt x="47" y="124"/>
                      <a:pt x="46" y="124"/>
                    </a:cubicBezTo>
                    <a:cubicBezTo>
                      <a:pt x="46" y="125"/>
                      <a:pt x="46" y="125"/>
                      <a:pt x="46" y="126"/>
                    </a:cubicBezTo>
                    <a:cubicBezTo>
                      <a:pt x="46" y="129"/>
                      <a:pt x="49" y="132"/>
                      <a:pt x="52" y="132"/>
                    </a:cubicBezTo>
                    <a:cubicBezTo>
                      <a:pt x="55" y="132"/>
                      <a:pt x="57" y="130"/>
                      <a:pt x="58" y="127"/>
                    </a:cubicBezTo>
                    <a:cubicBezTo>
                      <a:pt x="58" y="126"/>
                      <a:pt x="59" y="123"/>
                      <a:pt x="60" y="118"/>
                    </a:cubicBezTo>
                    <a:cubicBezTo>
                      <a:pt x="72" y="132"/>
                      <a:pt x="88" y="134"/>
                      <a:pt x="89" y="135"/>
                    </a:cubicBezTo>
                    <a:cubicBezTo>
                      <a:pt x="90" y="135"/>
                      <a:pt x="91" y="135"/>
                      <a:pt x="92" y="135"/>
                    </a:cubicBezTo>
                    <a:cubicBezTo>
                      <a:pt x="99" y="135"/>
                      <a:pt x="104" y="132"/>
                      <a:pt x="106" y="126"/>
                    </a:cubicBezTo>
                    <a:cubicBezTo>
                      <a:pt x="107" y="124"/>
                      <a:pt x="108" y="122"/>
                      <a:pt x="107" y="120"/>
                    </a:cubicBezTo>
                    <a:cubicBezTo>
                      <a:pt x="110" y="120"/>
                      <a:pt x="111" y="120"/>
                      <a:pt x="112" y="120"/>
                    </a:cubicBezTo>
                    <a:cubicBezTo>
                      <a:pt x="112" y="120"/>
                      <a:pt x="112" y="120"/>
                      <a:pt x="112" y="120"/>
                    </a:cubicBezTo>
                    <a:cubicBezTo>
                      <a:pt x="120" y="117"/>
                      <a:pt x="125" y="112"/>
                      <a:pt x="125" y="105"/>
                    </a:cubicBezTo>
                    <a:cubicBezTo>
                      <a:pt x="126" y="99"/>
                      <a:pt x="122" y="94"/>
                      <a:pt x="115" y="92"/>
                    </a:cubicBezTo>
                    <a:close/>
                    <a:moveTo>
                      <a:pt x="107" y="52"/>
                    </a:moveTo>
                    <a:cubicBezTo>
                      <a:pt x="105" y="56"/>
                      <a:pt x="102" y="59"/>
                      <a:pt x="98" y="62"/>
                    </a:cubicBezTo>
                    <a:cubicBezTo>
                      <a:pt x="90" y="66"/>
                      <a:pt x="79" y="65"/>
                      <a:pt x="73" y="64"/>
                    </a:cubicBezTo>
                    <a:cubicBezTo>
                      <a:pt x="76" y="60"/>
                      <a:pt x="78" y="57"/>
                      <a:pt x="80" y="54"/>
                    </a:cubicBezTo>
                    <a:cubicBezTo>
                      <a:pt x="91" y="46"/>
                      <a:pt x="101" y="49"/>
                      <a:pt x="107" y="52"/>
                    </a:cubicBezTo>
                    <a:close/>
                    <a:moveTo>
                      <a:pt x="17" y="108"/>
                    </a:moveTo>
                    <a:cubicBezTo>
                      <a:pt x="13" y="107"/>
                      <a:pt x="12" y="106"/>
                      <a:pt x="12" y="105"/>
                    </a:cubicBezTo>
                    <a:cubicBezTo>
                      <a:pt x="12" y="104"/>
                      <a:pt x="13" y="104"/>
                      <a:pt x="14" y="103"/>
                    </a:cubicBezTo>
                    <a:cubicBezTo>
                      <a:pt x="15" y="103"/>
                      <a:pt x="17" y="102"/>
                      <a:pt x="20" y="102"/>
                    </a:cubicBezTo>
                    <a:cubicBezTo>
                      <a:pt x="25" y="101"/>
                      <a:pt x="31" y="99"/>
                      <a:pt x="38" y="97"/>
                    </a:cubicBezTo>
                    <a:cubicBezTo>
                      <a:pt x="43" y="96"/>
                      <a:pt x="47" y="94"/>
                      <a:pt x="50" y="92"/>
                    </a:cubicBezTo>
                    <a:cubicBezTo>
                      <a:pt x="50" y="94"/>
                      <a:pt x="50" y="95"/>
                      <a:pt x="51" y="97"/>
                    </a:cubicBezTo>
                    <a:cubicBezTo>
                      <a:pt x="36" y="110"/>
                      <a:pt x="19" y="108"/>
                      <a:pt x="17" y="108"/>
                    </a:cubicBezTo>
                    <a:close/>
                    <a:moveTo>
                      <a:pt x="95" y="122"/>
                    </a:moveTo>
                    <a:cubicBezTo>
                      <a:pt x="95" y="122"/>
                      <a:pt x="93" y="123"/>
                      <a:pt x="90" y="123"/>
                    </a:cubicBezTo>
                    <a:cubicBezTo>
                      <a:pt x="90" y="123"/>
                      <a:pt x="72" y="120"/>
                      <a:pt x="64" y="100"/>
                    </a:cubicBezTo>
                    <a:cubicBezTo>
                      <a:pt x="61" y="93"/>
                      <a:pt x="61" y="87"/>
                      <a:pt x="62" y="82"/>
                    </a:cubicBezTo>
                    <a:cubicBezTo>
                      <a:pt x="64" y="88"/>
                      <a:pt x="68" y="95"/>
                      <a:pt x="74" y="101"/>
                    </a:cubicBezTo>
                    <a:cubicBezTo>
                      <a:pt x="79" y="107"/>
                      <a:pt x="85" y="112"/>
                      <a:pt x="90" y="116"/>
                    </a:cubicBezTo>
                    <a:cubicBezTo>
                      <a:pt x="92" y="117"/>
                      <a:pt x="93" y="118"/>
                      <a:pt x="94" y="119"/>
                    </a:cubicBezTo>
                    <a:cubicBezTo>
                      <a:pt x="94" y="119"/>
                      <a:pt x="94" y="119"/>
                      <a:pt x="94" y="119"/>
                    </a:cubicBezTo>
                    <a:cubicBezTo>
                      <a:pt x="95" y="120"/>
                      <a:pt x="96" y="121"/>
                      <a:pt x="95" y="122"/>
                    </a:cubicBezTo>
                    <a:close/>
                    <a:moveTo>
                      <a:pt x="109" y="108"/>
                    </a:moveTo>
                    <a:cubicBezTo>
                      <a:pt x="108" y="108"/>
                      <a:pt x="106" y="109"/>
                      <a:pt x="102" y="108"/>
                    </a:cubicBezTo>
                    <a:cubicBezTo>
                      <a:pt x="102" y="108"/>
                      <a:pt x="101" y="109"/>
                      <a:pt x="100" y="109"/>
                    </a:cubicBezTo>
                    <a:cubicBezTo>
                      <a:pt x="100" y="108"/>
                      <a:pt x="99" y="107"/>
                      <a:pt x="98" y="107"/>
                    </a:cubicBezTo>
                    <a:cubicBezTo>
                      <a:pt x="94" y="103"/>
                      <a:pt x="90" y="100"/>
                      <a:pt x="86" y="96"/>
                    </a:cubicBezTo>
                    <a:cubicBezTo>
                      <a:pt x="93" y="99"/>
                      <a:pt x="101" y="101"/>
                      <a:pt x="106" y="102"/>
                    </a:cubicBezTo>
                    <a:cubicBezTo>
                      <a:pt x="109" y="102"/>
                      <a:pt x="111" y="103"/>
                      <a:pt x="112" y="103"/>
                    </a:cubicBezTo>
                    <a:cubicBezTo>
                      <a:pt x="113" y="104"/>
                      <a:pt x="113" y="104"/>
                      <a:pt x="113"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56">
                <a:extLst>
                  <a:ext uri="{FF2B5EF4-FFF2-40B4-BE49-F238E27FC236}">
                    <a16:creationId xmlns:a16="http://schemas.microsoft.com/office/drawing/2014/main" id="{6BB11DC3-37EC-4386-BE2F-F8E9A3AD53DA}"/>
                  </a:ext>
                </a:extLst>
              </p:cNvPr>
              <p:cNvSpPr>
                <a:spLocks noEditPoints="1"/>
              </p:cNvSpPr>
              <p:nvPr/>
            </p:nvSpPr>
            <p:spPr bwMode="auto">
              <a:xfrm>
                <a:off x="13559791" y="3827463"/>
                <a:ext cx="533400" cy="573088"/>
              </a:xfrm>
              <a:custGeom>
                <a:avLst/>
                <a:gdLst>
                  <a:gd name="T0" fmla="*/ 109 w 126"/>
                  <a:gd name="T1" fmla="*/ 90 h 135"/>
                  <a:gd name="T2" fmla="*/ 83 w 126"/>
                  <a:gd name="T3" fmla="*/ 77 h 135"/>
                  <a:gd name="T4" fmla="*/ 120 w 126"/>
                  <a:gd name="T5" fmla="*/ 51 h 135"/>
                  <a:gd name="T6" fmla="*/ 86 w 126"/>
                  <a:gd name="T7" fmla="*/ 38 h 135"/>
                  <a:gd name="T8" fmla="*/ 77 w 126"/>
                  <a:gd name="T9" fmla="*/ 1 h 135"/>
                  <a:gd name="T10" fmla="*/ 56 w 126"/>
                  <a:gd name="T11" fmla="*/ 24 h 135"/>
                  <a:gd name="T12" fmla="*/ 74 w 126"/>
                  <a:gd name="T13" fmla="*/ 14 h 135"/>
                  <a:gd name="T14" fmla="*/ 33 w 126"/>
                  <a:gd name="T15" fmla="*/ 14 h 135"/>
                  <a:gd name="T16" fmla="*/ 36 w 126"/>
                  <a:gd name="T17" fmla="*/ 68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1 w 126"/>
                  <a:gd name="T29" fmla="*/ 120 h 135"/>
                  <a:gd name="T30" fmla="*/ 46 w 126"/>
                  <a:gd name="T31" fmla="*/ 125 h 135"/>
                  <a:gd name="T32" fmla="*/ 51 w 126"/>
                  <a:gd name="T33" fmla="*/ 132 h 135"/>
                  <a:gd name="T34" fmla="*/ 58 w 126"/>
                  <a:gd name="T35" fmla="*/ 128 h 135"/>
                  <a:gd name="T36" fmla="*/ 89 w 126"/>
                  <a:gd name="T37" fmla="*/ 135 h 135"/>
                  <a:gd name="T38" fmla="*/ 106 w 126"/>
                  <a:gd name="T39" fmla="*/ 126 h 135"/>
                  <a:gd name="T40" fmla="*/ 112 w 126"/>
                  <a:gd name="T41" fmla="*/ 120 h 135"/>
                  <a:gd name="T42" fmla="*/ 125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4 w 126"/>
                  <a:gd name="T65" fmla="*/ 119 h 135"/>
                  <a:gd name="T66" fmla="*/ 109 w 126"/>
                  <a:gd name="T67" fmla="*/ 108 h 135"/>
                  <a:gd name="T68" fmla="*/ 100 w 126"/>
                  <a:gd name="T69" fmla="*/ 109 h 135"/>
                  <a:gd name="T70" fmla="*/ 86 w 126"/>
                  <a:gd name="T71" fmla="*/ 96 h 135"/>
                  <a:gd name="T72" fmla="*/ 112 w 126"/>
                  <a:gd name="T73" fmla="*/ 103 h 135"/>
                  <a:gd name="T74" fmla="*/ 109 w 126"/>
                  <a:gd name="T75"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35">
                    <a:moveTo>
                      <a:pt x="115" y="92"/>
                    </a:moveTo>
                    <a:cubicBezTo>
                      <a:pt x="114" y="91"/>
                      <a:pt x="112" y="91"/>
                      <a:pt x="109" y="90"/>
                    </a:cubicBezTo>
                    <a:cubicBezTo>
                      <a:pt x="100" y="88"/>
                      <a:pt x="84" y="85"/>
                      <a:pt x="75" y="77"/>
                    </a:cubicBezTo>
                    <a:cubicBezTo>
                      <a:pt x="77" y="77"/>
                      <a:pt x="80" y="77"/>
                      <a:pt x="83" y="77"/>
                    </a:cubicBezTo>
                    <a:cubicBezTo>
                      <a:pt x="89" y="77"/>
                      <a:pt x="97" y="76"/>
                      <a:pt x="104" y="72"/>
                    </a:cubicBezTo>
                    <a:cubicBezTo>
                      <a:pt x="112" y="68"/>
                      <a:pt x="117" y="61"/>
                      <a:pt x="120" y="51"/>
                    </a:cubicBezTo>
                    <a:cubicBezTo>
                      <a:pt x="121" y="48"/>
                      <a:pt x="120" y="46"/>
                      <a:pt x="118" y="44"/>
                    </a:cubicBezTo>
                    <a:cubicBezTo>
                      <a:pt x="117" y="44"/>
                      <a:pt x="103" y="34"/>
                      <a:pt x="86" y="38"/>
                    </a:cubicBezTo>
                    <a:cubicBezTo>
                      <a:pt x="91" y="19"/>
                      <a:pt x="84" y="4"/>
                      <a:pt x="83" y="4"/>
                    </a:cubicBezTo>
                    <a:cubicBezTo>
                      <a:pt x="82" y="2"/>
                      <a:pt x="79" y="0"/>
                      <a:pt x="77" y="1"/>
                    </a:cubicBezTo>
                    <a:cubicBezTo>
                      <a:pt x="64" y="4"/>
                      <a:pt x="55" y="15"/>
                      <a:pt x="55" y="16"/>
                    </a:cubicBezTo>
                    <a:cubicBezTo>
                      <a:pt x="53" y="18"/>
                      <a:pt x="54" y="22"/>
                      <a:pt x="56" y="24"/>
                    </a:cubicBezTo>
                    <a:cubicBezTo>
                      <a:pt x="59" y="26"/>
                      <a:pt x="63" y="25"/>
                      <a:pt x="65" y="23"/>
                    </a:cubicBezTo>
                    <a:cubicBezTo>
                      <a:pt x="65" y="23"/>
                      <a:pt x="69" y="17"/>
                      <a:pt x="74" y="14"/>
                    </a:cubicBezTo>
                    <a:cubicBezTo>
                      <a:pt x="77" y="22"/>
                      <a:pt x="78" y="39"/>
                      <a:pt x="63" y="57"/>
                    </a:cubicBezTo>
                    <a:cubicBezTo>
                      <a:pt x="59" y="29"/>
                      <a:pt x="45" y="18"/>
                      <a:pt x="33" y="14"/>
                    </a:cubicBezTo>
                    <a:cubicBezTo>
                      <a:pt x="30" y="13"/>
                      <a:pt x="27" y="14"/>
                      <a:pt x="26" y="17"/>
                    </a:cubicBezTo>
                    <a:cubicBezTo>
                      <a:pt x="21" y="29"/>
                      <a:pt x="16" y="54"/>
                      <a:pt x="36" y="68"/>
                    </a:cubicBezTo>
                    <a:cubicBezTo>
                      <a:pt x="39" y="69"/>
                      <a:pt x="43" y="69"/>
                      <a:pt x="44" y="66"/>
                    </a:cubicBezTo>
                    <a:cubicBezTo>
                      <a:pt x="46" y="63"/>
                      <a:pt x="46" y="60"/>
                      <a:pt x="43" y="58"/>
                    </a:cubicBezTo>
                    <a:cubicBezTo>
                      <a:pt x="31" y="50"/>
                      <a:pt x="33" y="36"/>
                      <a:pt x="35" y="28"/>
                    </a:cubicBezTo>
                    <a:cubicBezTo>
                      <a:pt x="46" y="34"/>
                      <a:pt x="52" y="49"/>
                      <a:pt x="53" y="71"/>
                    </a:cubicBezTo>
                    <a:cubicBezTo>
                      <a:pt x="52" y="71"/>
                      <a:pt x="52"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8"/>
                      <a:pt x="14" y="120"/>
                    </a:cubicBezTo>
                    <a:cubicBezTo>
                      <a:pt x="14" y="120"/>
                      <a:pt x="14" y="120"/>
                      <a:pt x="14" y="120"/>
                    </a:cubicBezTo>
                    <a:cubicBezTo>
                      <a:pt x="15" y="120"/>
                      <a:pt x="17" y="120"/>
                      <a:pt x="21" y="120"/>
                    </a:cubicBezTo>
                    <a:cubicBezTo>
                      <a:pt x="28" y="120"/>
                      <a:pt x="39" y="119"/>
                      <a:pt x="49" y="113"/>
                    </a:cubicBezTo>
                    <a:cubicBezTo>
                      <a:pt x="48" y="120"/>
                      <a:pt x="47" y="124"/>
                      <a:pt x="46" y="125"/>
                    </a:cubicBezTo>
                    <a:cubicBezTo>
                      <a:pt x="46" y="125"/>
                      <a:pt x="46" y="126"/>
                      <a:pt x="46" y="126"/>
                    </a:cubicBezTo>
                    <a:cubicBezTo>
                      <a:pt x="46" y="129"/>
                      <a:pt x="49" y="132"/>
                      <a:pt x="51" y="132"/>
                    </a:cubicBezTo>
                    <a:cubicBezTo>
                      <a:pt x="52" y="132"/>
                      <a:pt x="52" y="132"/>
                      <a:pt x="52" y="132"/>
                    </a:cubicBezTo>
                    <a:cubicBezTo>
                      <a:pt x="55" y="132"/>
                      <a:pt x="57" y="130"/>
                      <a:pt x="58" y="128"/>
                    </a:cubicBezTo>
                    <a:cubicBezTo>
                      <a:pt x="58" y="127"/>
                      <a:pt x="59" y="123"/>
                      <a:pt x="60" y="118"/>
                    </a:cubicBezTo>
                    <a:cubicBezTo>
                      <a:pt x="72" y="132"/>
                      <a:pt x="88" y="135"/>
                      <a:pt x="89" y="135"/>
                    </a:cubicBezTo>
                    <a:cubicBezTo>
                      <a:pt x="90" y="135"/>
                      <a:pt x="91" y="135"/>
                      <a:pt x="92" y="135"/>
                    </a:cubicBezTo>
                    <a:cubicBezTo>
                      <a:pt x="99" y="135"/>
                      <a:pt x="104" y="132"/>
                      <a:pt x="106" y="126"/>
                    </a:cubicBezTo>
                    <a:cubicBezTo>
                      <a:pt x="107" y="125"/>
                      <a:pt x="108" y="122"/>
                      <a:pt x="107" y="120"/>
                    </a:cubicBezTo>
                    <a:cubicBezTo>
                      <a:pt x="110" y="120"/>
                      <a:pt x="111" y="120"/>
                      <a:pt x="112" y="120"/>
                    </a:cubicBezTo>
                    <a:cubicBezTo>
                      <a:pt x="112" y="120"/>
                      <a:pt x="112" y="120"/>
                      <a:pt x="112" y="120"/>
                    </a:cubicBezTo>
                    <a:cubicBezTo>
                      <a:pt x="120" y="118"/>
                      <a:pt x="125" y="112"/>
                      <a:pt x="125" y="105"/>
                    </a:cubicBezTo>
                    <a:cubicBezTo>
                      <a:pt x="126" y="99"/>
                      <a:pt x="122" y="94"/>
                      <a:pt x="115" y="92"/>
                    </a:cubicBezTo>
                    <a:close/>
                    <a:moveTo>
                      <a:pt x="107" y="52"/>
                    </a:moveTo>
                    <a:cubicBezTo>
                      <a:pt x="105" y="56"/>
                      <a:pt x="102" y="60"/>
                      <a:pt x="98" y="62"/>
                    </a:cubicBezTo>
                    <a:cubicBezTo>
                      <a:pt x="90" y="66"/>
                      <a:pt x="79" y="65"/>
                      <a:pt x="73" y="64"/>
                    </a:cubicBezTo>
                    <a:cubicBezTo>
                      <a:pt x="76" y="61"/>
                      <a:pt x="78" y="57"/>
                      <a:pt x="80" y="54"/>
                    </a:cubicBezTo>
                    <a:cubicBezTo>
                      <a:pt x="91" y="46"/>
                      <a:pt x="101" y="49"/>
                      <a:pt x="107" y="52"/>
                    </a:cubicBezTo>
                    <a:close/>
                    <a:moveTo>
                      <a:pt x="17" y="108"/>
                    </a:moveTo>
                    <a:cubicBezTo>
                      <a:pt x="13" y="107"/>
                      <a:pt x="12" y="106"/>
                      <a:pt x="12" y="105"/>
                    </a:cubicBezTo>
                    <a:cubicBezTo>
                      <a:pt x="12" y="105"/>
                      <a:pt x="13" y="104"/>
                      <a:pt x="14" y="103"/>
                    </a:cubicBezTo>
                    <a:cubicBezTo>
                      <a:pt x="15" y="103"/>
                      <a:pt x="17" y="103"/>
                      <a:pt x="20" y="102"/>
                    </a:cubicBezTo>
                    <a:cubicBezTo>
                      <a:pt x="25" y="101"/>
                      <a:pt x="31" y="100"/>
                      <a:pt x="38" y="97"/>
                    </a:cubicBezTo>
                    <a:cubicBezTo>
                      <a:pt x="43" y="96"/>
                      <a:pt x="47" y="94"/>
                      <a:pt x="50" y="92"/>
                    </a:cubicBezTo>
                    <a:cubicBezTo>
                      <a:pt x="50" y="94"/>
                      <a:pt x="50" y="96"/>
                      <a:pt x="51" y="98"/>
                    </a:cubicBezTo>
                    <a:cubicBezTo>
                      <a:pt x="36" y="110"/>
                      <a:pt x="19" y="108"/>
                      <a:pt x="17" y="108"/>
                    </a:cubicBezTo>
                    <a:close/>
                    <a:moveTo>
                      <a:pt x="95" y="122"/>
                    </a:moveTo>
                    <a:cubicBezTo>
                      <a:pt x="95" y="122"/>
                      <a:pt x="93" y="123"/>
                      <a:pt x="90" y="123"/>
                    </a:cubicBezTo>
                    <a:cubicBezTo>
                      <a:pt x="90" y="123"/>
                      <a:pt x="72" y="120"/>
                      <a:pt x="64" y="101"/>
                    </a:cubicBezTo>
                    <a:cubicBezTo>
                      <a:pt x="61" y="93"/>
                      <a:pt x="61" y="87"/>
                      <a:pt x="62" y="82"/>
                    </a:cubicBezTo>
                    <a:cubicBezTo>
                      <a:pt x="64" y="88"/>
                      <a:pt x="68" y="95"/>
                      <a:pt x="74" y="101"/>
                    </a:cubicBezTo>
                    <a:cubicBezTo>
                      <a:pt x="79" y="107"/>
                      <a:pt x="85" y="112"/>
                      <a:pt x="90" y="116"/>
                    </a:cubicBezTo>
                    <a:cubicBezTo>
                      <a:pt x="92" y="117"/>
                      <a:pt x="93" y="118"/>
                      <a:pt x="94" y="119"/>
                    </a:cubicBezTo>
                    <a:cubicBezTo>
                      <a:pt x="94" y="119"/>
                      <a:pt x="94" y="119"/>
                      <a:pt x="94" y="119"/>
                    </a:cubicBezTo>
                    <a:cubicBezTo>
                      <a:pt x="95" y="120"/>
                      <a:pt x="96" y="121"/>
                      <a:pt x="95" y="122"/>
                    </a:cubicBezTo>
                    <a:close/>
                    <a:moveTo>
                      <a:pt x="109" y="108"/>
                    </a:moveTo>
                    <a:cubicBezTo>
                      <a:pt x="108" y="108"/>
                      <a:pt x="106" y="109"/>
                      <a:pt x="102" y="109"/>
                    </a:cubicBezTo>
                    <a:cubicBezTo>
                      <a:pt x="102" y="109"/>
                      <a:pt x="101" y="109"/>
                      <a:pt x="100" y="109"/>
                    </a:cubicBezTo>
                    <a:cubicBezTo>
                      <a:pt x="100" y="108"/>
                      <a:pt x="99" y="107"/>
                      <a:pt x="98" y="107"/>
                    </a:cubicBezTo>
                    <a:cubicBezTo>
                      <a:pt x="94" y="104"/>
                      <a:pt x="90" y="100"/>
                      <a:pt x="86" y="96"/>
                    </a:cubicBezTo>
                    <a:cubicBezTo>
                      <a:pt x="93" y="99"/>
                      <a:pt x="101" y="101"/>
                      <a:pt x="106" y="102"/>
                    </a:cubicBezTo>
                    <a:cubicBezTo>
                      <a:pt x="109" y="103"/>
                      <a:pt x="111" y="103"/>
                      <a:pt x="112" y="103"/>
                    </a:cubicBezTo>
                    <a:cubicBezTo>
                      <a:pt x="113" y="104"/>
                      <a:pt x="113" y="105"/>
                      <a:pt x="113"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57">
                <a:extLst>
                  <a:ext uri="{FF2B5EF4-FFF2-40B4-BE49-F238E27FC236}">
                    <a16:creationId xmlns:a16="http://schemas.microsoft.com/office/drawing/2014/main" id="{A42D5BB4-216F-4547-938F-99A7693F0EE0}"/>
                  </a:ext>
                </a:extLst>
              </p:cNvPr>
              <p:cNvSpPr>
                <a:spLocks noEditPoints="1"/>
              </p:cNvSpPr>
              <p:nvPr/>
            </p:nvSpPr>
            <p:spPr bwMode="auto">
              <a:xfrm>
                <a:off x="13559791" y="3251200"/>
                <a:ext cx="533400" cy="571500"/>
              </a:xfrm>
              <a:custGeom>
                <a:avLst/>
                <a:gdLst>
                  <a:gd name="T0" fmla="*/ 109 w 126"/>
                  <a:gd name="T1" fmla="*/ 90 h 135"/>
                  <a:gd name="T2" fmla="*/ 83 w 126"/>
                  <a:gd name="T3" fmla="*/ 77 h 135"/>
                  <a:gd name="T4" fmla="*/ 120 w 126"/>
                  <a:gd name="T5" fmla="*/ 51 h 135"/>
                  <a:gd name="T6" fmla="*/ 86 w 126"/>
                  <a:gd name="T7" fmla="*/ 38 h 135"/>
                  <a:gd name="T8" fmla="*/ 77 w 126"/>
                  <a:gd name="T9" fmla="*/ 1 h 135"/>
                  <a:gd name="T10" fmla="*/ 56 w 126"/>
                  <a:gd name="T11" fmla="*/ 24 h 135"/>
                  <a:gd name="T12" fmla="*/ 74 w 126"/>
                  <a:gd name="T13" fmla="*/ 14 h 135"/>
                  <a:gd name="T14" fmla="*/ 33 w 126"/>
                  <a:gd name="T15" fmla="*/ 14 h 135"/>
                  <a:gd name="T16" fmla="*/ 36 w 126"/>
                  <a:gd name="T17" fmla="*/ 68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1 w 126"/>
                  <a:gd name="T29" fmla="*/ 120 h 135"/>
                  <a:gd name="T30" fmla="*/ 46 w 126"/>
                  <a:gd name="T31" fmla="*/ 124 h 135"/>
                  <a:gd name="T32" fmla="*/ 51 w 126"/>
                  <a:gd name="T33" fmla="*/ 132 h 135"/>
                  <a:gd name="T34" fmla="*/ 58 w 126"/>
                  <a:gd name="T35" fmla="*/ 127 h 135"/>
                  <a:gd name="T36" fmla="*/ 89 w 126"/>
                  <a:gd name="T37" fmla="*/ 135 h 135"/>
                  <a:gd name="T38" fmla="*/ 106 w 126"/>
                  <a:gd name="T39" fmla="*/ 126 h 135"/>
                  <a:gd name="T40" fmla="*/ 112 w 126"/>
                  <a:gd name="T41" fmla="*/ 120 h 135"/>
                  <a:gd name="T42" fmla="*/ 125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4 w 126"/>
                  <a:gd name="T65" fmla="*/ 119 h 135"/>
                  <a:gd name="T66" fmla="*/ 109 w 126"/>
                  <a:gd name="T67" fmla="*/ 108 h 135"/>
                  <a:gd name="T68" fmla="*/ 100 w 126"/>
                  <a:gd name="T69" fmla="*/ 109 h 135"/>
                  <a:gd name="T70" fmla="*/ 86 w 126"/>
                  <a:gd name="T71" fmla="*/ 96 h 135"/>
                  <a:gd name="T72" fmla="*/ 112 w 126"/>
                  <a:gd name="T73" fmla="*/ 103 h 135"/>
                  <a:gd name="T74" fmla="*/ 109 w 126"/>
                  <a:gd name="T75"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35">
                    <a:moveTo>
                      <a:pt x="115" y="92"/>
                    </a:moveTo>
                    <a:cubicBezTo>
                      <a:pt x="114" y="91"/>
                      <a:pt x="112" y="91"/>
                      <a:pt x="109" y="90"/>
                    </a:cubicBezTo>
                    <a:cubicBezTo>
                      <a:pt x="100" y="88"/>
                      <a:pt x="84" y="85"/>
                      <a:pt x="75" y="76"/>
                    </a:cubicBezTo>
                    <a:cubicBezTo>
                      <a:pt x="77" y="77"/>
                      <a:pt x="80" y="77"/>
                      <a:pt x="83" y="77"/>
                    </a:cubicBezTo>
                    <a:cubicBezTo>
                      <a:pt x="89" y="77"/>
                      <a:pt x="97" y="76"/>
                      <a:pt x="104" y="72"/>
                    </a:cubicBezTo>
                    <a:cubicBezTo>
                      <a:pt x="112" y="68"/>
                      <a:pt x="117" y="61"/>
                      <a:pt x="120" y="51"/>
                    </a:cubicBezTo>
                    <a:cubicBezTo>
                      <a:pt x="121" y="48"/>
                      <a:pt x="120" y="46"/>
                      <a:pt x="118" y="44"/>
                    </a:cubicBezTo>
                    <a:cubicBezTo>
                      <a:pt x="117" y="44"/>
                      <a:pt x="103" y="34"/>
                      <a:pt x="86" y="38"/>
                    </a:cubicBezTo>
                    <a:cubicBezTo>
                      <a:pt x="91" y="19"/>
                      <a:pt x="84" y="4"/>
                      <a:pt x="83" y="4"/>
                    </a:cubicBezTo>
                    <a:cubicBezTo>
                      <a:pt x="82" y="1"/>
                      <a:pt x="79" y="0"/>
                      <a:pt x="77" y="1"/>
                    </a:cubicBezTo>
                    <a:cubicBezTo>
                      <a:pt x="64" y="3"/>
                      <a:pt x="55" y="15"/>
                      <a:pt x="55" y="16"/>
                    </a:cubicBezTo>
                    <a:cubicBezTo>
                      <a:pt x="53" y="18"/>
                      <a:pt x="54" y="22"/>
                      <a:pt x="56" y="24"/>
                    </a:cubicBezTo>
                    <a:cubicBezTo>
                      <a:pt x="59" y="26"/>
                      <a:pt x="63" y="25"/>
                      <a:pt x="65" y="23"/>
                    </a:cubicBezTo>
                    <a:cubicBezTo>
                      <a:pt x="65" y="23"/>
                      <a:pt x="69" y="17"/>
                      <a:pt x="74" y="14"/>
                    </a:cubicBezTo>
                    <a:cubicBezTo>
                      <a:pt x="77" y="22"/>
                      <a:pt x="78" y="39"/>
                      <a:pt x="63" y="56"/>
                    </a:cubicBezTo>
                    <a:cubicBezTo>
                      <a:pt x="59" y="29"/>
                      <a:pt x="45" y="18"/>
                      <a:pt x="33" y="14"/>
                    </a:cubicBezTo>
                    <a:cubicBezTo>
                      <a:pt x="30" y="13"/>
                      <a:pt x="27" y="14"/>
                      <a:pt x="26" y="17"/>
                    </a:cubicBezTo>
                    <a:cubicBezTo>
                      <a:pt x="21" y="28"/>
                      <a:pt x="16" y="54"/>
                      <a:pt x="36" y="68"/>
                    </a:cubicBezTo>
                    <a:cubicBezTo>
                      <a:pt x="39" y="69"/>
                      <a:pt x="43" y="69"/>
                      <a:pt x="44" y="66"/>
                    </a:cubicBezTo>
                    <a:cubicBezTo>
                      <a:pt x="46" y="63"/>
                      <a:pt x="46" y="59"/>
                      <a:pt x="43" y="58"/>
                    </a:cubicBezTo>
                    <a:cubicBezTo>
                      <a:pt x="31" y="49"/>
                      <a:pt x="33" y="36"/>
                      <a:pt x="35" y="28"/>
                    </a:cubicBezTo>
                    <a:cubicBezTo>
                      <a:pt x="46" y="34"/>
                      <a:pt x="52" y="49"/>
                      <a:pt x="53" y="71"/>
                    </a:cubicBezTo>
                    <a:cubicBezTo>
                      <a:pt x="52" y="71"/>
                      <a:pt x="52"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7"/>
                      <a:pt x="14" y="120"/>
                    </a:cubicBezTo>
                    <a:cubicBezTo>
                      <a:pt x="14" y="120"/>
                      <a:pt x="14" y="120"/>
                      <a:pt x="14" y="120"/>
                    </a:cubicBezTo>
                    <a:cubicBezTo>
                      <a:pt x="15" y="120"/>
                      <a:pt x="17" y="120"/>
                      <a:pt x="21" y="120"/>
                    </a:cubicBezTo>
                    <a:cubicBezTo>
                      <a:pt x="28" y="120"/>
                      <a:pt x="39" y="119"/>
                      <a:pt x="49" y="113"/>
                    </a:cubicBezTo>
                    <a:cubicBezTo>
                      <a:pt x="48" y="120"/>
                      <a:pt x="47" y="124"/>
                      <a:pt x="46" y="124"/>
                    </a:cubicBezTo>
                    <a:cubicBezTo>
                      <a:pt x="46" y="125"/>
                      <a:pt x="46" y="125"/>
                      <a:pt x="46" y="126"/>
                    </a:cubicBezTo>
                    <a:cubicBezTo>
                      <a:pt x="46" y="129"/>
                      <a:pt x="49" y="132"/>
                      <a:pt x="51" y="132"/>
                    </a:cubicBezTo>
                    <a:cubicBezTo>
                      <a:pt x="52" y="132"/>
                      <a:pt x="52" y="132"/>
                      <a:pt x="52" y="132"/>
                    </a:cubicBezTo>
                    <a:cubicBezTo>
                      <a:pt x="55" y="132"/>
                      <a:pt x="57" y="130"/>
                      <a:pt x="58" y="127"/>
                    </a:cubicBezTo>
                    <a:cubicBezTo>
                      <a:pt x="58" y="127"/>
                      <a:pt x="59" y="123"/>
                      <a:pt x="60" y="118"/>
                    </a:cubicBezTo>
                    <a:cubicBezTo>
                      <a:pt x="72" y="132"/>
                      <a:pt x="88" y="135"/>
                      <a:pt x="89" y="135"/>
                    </a:cubicBezTo>
                    <a:cubicBezTo>
                      <a:pt x="90" y="135"/>
                      <a:pt x="91" y="135"/>
                      <a:pt x="92" y="135"/>
                    </a:cubicBezTo>
                    <a:cubicBezTo>
                      <a:pt x="99" y="135"/>
                      <a:pt x="104" y="132"/>
                      <a:pt x="106" y="126"/>
                    </a:cubicBezTo>
                    <a:cubicBezTo>
                      <a:pt x="107" y="124"/>
                      <a:pt x="108" y="122"/>
                      <a:pt x="107" y="120"/>
                    </a:cubicBezTo>
                    <a:cubicBezTo>
                      <a:pt x="109" y="120"/>
                      <a:pt x="111" y="120"/>
                      <a:pt x="112" y="120"/>
                    </a:cubicBezTo>
                    <a:cubicBezTo>
                      <a:pt x="112" y="120"/>
                      <a:pt x="112" y="120"/>
                      <a:pt x="112" y="120"/>
                    </a:cubicBezTo>
                    <a:cubicBezTo>
                      <a:pt x="120" y="117"/>
                      <a:pt x="125" y="112"/>
                      <a:pt x="125" y="105"/>
                    </a:cubicBezTo>
                    <a:cubicBezTo>
                      <a:pt x="126" y="99"/>
                      <a:pt x="122" y="94"/>
                      <a:pt x="115" y="92"/>
                    </a:cubicBezTo>
                    <a:close/>
                    <a:moveTo>
                      <a:pt x="107" y="52"/>
                    </a:moveTo>
                    <a:cubicBezTo>
                      <a:pt x="105" y="56"/>
                      <a:pt x="102" y="59"/>
                      <a:pt x="98" y="62"/>
                    </a:cubicBezTo>
                    <a:cubicBezTo>
                      <a:pt x="90" y="66"/>
                      <a:pt x="79" y="65"/>
                      <a:pt x="73" y="64"/>
                    </a:cubicBezTo>
                    <a:cubicBezTo>
                      <a:pt x="76" y="61"/>
                      <a:pt x="78" y="57"/>
                      <a:pt x="80" y="54"/>
                    </a:cubicBezTo>
                    <a:cubicBezTo>
                      <a:pt x="91" y="46"/>
                      <a:pt x="101" y="49"/>
                      <a:pt x="107" y="52"/>
                    </a:cubicBezTo>
                    <a:close/>
                    <a:moveTo>
                      <a:pt x="17" y="108"/>
                    </a:moveTo>
                    <a:cubicBezTo>
                      <a:pt x="13" y="107"/>
                      <a:pt x="12" y="106"/>
                      <a:pt x="12" y="105"/>
                    </a:cubicBezTo>
                    <a:cubicBezTo>
                      <a:pt x="12" y="104"/>
                      <a:pt x="13" y="104"/>
                      <a:pt x="14" y="103"/>
                    </a:cubicBezTo>
                    <a:cubicBezTo>
                      <a:pt x="15" y="103"/>
                      <a:pt x="17" y="102"/>
                      <a:pt x="20" y="102"/>
                    </a:cubicBezTo>
                    <a:cubicBezTo>
                      <a:pt x="25" y="101"/>
                      <a:pt x="31" y="100"/>
                      <a:pt x="38" y="97"/>
                    </a:cubicBezTo>
                    <a:cubicBezTo>
                      <a:pt x="43" y="96"/>
                      <a:pt x="47" y="94"/>
                      <a:pt x="50" y="92"/>
                    </a:cubicBezTo>
                    <a:cubicBezTo>
                      <a:pt x="50" y="94"/>
                      <a:pt x="50" y="96"/>
                      <a:pt x="51" y="97"/>
                    </a:cubicBezTo>
                    <a:cubicBezTo>
                      <a:pt x="36" y="110"/>
                      <a:pt x="19" y="108"/>
                      <a:pt x="17" y="108"/>
                    </a:cubicBezTo>
                    <a:close/>
                    <a:moveTo>
                      <a:pt x="95" y="122"/>
                    </a:moveTo>
                    <a:cubicBezTo>
                      <a:pt x="95" y="122"/>
                      <a:pt x="93" y="123"/>
                      <a:pt x="90" y="123"/>
                    </a:cubicBezTo>
                    <a:cubicBezTo>
                      <a:pt x="90" y="123"/>
                      <a:pt x="72" y="120"/>
                      <a:pt x="64" y="101"/>
                    </a:cubicBezTo>
                    <a:cubicBezTo>
                      <a:pt x="61" y="93"/>
                      <a:pt x="61" y="87"/>
                      <a:pt x="62" y="82"/>
                    </a:cubicBezTo>
                    <a:cubicBezTo>
                      <a:pt x="64" y="88"/>
                      <a:pt x="68" y="95"/>
                      <a:pt x="74" y="101"/>
                    </a:cubicBezTo>
                    <a:cubicBezTo>
                      <a:pt x="79" y="107"/>
                      <a:pt x="85" y="112"/>
                      <a:pt x="90" y="116"/>
                    </a:cubicBezTo>
                    <a:cubicBezTo>
                      <a:pt x="92" y="117"/>
                      <a:pt x="93" y="118"/>
                      <a:pt x="94" y="119"/>
                    </a:cubicBezTo>
                    <a:cubicBezTo>
                      <a:pt x="94" y="119"/>
                      <a:pt x="94" y="119"/>
                      <a:pt x="94" y="119"/>
                    </a:cubicBezTo>
                    <a:cubicBezTo>
                      <a:pt x="95" y="120"/>
                      <a:pt x="96" y="121"/>
                      <a:pt x="95" y="122"/>
                    </a:cubicBezTo>
                    <a:close/>
                    <a:moveTo>
                      <a:pt x="109" y="108"/>
                    </a:moveTo>
                    <a:cubicBezTo>
                      <a:pt x="108" y="108"/>
                      <a:pt x="106" y="109"/>
                      <a:pt x="102" y="109"/>
                    </a:cubicBezTo>
                    <a:cubicBezTo>
                      <a:pt x="102" y="109"/>
                      <a:pt x="101" y="109"/>
                      <a:pt x="100" y="109"/>
                    </a:cubicBezTo>
                    <a:cubicBezTo>
                      <a:pt x="100" y="108"/>
                      <a:pt x="99" y="107"/>
                      <a:pt x="98" y="107"/>
                    </a:cubicBezTo>
                    <a:cubicBezTo>
                      <a:pt x="94" y="104"/>
                      <a:pt x="90" y="100"/>
                      <a:pt x="86" y="96"/>
                    </a:cubicBezTo>
                    <a:cubicBezTo>
                      <a:pt x="93" y="99"/>
                      <a:pt x="101" y="101"/>
                      <a:pt x="106" y="102"/>
                    </a:cubicBezTo>
                    <a:cubicBezTo>
                      <a:pt x="109" y="103"/>
                      <a:pt x="111" y="103"/>
                      <a:pt x="112" y="103"/>
                    </a:cubicBezTo>
                    <a:cubicBezTo>
                      <a:pt x="113" y="104"/>
                      <a:pt x="113" y="104"/>
                      <a:pt x="113"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58">
                <a:extLst>
                  <a:ext uri="{FF2B5EF4-FFF2-40B4-BE49-F238E27FC236}">
                    <a16:creationId xmlns:a16="http://schemas.microsoft.com/office/drawing/2014/main" id="{64A6A9D6-38FA-4D99-9A34-838866916B78}"/>
                  </a:ext>
                </a:extLst>
              </p:cNvPr>
              <p:cNvSpPr>
                <a:spLocks noEditPoints="1"/>
              </p:cNvSpPr>
              <p:nvPr/>
            </p:nvSpPr>
            <p:spPr bwMode="auto">
              <a:xfrm>
                <a:off x="13559791" y="4405313"/>
                <a:ext cx="533400" cy="571500"/>
              </a:xfrm>
              <a:custGeom>
                <a:avLst/>
                <a:gdLst>
                  <a:gd name="T0" fmla="*/ 109 w 126"/>
                  <a:gd name="T1" fmla="*/ 90 h 135"/>
                  <a:gd name="T2" fmla="*/ 83 w 126"/>
                  <a:gd name="T3" fmla="*/ 77 h 135"/>
                  <a:gd name="T4" fmla="*/ 120 w 126"/>
                  <a:gd name="T5" fmla="*/ 51 h 135"/>
                  <a:gd name="T6" fmla="*/ 86 w 126"/>
                  <a:gd name="T7" fmla="*/ 38 h 135"/>
                  <a:gd name="T8" fmla="*/ 77 w 126"/>
                  <a:gd name="T9" fmla="*/ 1 h 135"/>
                  <a:gd name="T10" fmla="*/ 56 w 126"/>
                  <a:gd name="T11" fmla="*/ 24 h 135"/>
                  <a:gd name="T12" fmla="*/ 74 w 126"/>
                  <a:gd name="T13" fmla="*/ 14 h 135"/>
                  <a:gd name="T14" fmla="*/ 33 w 126"/>
                  <a:gd name="T15" fmla="*/ 14 h 135"/>
                  <a:gd name="T16" fmla="*/ 36 w 126"/>
                  <a:gd name="T17" fmla="*/ 67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1 w 126"/>
                  <a:gd name="T29" fmla="*/ 120 h 135"/>
                  <a:gd name="T30" fmla="*/ 46 w 126"/>
                  <a:gd name="T31" fmla="*/ 124 h 135"/>
                  <a:gd name="T32" fmla="*/ 52 w 126"/>
                  <a:gd name="T33" fmla="*/ 132 h 135"/>
                  <a:gd name="T34" fmla="*/ 60 w 126"/>
                  <a:gd name="T35" fmla="*/ 118 h 135"/>
                  <a:gd name="T36" fmla="*/ 92 w 126"/>
                  <a:gd name="T37" fmla="*/ 135 h 135"/>
                  <a:gd name="T38" fmla="*/ 107 w 126"/>
                  <a:gd name="T39" fmla="*/ 120 h 135"/>
                  <a:gd name="T40" fmla="*/ 112 w 126"/>
                  <a:gd name="T41" fmla="*/ 120 h 135"/>
                  <a:gd name="T42" fmla="*/ 115 w 126"/>
                  <a:gd name="T43" fmla="*/ 92 h 135"/>
                  <a:gd name="T44" fmla="*/ 98 w 126"/>
                  <a:gd name="T45" fmla="*/ 62 h 135"/>
                  <a:gd name="T46" fmla="*/ 80 w 126"/>
                  <a:gd name="T47" fmla="*/ 54 h 135"/>
                  <a:gd name="T48" fmla="*/ 17 w 126"/>
                  <a:gd name="T49" fmla="*/ 108 h 135"/>
                  <a:gd name="T50" fmla="*/ 14 w 126"/>
                  <a:gd name="T51" fmla="*/ 103 h 135"/>
                  <a:gd name="T52" fmla="*/ 38 w 126"/>
                  <a:gd name="T53" fmla="*/ 97 h 135"/>
                  <a:gd name="T54" fmla="*/ 51 w 126"/>
                  <a:gd name="T55" fmla="*/ 97 h 135"/>
                  <a:gd name="T56" fmla="*/ 95 w 126"/>
                  <a:gd name="T57" fmla="*/ 122 h 135"/>
                  <a:gd name="T58" fmla="*/ 64 w 126"/>
                  <a:gd name="T59" fmla="*/ 100 h 135"/>
                  <a:gd name="T60" fmla="*/ 74 w 126"/>
                  <a:gd name="T61" fmla="*/ 101 h 135"/>
                  <a:gd name="T62" fmla="*/ 94 w 126"/>
                  <a:gd name="T63" fmla="*/ 119 h 135"/>
                  <a:gd name="T64" fmla="*/ 95 w 126"/>
                  <a:gd name="T65" fmla="*/ 122 h 135"/>
                  <a:gd name="T66" fmla="*/ 102 w 126"/>
                  <a:gd name="T67" fmla="*/ 108 h 135"/>
                  <a:gd name="T68" fmla="*/ 98 w 126"/>
                  <a:gd name="T69" fmla="*/ 107 h 135"/>
                  <a:gd name="T70" fmla="*/ 106 w 126"/>
                  <a:gd name="T71" fmla="*/ 102 h 135"/>
                  <a:gd name="T72" fmla="*/ 1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5" y="92"/>
                    </a:moveTo>
                    <a:cubicBezTo>
                      <a:pt x="114" y="91"/>
                      <a:pt x="112" y="91"/>
                      <a:pt x="109" y="90"/>
                    </a:cubicBezTo>
                    <a:cubicBezTo>
                      <a:pt x="100" y="88"/>
                      <a:pt x="84" y="85"/>
                      <a:pt x="75" y="76"/>
                    </a:cubicBezTo>
                    <a:cubicBezTo>
                      <a:pt x="77" y="77"/>
                      <a:pt x="80" y="77"/>
                      <a:pt x="83" y="77"/>
                    </a:cubicBezTo>
                    <a:cubicBezTo>
                      <a:pt x="89" y="77"/>
                      <a:pt x="97" y="76"/>
                      <a:pt x="104" y="72"/>
                    </a:cubicBezTo>
                    <a:cubicBezTo>
                      <a:pt x="112" y="68"/>
                      <a:pt x="117" y="60"/>
                      <a:pt x="120" y="51"/>
                    </a:cubicBezTo>
                    <a:cubicBezTo>
                      <a:pt x="121" y="48"/>
                      <a:pt x="120" y="46"/>
                      <a:pt x="118" y="44"/>
                    </a:cubicBezTo>
                    <a:cubicBezTo>
                      <a:pt x="117" y="44"/>
                      <a:pt x="103" y="34"/>
                      <a:pt x="86" y="38"/>
                    </a:cubicBezTo>
                    <a:cubicBezTo>
                      <a:pt x="91" y="19"/>
                      <a:pt x="84" y="4"/>
                      <a:pt x="83" y="4"/>
                    </a:cubicBezTo>
                    <a:cubicBezTo>
                      <a:pt x="82" y="1"/>
                      <a:pt x="79" y="0"/>
                      <a:pt x="77" y="1"/>
                    </a:cubicBezTo>
                    <a:cubicBezTo>
                      <a:pt x="64" y="3"/>
                      <a:pt x="55" y="15"/>
                      <a:pt x="55" y="15"/>
                    </a:cubicBezTo>
                    <a:cubicBezTo>
                      <a:pt x="53" y="18"/>
                      <a:pt x="54" y="22"/>
                      <a:pt x="56" y="24"/>
                    </a:cubicBezTo>
                    <a:cubicBezTo>
                      <a:pt x="59" y="26"/>
                      <a:pt x="63" y="25"/>
                      <a:pt x="65" y="23"/>
                    </a:cubicBezTo>
                    <a:cubicBezTo>
                      <a:pt x="65" y="23"/>
                      <a:pt x="69" y="17"/>
                      <a:pt x="74" y="14"/>
                    </a:cubicBezTo>
                    <a:cubicBezTo>
                      <a:pt x="77" y="22"/>
                      <a:pt x="78" y="39"/>
                      <a:pt x="63" y="56"/>
                    </a:cubicBezTo>
                    <a:cubicBezTo>
                      <a:pt x="59" y="29"/>
                      <a:pt x="45" y="18"/>
                      <a:pt x="33" y="14"/>
                    </a:cubicBezTo>
                    <a:cubicBezTo>
                      <a:pt x="30" y="13"/>
                      <a:pt x="27" y="14"/>
                      <a:pt x="26" y="17"/>
                    </a:cubicBezTo>
                    <a:cubicBezTo>
                      <a:pt x="21" y="28"/>
                      <a:pt x="16" y="54"/>
                      <a:pt x="36" y="67"/>
                    </a:cubicBezTo>
                    <a:cubicBezTo>
                      <a:pt x="39" y="69"/>
                      <a:pt x="43" y="69"/>
                      <a:pt x="44" y="66"/>
                    </a:cubicBezTo>
                    <a:cubicBezTo>
                      <a:pt x="46" y="63"/>
                      <a:pt x="46" y="59"/>
                      <a:pt x="43" y="58"/>
                    </a:cubicBezTo>
                    <a:cubicBezTo>
                      <a:pt x="31" y="49"/>
                      <a:pt x="33" y="35"/>
                      <a:pt x="35" y="28"/>
                    </a:cubicBezTo>
                    <a:cubicBezTo>
                      <a:pt x="46" y="34"/>
                      <a:pt x="52" y="49"/>
                      <a:pt x="53" y="71"/>
                    </a:cubicBezTo>
                    <a:cubicBezTo>
                      <a:pt x="52" y="71"/>
                      <a:pt x="52"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7"/>
                      <a:pt x="14" y="120"/>
                    </a:cubicBezTo>
                    <a:cubicBezTo>
                      <a:pt x="14" y="120"/>
                      <a:pt x="14" y="120"/>
                      <a:pt x="14" y="120"/>
                    </a:cubicBezTo>
                    <a:cubicBezTo>
                      <a:pt x="15" y="120"/>
                      <a:pt x="17" y="120"/>
                      <a:pt x="21" y="120"/>
                    </a:cubicBezTo>
                    <a:cubicBezTo>
                      <a:pt x="28" y="120"/>
                      <a:pt x="39" y="119"/>
                      <a:pt x="49" y="113"/>
                    </a:cubicBezTo>
                    <a:cubicBezTo>
                      <a:pt x="48" y="120"/>
                      <a:pt x="47" y="124"/>
                      <a:pt x="46" y="124"/>
                    </a:cubicBezTo>
                    <a:cubicBezTo>
                      <a:pt x="46" y="125"/>
                      <a:pt x="46" y="125"/>
                      <a:pt x="46" y="126"/>
                    </a:cubicBezTo>
                    <a:cubicBezTo>
                      <a:pt x="46" y="129"/>
                      <a:pt x="49" y="132"/>
                      <a:pt x="52" y="132"/>
                    </a:cubicBezTo>
                    <a:cubicBezTo>
                      <a:pt x="55" y="132"/>
                      <a:pt x="57" y="130"/>
                      <a:pt x="58" y="127"/>
                    </a:cubicBezTo>
                    <a:cubicBezTo>
                      <a:pt x="58" y="126"/>
                      <a:pt x="59" y="123"/>
                      <a:pt x="60" y="118"/>
                    </a:cubicBezTo>
                    <a:cubicBezTo>
                      <a:pt x="72" y="132"/>
                      <a:pt x="88" y="134"/>
                      <a:pt x="89" y="135"/>
                    </a:cubicBezTo>
                    <a:cubicBezTo>
                      <a:pt x="90" y="135"/>
                      <a:pt x="91" y="135"/>
                      <a:pt x="92" y="135"/>
                    </a:cubicBezTo>
                    <a:cubicBezTo>
                      <a:pt x="99" y="135"/>
                      <a:pt x="104" y="132"/>
                      <a:pt x="106" y="126"/>
                    </a:cubicBezTo>
                    <a:cubicBezTo>
                      <a:pt x="107" y="124"/>
                      <a:pt x="108" y="122"/>
                      <a:pt x="107" y="120"/>
                    </a:cubicBezTo>
                    <a:cubicBezTo>
                      <a:pt x="110" y="120"/>
                      <a:pt x="111" y="120"/>
                      <a:pt x="112" y="120"/>
                    </a:cubicBezTo>
                    <a:cubicBezTo>
                      <a:pt x="112" y="120"/>
                      <a:pt x="112" y="120"/>
                      <a:pt x="112" y="120"/>
                    </a:cubicBezTo>
                    <a:cubicBezTo>
                      <a:pt x="120" y="117"/>
                      <a:pt x="125" y="112"/>
                      <a:pt x="125" y="105"/>
                    </a:cubicBezTo>
                    <a:cubicBezTo>
                      <a:pt x="126" y="99"/>
                      <a:pt x="122" y="94"/>
                      <a:pt x="115" y="92"/>
                    </a:cubicBezTo>
                    <a:close/>
                    <a:moveTo>
                      <a:pt x="107" y="52"/>
                    </a:moveTo>
                    <a:cubicBezTo>
                      <a:pt x="105" y="56"/>
                      <a:pt x="102" y="59"/>
                      <a:pt x="98" y="62"/>
                    </a:cubicBezTo>
                    <a:cubicBezTo>
                      <a:pt x="90" y="66"/>
                      <a:pt x="79" y="65"/>
                      <a:pt x="73" y="64"/>
                    </a:cubicBezTo>
                    <a:cubicBezTo>
                      <a:pt x="76" y="60"/>
                      <a:pt x="78" y="57"/>
                      <a:pt x="80" y="54"/>
                    </a:cubicBezTo>
                    <a:cubicBezTo>
                      <a:pt x="91" y="46"/>
                      <a:pt x="101" y="49"/>
                      <a:pt x="107" y="52"/>
                    </a:cubicBezTo>
                    <a:close/>
                    <a:moveTo>
                      <a:pt x="17" y="108"/>
                    </a:moveTo>
                    <a:cubicBezTo>
                      <a:pt x="13" y="107"/>
                      <a:pt x="12" y="106"/>
                      <a:pt x="12" y="105"/>
                    </a:cubicBezTo>
                    <a:cubicBezTo>
                      <a:pt x="12" y="104"/>
                      <a:pt x="13" y="104"/>
                      <a:pt x="14" y="103"/>
                    </a:cubicBezTo>
                    <a:cubicBezTo>
                      <a:pt x="15" y="103"/>
                      <a:pt x="17" y="102"/>
                      <a:pt x="20" y="102"/>
                    </a:cubicBezTo>
                    <a:cubicBezTo>
                      <a:pt x="25" y="101"/>
                      <a:pt x="31" y="99"/>
                      <a:pt x="38" y="97"/>
                    </a:cubicBezTo>
                    <a:cubicBezTo>
                      <a:pt x="43" y="96"/>
                      <a:pt x="47" y="94"/>
                      <a:pt x="50" y="92"/>
                    </a:cubicBezTo>
                    <a:cubicBezTo>
                      <a:pt x="50" y="94"/>
                      <a:pt x="50" y="95"/>
                      <a:pt x="51" y="97"/>
                    </a:cubicBezTo>
                    <a:cubicBezTo>
                      <a:pt x="36" y="110"/>
                      <a:pt x="19" y="108"/>
                      <a:pt x="17" y="108"/>
                    </a:cubicBezTo>
                    <a:close/>
                    <a:moveTo>
                      <a:pt x="95" y="122"/>
                    </a:moveTo>
                    <a:cubicBezTo>
                      <a:pt x="95" y="122"/>
                      <a:pt x="93" y="123"/>
                      <a:pt x="90" y="123"/>
                    </a:cubicBezTo>
                    <a:cubicBezTo>
                      <a:pt x="90" y="123"/>
                      <a:pt x="72" y="120"/>
                      <a:pt x="64" y="100"/>
                    </a:cubicBezTo>
                    <a:cubicBezTo>
                      <a:pt x="61" y="93"/>
                      <a:pt x="61" y="87"/>
                      <a:pt x="62" y="82"/>
                    </a:cubicBezTo>
                    <a:cubicBezTo>
                      <a:pt x="64" y="88"/>
                      <a:pt x="68" y="95"/>
                      <a:pt x="74" y="101"/>
                    </a:cubicBezTo>
                    <a:cubicBezTo>
                      <a:pt x="79" y="107"/>
                      <a:pt x="85" y="112"/>
                      <a:pt x="90" y="116"/>
                    </a:cubicBezTo>
                    <a:cubicBezTo>
                      <a:pt x="92" y="117"/>
                      <a:pt x="93" y="118"/>
                      <a:pt x="94" y="119"/>
                    </a:cubicBezTo>
                    <a:cubicBezTo>
                      <a:pt x="94" y="119"/>
                      <a:pt x="94" y="119"/>
                      <a:pt x="94" y="119"/>
                    </a:cubicBezTo>
                    <a:cubicBezTo>
                      <a:pt x="95" y="120"/>
                      <a:pt x="96" y="121"/>
                      <a:pt x="95" y="122"/>
                    </a:cubicBezTo>
                    <a:close/>
                    <a:moveTo>
                      <a:pt x="109" y="108"/>
                    </a:moveTo>
                    <a:cubicBezTo>
                      <a:pt x="108" y="108"/>
                      <a:pt x="106" y="109"/>
                      <a:pt x="102" y="108"/>
                    </a:cubicBezTo>
                    <a:cubicBezTo>
                      <a:pt x="102" y="108"/>
                      <a:pt x="101" y="109"/>
                      <a:pt x="100" y="109"/>
                    </a:cubicBezTo>
                    <a:cubicBezTo>
                      <a:pt x="100" y="108"/>
                      <a:pt x="99" y="107"/>
                      <a:pt x="98" y="107"/>
                    </a:cubicBezTo>
                    <a:cubicBezTo>
                      <a:pt x="94" y="103"/>
                      <a:pt x="90" y="100"/>
                      <a:pt x="86" y="96"/>
                    </a:cubicBezTo>
                    <a:cubicBezTo>
                      <a:pt x="93" y="99"/>
                      <a:pt x="101" y="101"/>
                      <a:pt x="106" y="102"/>
                    </a:cubicBezTo>
                    <a:cubicBezTo>
                      <a:pt x="109" y="102"/>
                      <a:pt x="111" y="103"/>
                      <a:pt x="112" y="103"/>
                    </a:cubicBezTo>
                    <a:cubicBezTo>
                      <a:pt x="113" y="104"/>
                      <a:pt x="113" y="104"/>
                      <a:pt x="113"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59">
                <a:extLst>
                  <a:ext uri="{FF2B5EF4-FFF2-40B4-BE49-F238E27FC236}">
                    <a16:creationId xmlns:a16="http://schemas.microsoft.com/office/drawing/2014/main" id="{5089DFE3-A5B1-4AEC-B84F-474C7CC64096}"/>
                  </a:ext>
                </a:extLst>
              </p:cNvPr>
              <p:cNvSpPr>
                <a:spLocks noEditPoints="1"/>
              </p:cNvSpPr>
              <p:nvPr/>
            </p:nvSpPr>
            <p:spPr bwMode="auto">
              <a:xfrm>
                <a:off x="14118591" y="3089275"/>
                <a:ext cx="533400" cy="573088"/>
              </a:xfrm>
              <a:custGeom>
                <a:avLst/>
                <a:gdLst>
                  <a:gd name="T0" fmla="*/ 109 w 126"/>
                  <a:gd name="T1" fmla="*/ 91 h 135"/>
                  <a:gd name="T2" fmla="*/ 83 w 126"/>
                  <a:gd name="T3" fmla="*/ 77 h 135"/>
                  <a:gd name="T4" fmla="*/ 120 w 126"/>
                  <a:gd name="T5" fmla="*/ 51 h 135"/>
                  <a:gd name="T6" fmla="*/ 86 w 126"/>
                  <a:gd name="T7" fmla="*/ 38 h 135"/>
                  <a:gd name="T8" fmla="*/ 77 w 126"/>
                  <a:gd name="T9" fmla="*/ 1 h 135"/>
                  <a:gd name="T10" fmla="*/ 56 w 126"/>
                  <a:gd name="T11" fmla="*/ 24 h 135"/>
                  <a:gd name="T12" fmla="*/ 75 w 126"/>
                  <a:gd name="T13" fmla="*/ 15 h 135"/>
                  <a:gd name="T14" fmla="*/ 33 w 126"/>
                  <a:gd name="T15" fmla="*/ 14 h 135"/>
                  <a:gd name="T16" fmla="*/ 36 w 126"/>
                  <a:gd name="T17" fmla="*/ 68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2 w 126"/>
                  <a:gd name="T29" fmla="*/ 121 h 135"/>
                  <a:gd name="T30" fmla="*/ 47 w 126"/>
                  <a:gd name="T31" fmla="*/ 125 h 135"/>
                  <a:gd name="T32" fmla="*/ 52 w 126"/>
                  <a:gd name="T33" fmla="*/ 132 h 135"/>
                  <a:gd name="T34" fmla="*/ 60 w 126"/>
                  <a:gd name="T35" fmla="*/ 118 h 135"/>
                  <a:gd name="T36" fmla="*/ 92 w 126"/>
                  <a:gd name="T37" fmla="*/ 135 h 135"/>
                  <a:gd name="T38" fmla="*/ 108 w 126"/>
                  <a:gd name="T39" fmla="*/ 121 h 135"/>
                  <a:gd name="T40" fmla="*/ 112 w 126"/>
                  <a:gd name="T41" fmla="*/ 120 h 135"/>
                  <a:gd name="T42" fmla="*/ 116 w 126"/>
                  <a:gd name="T43" fmla="*/ 92 h 135"/>
                  <a:gd name="T44" fmla="*/ 98 w 126"/>
                  <a:gd name="T45" fmla="*/ 62 h 135"/>
                  <a:gd name="T46" fmla="*/ 80 w 126"/>
                  <a:gd name="T47" fmla="*/ 54 h 135"/>
                  <a:gd name="T48" fmla="*/ 17 w 126"/>
                  <a:gd name="T49" fmla="*/ 108 h 135"/>
                  <a:gd name="T50" fmla="*/ 14 w 126"/>
                  <a:gd name="T51" fmla="*/ 104 h 135"/>
                  <a:gd name="T52" fmla="*/ 38 w 126"/>
                  <a:gd name="T53" fmla="*/ 98 h 135"/>
                  <a:gd name="T54" fmla="*/ 51 w 126"/>
                  <a:gd name="T55" fmla="*/ 98 h 135"/>
                  <a:gd name="T56" fmla="*/ 96 w 126"/>
                  <a:gd name="T57" fmla="*/ 122 h 135"/>
                  <a:gd name="T58" fmla="*/ 64 w 126"/>
                  <a:gd name="T59" fmla="*/ 101 h 135"/>
                  <a:gd name="T60" fmla="*/ 74 w 126"/>
                  <a:gd name="T61" fmla="*/ 102 h 135"/>
                  <a:gd name="T62" fmla="*/ 95 w 126"/>
                  <a:gd name="T63" fmla="*/ 120 h 135"/>
                  <a:gd name="T64" fmla="*/ 96 w 126"/>
                  <a:gd name="T65" fmla="*/ 122 h 135"/>
                  <a:gd name="T66" fmla="*/ 102 w 126"/>
                  <a:gd name="T67" fmla="*/ 109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2"/>
                      <a:pt x="112" y="91"/>
                      <a:pt x="109" y="91"/>
                    </a:cubicBezTo>
                    <a:cubicBezTo>
                      <a:pt x="100" y="89"/>
                      <a:pt x="84" y="85"/>
                      <a:pt x="75" y="77"/>
                    </a:cubicBezTo>
                    <a:cubicBezTo>
                      <a:pt x="77" y="77"/>
                      <a:pt x="80" y="77"/>
                      <a:pt x="83" y="77"/>
                    </a:cubicBezTo>
                    <a:cubicBezTo>
                      <a:pt x="90" y="77"/>
                      <a:pt x="97" y="76"/>
                      <a:pt x="104" y="72"/>
                    </a:cubicBezTo>
                    <a:cubicBezTo>
                      <a:pt x="112" y="68"/>
                      <a:pt x="117" y="61"/>
                      <a:pt x="120" y="51"/>
                    </a:cubicBezTo>
                    <a:cubicBezTo>
                      <a:pt x="121" y="48"/>
                      <a:pt x="120" y="46"/>
                      <a:pt x="118" y="44"/>
                    </a:cubicBezTo>
                    <a:cubicBezTo>
                      <a:pt x="117" y="44"/>
                      <a:pt x="103" y="34"/>
                      <a:pt x="86" y="38"/>
                    </a:cubicBezTo>
                    <a:cubicBezTo>
                      <a:pt x="91" y="19"/>
                      <a:pt x="84" y="4"/>
                      <a:pt x="83" y="4"/>
                    </a:cubicBezTo>
                    <a:cubicBezTo>
                      <a:pt x="82" y="2"/>
                      <a:pt x="80" y="0"/>
                      <a:pt x="77" y="1"/>
                    </a:cubicBezTo>
                    <a:cubicBezTo>
                      <a:pt x="64" y="4"/>
                      <a:pt x="56" y="15"/>
                      <a:pt x="55" y="16"/>
                    </a:cubicBezTo>
                    <a:cubicBezTo>
                      <a:pt x="53" y="18"/>
                      <a:pt x="54" y="22"/>
                      <a:pt x="56" y="24"/>
                    </a:cubicBezTo>
                    <a:cubicBezTo>
                      <a:pt x="59" y="26"/>
                      <a:pt x="63" y="26"/>
                      <a:pt x="65" y="23"/>
                    </a:cubicBezTo>
                    <a:cubicBezTo>
                      <a:pt x="65" y="23"/>
                      <a:pt x="69" y="18"/>
                      <a:pt x="75" y="15"/>
                    </a:cubicBezTo>
                    <a:cubicBezTo>
                      <a:pt x="77" y="23"/>
                      <a:pt x="78" y="39"/>
                      <a:pt x="63" y="57"/>
                    </a:cubicBezTo>
                    <a:cubicBezTo>
                      <a:pt x="59" y="29"/>
                      <a:pt x="45" y="18"/>
                      <a:pt x="33" y="14"/>
                    </a:cubicBezTo>
                    <a:cubicBezTo>
                      <a:pt x="30" y="13"/>
                      <a:pt x="27" y="14"/>
                      <a:pt x="26" y="17"/>
                    </a:cubicBezTo>
                    <a:cubicBezTo>
                      <a:pt x="21" y="29"/>
                      <a:pt x="16" y="54"/>
                      <a:pt x="36" y="68"/>
                    </a:cubicBezTo>
                    <a:cubicBezTo>
                      <a:pt x="39" y="70"/>
                      <a:pt x="43" y="69"/>
                      <a:pt x="45" y="66"/>
                    </a:cubicBezTo>
                    <a:cubicBezTo>
                      <a:pt x="46" y="63"/>
                      <a:pt x="46" y="60"/>
                      <a:pt x="43" y="58"/>
                    </a:cubicBezTo>
                    <a:cubicBezTo>
                      <a:pt x="31" y="50"/>
                      <a:pt x="33" y="36"/>
                      <a:pt x="35" y="28"/>
                    </a:cubicBezTo>
                    <a:cubicBezTo>
                      <a:pt x="46" y="35"/>
                      <a:pt x="52" y="49"/>
                      <a:pt x="53" y="71"/>
                    </a:cubicBezTo>
                    <a:cubicBezTo>
                      <a:pt x="53" y="71"/>
                      <a:pt x="53" y="71"/>
                      <a:pt x="53" y="71"/>
                    </a:cubicBezTo>
                    <a:cubicBezTo>
                      <a:pt x="49" y="77"/>
                      <a:pt x="46" y="83"/>
                      <a:pt x="34" y="86"/>
                    </a:cubicBezTo>
                    <a:cubicBezTo>
                      <a:pt x="28" y="88"/>
                      <a:pt x="22" y="89"/>
                      <a:pt x="17" y="90"/>
                    </a:cubicBezTo>
                    <a:cubicBezTo>
                      <a:pt x="14" y="91"/>
                      <a:pt x="12" y="92"/>
                      <a:pt x="10" y="92"/>
                    </a:cubicBezTo>
                    <a:cubicBezTo>
                      <a:pt x="4" y="94"/>
                      <a:pt x="0" y="100"/>
                      <a:pt x="0" y="106"/>
                    </a:cubicBezTo>
                    <a:cubicBezTo>
                      <a:pt x="0" y="112"/>
                      <a:pt x="6" y="118"/>
                      <a:pt x="14" y="120"/>
                    </a:cubicBezTo>
                    <a:cubicBezTo>
                      <a:pt x="14" y="120"/>
                      <a:pt x="14" y="120"/>
                      <a:pt x="14" y="120"/>
                    </a:cubicBezTo>
                    <a:cubicBezTo>
                      <a:pt x="15" y="120"/>
                      <a:pt x="17" y="121"/>
                      <a:pt x="22" y="121"/>
                    </a:cubicBezTo>
                    <a:cubicBezTo>
                      <a:pt x="28" y="121"/>
                      <a:pt x="39" y="119"/>
                      <a:pt x="49" y="114"/>
                    </a:cubicBezTo>
                    <a:cubicBezTo>
                      <a:pt x="48" y="120"/>
                      <a:pt x="47" y="124"/>
                      <a:pt x="47" y="125"/>
                    </a:cubicBezTo>
                    <a:cubicBezTo>
                      <a:pt x="46" y="125"/>
                      <a:pt x="46" y="126"/>
                      <a:pt x="46" y="126"/>
                    </a:cubicBezTo>
                    <a:cubicBezTo>
                      <a:pt x="46" y="130"/>
                      <a:pt x="49" y="132"/>
                      <a:pt x="52" y="132"/>
                    </a:cubicBezTo>
                    <a:cubicBezTo>
                      <a:pt x="55" y="132"/>
                      <a:pt x="58" y="130"/>
                      <a:pt x="58" y="128"/>
                    </a:cubicBezTo>
                    <a:cubicBezTo>
                      <a:pt x="58" y="127"/>
                      <a:pt x="59" y="123"/>
                      <a:pt x="60" y="118"/>
                    </a:cubicBezTo>
                    <a:cubicBezTo>
                      <a:pt x="72" y="133"/>
                      <a:pt x="88" y="135"/>
                      <a:pt x="89" y="135"/>
                    </a:cubicBezTo>
                    <a:cubicBezTo>
                      <a:pt x="90" y="135"/>
                      <a:pt x="91" y="135"/>
                      <a:pt x="92" y="135"/>
                    </a:cubicBezTo>
                    <a:cubicBezTo>
                      <a:pt x="99" y="135"/>
                      <a:pt x="104" y="132"/>
                      <a:pt x="107" y="127"/>
                    </a:cubicBezTo>
                    <a:cubicBezTo>
                      <a:pt x="107" y="125"/>
                      <a:pt x="108" y="123"/>
                      <a:pt x="108" y="121"/>
                    </a:cubicBezTo>
                    <a:cubicBezTo>
                      <a:pt x="109" y="120"/>
                      <a:pt x="111" y="120"/>
                      <a:pt x="112" y="120"/>
                    </a:cubicBezTo>
                    <a:cubicBezTo>
                      <a:pt x="112" y="120"/>
                      <a:pt x="112" y="120"/>
                      <a:pt x="112" y="120"/>
                    </a:cubicBezTo>
                    <a:cubicBezTo>
                      <a:pt x="120" y="118"/>
                      <a:pt x="125" y="112"/>
                      <a:pt x="126" y="106"/>
                    </a:cubicBezTo>
                    <a:cubicBezTo>
                      <a:pt x="126" y="100"/>
                      <a:pt x="122" y="94"/>
                      <a:pt x="116" y="92"/>
                    </a:cubicBezTo>
                    <a:close/>
                    <a:moveTo>
                      <a:pt x="107" y="52"/>
                    </a:moveTo>
                    <a:cubicBezTo>
                      <a:pt x="105" y="56"/>
                      <a:pt x="102" y="60"/>
                      <a:pt x="98" y="62"/>
                    </a:cubicBezTo>
                    <a:cubicBezTo>
                      <a:pt x="90" y="67"/>
                      <a:pt x="79" y="65"/>
                      <a:pt x="73" y="64"/>
                    </a:cubicBezTo>
                    <a:cubicBezTo>
                      <a:pt x="76" y="61"/>
                      <a:pt x="78" y="57"/>
                      <a:pt x="80" y="54"/>
                    </a:cubicBezTo>
                    <a:cubicBezTo>
                      <a:pt x="91" y="47"/>
                      <a:pt x="101" y="50"/>
                      <a:pt x="107" y="52"/>
                    </a:cubicBezTo>
                    <a:close/>
                    <a:moveTo>
                      <a:pt x="17" y="108"/>
                    </a:moveTo>
                    <a:cubicBezTo>
                      <a:pt x="13" y="107"/>
                      <a:pt x="12" y="106"/>
                      <a:pt x="12" y="105"/>
                    </a:cubicBezTo>
                    <a:cubicBezTo>
                      <a:pt x="12" y="105"/>
                      <a:pt x="13" y="104"/>
                      <a:pt x="14" y="104"/>
                    </a:cubicBezTo>
                    <a:cubicBezTo>
                      <a:pt x="15" y="103"/>
                      <a:pt x="17" y="103"/>
                      <a:pt x="20" y="102"/>
                    </a:cubicBezTo>
                    <a:cubicBezTo>
                      <a:pt x="25" y="101"/>
                      <a:pt x="31" y="100"/>
                      <a:pt x="38" y="98"/>
                    </a:cubicBezTo>
                    <a:cubicBezTo>
                      <a:pt x="43" y="96"/>
                      <a:pt x="47" y="94"/>
                      <a:pt x="50" y="92"/>
                    </a:cubicBezTo>
                    <a:cubicBezTo>
                      <a:pt x="50" y="94"/>
                      <a:pt x="50" y="96"/>
                      <a:pt x="51" y="98"/>
                    </a:cubicBezTo>
                    <a:cubicBezTo>
                      <a:pt x="37" y="111"/>
                      <a:pt x="19" y="109"/>
                      <a:pt x="17" y="108"/>
                    </a:cubicBezTo>
                    <a:close/>
                    <a:moveTo>
                      <a:pt x="96" y="122"/>
                    </a:moveTo>
                    <a:cubicBezTo>
                      <a:pt x="95" y="123"/>
                      <a:pt x="94" y="123"/>
                      <a:pt x="90" y="123"/>
                    </a:cubicBezTo>
                    <a:cubicBezTo>
                      <a:pt x="90" y="123"/>
                      <a:pt x="72" y="121"/>
                      <a:pt x="64" y="101"/>
                    </a:cubicBezTo>
                    <a:cubicBezTo>
                      <a:pt x="61" y="93"/>
                      <a:pt x="61" y="87"/>
                      <a:pt x="62" y="83"/>
                    </a:cubicBezTo>
                    <a:cubicBezTo>
                      <a:pt x="64" y="88"/>
                      <a:pt x="68" y="95"/>
                      <a:pt x="74" y="102"/>
                    </a:cubicBezTo>
                    <a:cubicBezTo>
                      <a:pt x="79" y="107"/>
                      <a:pt x="85" y="112"/>
                      <a:pt x="90" y="116"/>
                    </a:cubicBezTo>
                    <a:cubicBezTo>
                      <a:pt x="92" y="117"/>
                      <a:pt x="93" y="119"/>
                      <a:pt x="95" y="120"/>
                    </a:cubicBezTo>
                    <a:cubicBezTo>
                      <a:pt x="95" y="120"/>
                      <a:pt x="95" y="120"/>
                      <a:pt x="95" y="120"/>
                    </a:cubicBezTo>
                    <a:cubicBezTo>
                      <a:pt x="95" y="120"/>
                      <a:pt x="96" y="121"/>
                      <a:pt x="96" y="122"/>
                    </a:cubicBezTo>
                    <a:close/>
                    <a:moveTo>
                      <a:pt x="109" y="108"/>
                    </a:moveTo>
                    <a:cubicBezTo>
                      <a:pt x="108" y="108"/>
                      <a:pt x="106" y="109"/>
                      <a:pt x="102" y="109"/>
                    </a:cubicBezTo>
                    <a:cubicBezTo>
                      <a:pt x="102" y="109"/>
                      <a:pt x="101" y="109"/>
                      <a:pt x="101" y="109"/>
                    </a:cubicBezTo>
                    <a:cubicBezTo>
                      <a:pt x="100" y="108"/>
                      <a:pt x="99" y="108"/>
                      <a:pt x="98" y="107"/>
                    </a:cubicBezTo>
                    <a:cubicBezTo>
                      <a:pt x="94" y="104"/>
                      <a:pt x="90" y="100"/>
                      <a:pt x="86" y="97"/>
                    </a:cubicBezTo>
                    <a:cubicBezTo>
                      <a:pt x="93" y="99"/>
                      <a:pt x="101" y="101"/>
                      <a:pt x="107" y="102"/>
                    </a:cubicBezTo>
                    <a:cubicBezTo>
                      <a:pt x="109" y="103"/>
                      <a:pt x="111" y="103"/>
                      <a:pt x="112" y="104"/>
                    </a:cubicBezTo>
                    <a:cubicBezTo>
                      <a:pt x="113" y="104"/>
                      <a:pt x="114" y="105"/>
                      <a:pt x="114"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60">
                <a:extLst>
                  <a:ext uri="{FF2B5EF4-FFF2-40B4-BE49-F238E27FC236}">
                    <a16:creationId xmlns:a16="http://schemas.microsoft.com/office/drawing/2014/main" id="{D18F3A48-67B2-4B8F-907E-5A6395B12D76}"/>
                  </a:ext>
                </a:extLst>
              </p:cNvPr>
              <p:cNvSpPr>
                <a:spLocks noEditPoints="1"/>
              </p:cNvSpPr>
              <p:nvPr/>
            </p:nvSpPr>
            <p:spPr bwMode="auto">
              <a:xfrm>
                <a:off x="14118591" y="3667125"/>
                <a:ext cx="533400" cy="571500"/>
              </a:xfrm>
              <a:custGeom>
                <a:avLst/>
                <a:gdLst>
                  <a:gd name="T0" fmla="*/ 109 w 126"/>
                  <a:gd name="T1" fmla="*/ 91 h 135"/>
                  <a:gd name="T2" fmla="*/ 83 w 126"/>
                  <a:gd name="T3" fmla="*/ 77 h 135"/>
                  <a:gd name="T4" fmla="*/ 120 w 126"/>
                  <a:gd name="T5" fmla="*/ 51 h 135"/>
                  <a:gd name="T6" fmla="*/ 86 w 126"/>
                  <a:gd name="T7" fmla="*/ 38 h 135"/>
                  <a:gd name="T8" fmla="*/ 77 w 126"/>
                  <a:gd name="T9" fmla="*/ 1 h 135"/>
                  <a:gd name="T10" fmla="*/ 56 w 126"/>
                  <a:gd name="T11" fmla="*/ 24 h 135"/>
                  <a:gd name="T12" fmla="*/ 75 w 126"/>
                  <a:gd name="T13" fmla="*/ 15 h 135"/>
                  <a:gd name="T14" fmla="*/ 33 w 126"/>
                  <a:gd name="T15" fmla="*/ 14 h 135"/>
                  <a:gd name="T16" fmla="*/ 36 w 126"/>
                  <a:gd name="T17" fmla="*/ 68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2 w 126"/>
                  <a:gd name="T29" fmla="*/ 121 h 135"/>
                  <a:gd name="T30" fmla="*/ 47 w 126"/>
                  <a:gd name="T31" fmla="*/ 125 h 135"/>
                  <a:gd name="T32" fmla="*/ 52 w 126"/>
                  <a:gd name="T33" fmla="*/ 132 h 135"/>
                  <a:gd name="T34" fmla="*/ 58 w 126"/>
                  <a:gd name="T35" fmla="*/ 128 h 135"/>
                  <a:gd name="T36" fmla="*/ 89 w 126"/>
                  <a:gd name="T37" fmla="*/ 135 h 135"/>
                  <a:gd name="T38" fmla="*/ 107 w 126"/>
                  <a:gd name="T39" fmla="*/ 127 h 135"/>
                  <a:gd name="T40" fmla="*/ 112 w 126"/>
                  <a:gd name="T41" fmla="*/ 120 h 135"/>
                  <a:gd name="T42" fmla="*/ 126 w 126"/>
                  <a:gd name="T43" fmla="*/ 106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3 h 135"/>
                  <a:gd name="T62" fmla="*/ 90 w 126"/>
                  <a:gd name="T63" fmla="*/ 116 h 135"/>
                  <a:gd name="T64" fmla="*/ 95 w 126"/>
                  <a:gd name="T65" fmla="*/ 120 h 135"/>
                  <a:gd name="T66" fmla="*/ 109 w 126"/>
                  <a:gd name="T67" fmla="*/ 108 h 135"/>
                  <a:gd name="T68" fmla="*/ 101 w 126"/>
                  <a:gd name="T69" fmla="*/ 109 h 135"/>
                  <a:gd name="T70" fmla="*/ 86 w 126"/>
                  <a:gd name="T71" fmla="*/ 97 h 135"/>
                  <a:gd name="T72" fmla="*/ 112 w 126"/>
                  <a:gd name="T73" fmla="*/ 104 h 135"/>
                  <a:gd name="T74" fmla="*/ 109 w 126"/>
                  <a:gd name="T75"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35">
                    <a:moveTo>
                      <a:pt x="116" y="92"/>
                    </a:moveTo>
                    <a:cubicBezTo>
                      <a:pt x="114" y="92"/>
                      <a:pt x="112" y="91"/>
                      <a:pt x="109" y="91"/>
                    </a:cubicBezTo>
                    <a:cubicBezTo>
                      <a:pt x="100" y="89"/>
                      <a:pt x="84" y="85"/>
                      <a:pt x="75" y="77"/>
                    </a:cubicBezTo>
                    <a:cubicBezTo>
                      <a:pt x="77" y="77"/>
                      <a:pt x="80" y="77"/>
                      <a:pt x="83" y="77"/>
                    </a:cubicBezTo>
                    <a:cubicBezTo>
                      <a:pt x="90" y="77"/>
                      <a:pt x="97" y="76"/>
                      <a:pt x="104" y="73"/>
                    </a:cubicBezTo>
                    <a:cubicBezTo>
                      <a:pt x="112" y="68"/>
                      <a:pt x="117" y="61"/>
                      <a:pt x="120" y="51"/>
                    </a:cubicBezTo>
                    <a:cubicBezTo>
                      <a:pt x="121" y="49"/>
                      <a:pt x="120" y="46"/>
                      <a:pt x="118" y="45"/>
                    </a:cubicBezTo>
                    <a:cubicBezTo>
                      <a:pt x="117" y="44"/>
                      <a:pt x="103" y="34"/>
                      <a:pt x="86" y="38"/>
                    </a:cubicBezTo>
                    <a:cubicBezTo>
                      <a:pt x="91" y="19"/>
                      <a:pt x="84" y="4"/>
                      <a:pt x="83" y="4"/>
                    </a:cubicBezTo>
                    <a:cubicBezTo>
                      <a:pt x="82" y="2"/>
                      <a:pt x="80" y="0"/>
                      <a:pt x="77" y="1"/>
                    </a:cubicBezTo>
                    <a:cubicBezTo>
                      <a:pt x="64" y="4"/>
                      <a:pt x="56" y="15"/>
                      <a:pt x="55" y="16"/>
                    </a:cubicBezTo>
                    <a:cubicBezTo>
                      <a:pt x="53" y="18"/>
                      <a:pt x="54" y="22"/>
                      <a:pt x="56" y="24"/>
                    </a:cubicBezTo>
                    <a:cubicBezTo>
                      <a:pt x="59" y="26"/>
                      <a:pt x="63" y="26"/>
                      <a:pt x="65" y="23"/>
                    </a:cubicBezTo>
                    <a:cubicBezTo>
                      <a:pt x="65" y="23"/>
                      <a:pt x="69" y="18"/>
                      <a:pt x="75" y="15"/>
                    </a:cubicBezTo>
                    <a:cubicBezTo>
                      <a:pt x="77" y="23"/>
                      <a:pt x="78" y="40"/>
                      <a:pt x="63" y="57"/>
                    </a:cubicBezTo>
                    <a:cubicBezTo>
                      <a:pt x="59" y="29"/>
                      <a:pt x="45" y="18"/>
                      <a:pt x="33" y="14"/>
                    </a:cubicBezTo>
                    <a:cubicBezTo>
                      <a:pt x="30" y="13"/>
                      <a:pt x="27" y="15"/>
                      <a:pt x="26" y="17"/>
                    </a:cubicBezTo>
                    <a:cubicBezTo>
                      <a:pt x="21" y="29"/>
                      <a:pt x="16" y="54"/>
                      <a:pt x="36" y="68"/>
                    </a:cubicBezTo>
                    <a:cubicBezTo>
                      <a:pt x="39" y="70"/>
                      <a:pt x="43" y="69"/>
                      <a:pt x="45" y="66"/>
                    </a:cubicBezTo>
                    <a:cubicBezTo>
                      <a:pt x="46" y="64"/>
                      <a:pt x="46" y="60"/>
                      <a:pt x="43" y="58"/>
                    </a:cubicBezTo>
                    <a:cubicBezTo>
                      <a:pt x="31" y="50"/>
                      <a:pt x="33" y="36"/>
                      <a:pt x="35" y="28"/>
                    </a:cubicBezTo>
                    <a:cubicBezTo>
                      <a:pt x="46" y="35"/>
                      <a:pt x="52" y="49"/>
                      <a:pt x="53" y="71"/>
                    </a:cubicBezTo>
                    <a:cubicBezTo>
                      <a:pt x="53" y="71"/>
                      <a:pt x="53" y="71"/>
                      <a:pt x="53" y="71"/>
                    </a:cubicBezTo>
                    <a:cubicBezTo>
                      <a:pt x="49" y="77"/>
                      <a:pt x="46" y="83"/>
                      <a:pt x="34" y="86"/>
                    </a:cubicBezTo>
                    <a:cubicBezTo>
                      <a:pt x="28" y="88"/>
                      <a:pt x="22" y="90"/>
                      <a:pt x="17" y="91"/>
                    </a:cubicBezTo>
                    <a:cubicBezTo>
                      <a:pt x="14" y="91"/>
                      <a:pt x="12" y="92"/>
                      <a:pt x="10" y="92"/>
                    </a:cubicBezTo>
                    <a:cubicBezTo>
                      <a:pt x="4" y="94"/>
                      <a:pt x="0" y="100"/>
                      <a:pt x="0" y="106"/>
                    </a:cubicBezTo>
                    <a:cubicBezTo>
                      <a:pt x="0" y="112"/>
                      <a:pt x="6" y="118"/>
                      <a:pt x="14" y="120"/>
                    </a:cubicBezTo>
                    <a:cubicBezTo>
                      <a:pt x="14" y="120"/>
                      <a:pt x="14" y="120"/>
                      <a:pt x="14" y="120"/>
                    </a:cubicBezTo>
                    <a:cubicBezTo>
                      <a:pt x="15" y="120"/>
                      <a:pt x="17" y="121"/>
                      <a:pt x="22" y="121"/>
                    </a:cubicBezTo>
                    <a:cubicBezTo>
                      <a:pt x="28" y="121"/>
                      <a:pt x="39" y="119"/>
                      <a:pt x="49" y="114"/>
                    </a:cubicBezTo>
                    <a:cubicBezTo>
                      <a:pt x="48" y="120"/>
                      <a:pt x="47" y="124"/>
                      <a:pt x="47" y="125"/>
                    </a:cubicBezTo>
                    <a:cubicBezTo>
                      <a:pt x="46" y="125"/>
                      <a:pt x="46" y="126"/>
                      <a:pt x="46" y="126"/>
                    </a:cubicBezTo>
                    <a:cubicBezTo>
                      <a:pt x="46" y="129"/>
                      <a:pt x="49" y="132"/>
                      <a:pt x="52" y="132"/>
                    </a:cubicBezTo>
                    <a:cubicBezTo>
                      <a:pt x="52" y="132"/>
                      <a:pt x="52" y="132"/>
                      <a:pt x="52" y="132"/>
                    </a:cubicBezTo>
                    <a:cubicBezTo>
                      <a:pt x="55" y="132"/>
                      <a:pt x="57" y="130"/>
                      <a:pt x="58" y="128"/>
                    </a:cubicBezTo>
                    <a:cubicBezTo>
                      <a:pt x="58" y="127"/>
                      <a:pt x="59" y="124"/>
                      <a:pt x="60" y="118"/>
                    </a:cubicBezTo>
                    <a:cubicBezTo>
                      <a:pt x="72" y="133"/>
                      <a:pt x="88" y="135"/>
                      <a:pt x="89" y="135"/>
                    </a:cubicBezTo>
                    <a:cubicBezTo>
                      <a:pt x="90" y="135"/>
                      <a:pt x="91" y="135"/>
                      <a:pt x="92" y="135"/>
                    </a:cubicBezTo>
                    <a:cubicBezTo>
                      <a:pt x="99" y="135"/>
                      <a:pt x="104" y="132"/>
                      <a:pt x="107" y="127"/>
                    </a:cubicBezTo>
                    <a:cubicBezTo>
                      <a:pt x="107" y="125"/>
                      <a:pt x="108" y="123"/>
                      <a:pt x="108" y="121"/>
                    </a:cubicBezTo>
                    <a:cubicBezTo>
                      <a:pt x="109" y="121"/>
                      <a:pt x="111" y="120"/>
                      <a:pt x="112" y="120"/>
                    </a:cubicBezTo>
                    <a:cubicBezTo>
                      <a:pt x="112" y="120"/>
                      <a:pt x="112" y="120"/>
                      <a:pt x="112" y="120"/>
                    </a:cubicBezTo>
                    <a:cubicBezTo>
                      <a:pt x="120" y="118"/>
                      <a:pt x="125" y="112"/>
                      <a:pt x="126" y="106"/>
                    </a:cubicBezTo>
                    <a:cubicBezTo>
                      <a:pt x="126" y="100"/>
                      <a:pt x="122" y="94"/>
                      <a:pt x="116" y="92"/>
                    </a:cubicBezTo>
                    <a:close/>
                    <a:moveTo>
                      <a:pt x="107" y="52"/>
                    </a:moveTo>
                    <a:cubicBezTo>
                      <a:pt x="105" y="57"/>
                      <a:pt x="102" y="60"/>
                      <a:pt x="98" y="62"/>
                    </a:cubicBezTo>
                    <a:cubicBezTo>
                      <a:pt x="90" y="67"/>
                      <a:pt x="79" y="65"/>
                      <a:pt x="73" y="64"/>
                    </a:cubicBezTo>
                    <a:cubicBezTo>
                      <a:pt x="76" y="61"/>
                      <a:pt x="78" y="57"/>
                      <a:pt x="80" y="54"/>
                    </a:cubicBezTo>
                    <a:cubicBezTo>
                      <a:pt x="91" y="47"/>
                      <a:pt x="101" y="50"/>
                      <a:pt x="107" y="52"/>
                    </a:cubicBezTo>
                    <a:close/>
                    <a:moveTo>
                      <a:pt x="17" y="108"/>
                    </a:moveTo>
                    <a:cubicBezTo>
                      <a:pt x="13" y="107"/>
                      <a:pt x="12" y="106"/>
                      <a:pt x="12" y="105"/>
                    </a:cubicBezTo>
                    <a:cubicBezTo>
                      <a:pt x="12" y="105"/>
                      <a:pt x="13" y="104"/>
                      <a:pt x="14" y="104"/>
                    </a:cubicBezTo>
                    <a:cubicBezTo>
                      <a:pt x="15" y="103"/>
                      <a:pt x="17" y="103"/>
                      <a:pt x="20" y="102"/>
                    </a:cubicBezTo>
                    <a:cubicBezTo>
                      <a:pt x="25" y="101"/>
                      <a:pt x="31" y="100"/>
                      <a:pt x="38" y="98"/>
                    </a:cubicBezTo>
                    <a:cubicBezTo>
                      <a:pt x="43" y="96"/>
                      <a:pt x="47" y="94"/>
                      <a:pt x="50" y="92"/>
                    </a:cubicBezTo>
                    <a:cubicBezTo>
                      <a:pt x="50" y="94"/>
                      <a:pt x="50" y="96"/>
                      <a:pt x="51" y="98"/>
                    </a:cubicBezTo>
                    <a:cubicBezTo>
                      <a:pt x="37" y="111"/>
                      <a:pt x="19" y="109"/>
                      <a:pt x="17" y="108"/>
                    </a:cubicBezTo>
                    <a:close/>
                    <a:moveTo>
                      <a:pt x="96" y="122"/>
                    </a:moveTo>
                    <a:cubicBezTo>
                      <a:pt x="95" y="123"/>
                      <a:pt x="94" y="124"/>
                      <a:pt x="90" y="123"/>
                    </a:cubicBezTo>
                    <a:cubicBezTo>
                      <a:pt x="90" y="123"/>
                      <a:pt x="72" y="121"/>
                      <a:pt x="64" y="101"/>
                    </a:cubicBezTo>
                    <a:cubicBezTo>
                      <a:pt x="61" y="94"/>
                      <a:pt x="61" y="87"/>
                      <a:pt x="62" y="83"/>
                    </a:cubicBezTo>
                    <a:cubicBezTo>
                      <a:pt x="64" y="88"/>
                      <a:pt x="68" y="95"/>
                      <a:pt x="74" y="102"/>
                    </a:cubicBezTo>
                    <a:cubicBezTo>
                      <a:pt x="79" y="107"/>
                      <a:pt x="85" y="112"/>
                      <a:pt x="90" y="116"/>
                    </a:cubicBezTo>
                    <a:cubicBezTo>
                      <a:pt x="92" y="118"/>
                      <a:pt x="93" y="119"/>
                      <a:pt x="95" y="120"/>
                    </a:cubicBezTo>
                    <a:cubicBezTo>
                      <a:pt x="95" y="120"/>
                      <a:pt x="95" y="120"/>
                      <a:pt x="95" y="120"/>
                    </a:cubicBezTo>
                    <a:cubicBezTo>
                      <a:pt x="95" y="121"/>
                      <a:pt x="96" y="121"/>
                      <a:pt x="96" y="122"/>
                    </a:cubicBezTo>
                    <a:close/>
                    <a:moveTo>
                      <a:pt x="109" y="108"/>
                    </a:moveTo>
                    <a:cubicBezTo>
                      <a:pt x="108" y="109"/>
                      <a:pt x="106" y="109"/>
                      <a:pt x="102" y="109"/>
                    </a:cubicBezTo>
                    <a:cubicBezTo>
                      <a:pt x="102" y="109"/>
                      <a:pt x="101" y="109"/>
                      <a:pt x="101" y="109"/>
                    </a:cubicBezTo>
                    <a:cubicBezTo>
                      <a:pt x="100" y="108"/>
                      <a:pt x="99" y="108"/>
                      <a:pt x="98" y="107"/>
                    </a:cubicBezTo>
                    <a:cubicBezTo>
                      <a:pt x="94" y="104"/>
                      <a:pt x="90" y="100"/>
                      <a:pt x="86" y="97"/>
                    </a:cubicBezTo>
                    <a:cubicBezTo>
                      <a:pt x="93" y="100"/>
                      <a:pt x="101" y="101"/>
                      <a:pt x="107" y="102"/>
                    </a:cubicBezTo>
                    <a:cubicBezTo>
                      <a:pt x="109" y="103"/>
                      <a:pt x="111" y="103"/>
                      <a:pt x="112" y="104"/>
                    </a:cubicBezTo>
                    <a:cubicBezTo>
                      <a:pt x="113" y="104"/>
                      <a:pt x="114" y="105"/>
                      <a:pt x="114"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61">
                <a:extLst>
                  <a:ext uri="{FF2B5EF4-FFF2-40B4-BE49-F238E27FC236}">
                    <a16:creationId xmlns:a16="http://schemas.microsoft.com/office/drawing/2014/main" id="{F520C692-DBDE-424B-A379-D371A8F402C3}"/>
                  </a:ext>
                </a:extLst>
              </p:cNvPr>
              <p:cNvSpPr>
                <a:spLocks noEditPoints="1"/>
              </p:cNvSpPr>
              <p:nvPr/>
            </p:nvSpPr>
            <p:spPr bwMode="auto">
              <a:xfrm>
                <a:off x="14118591" y="2516188"/>
                <a:ext cx="533400" cy="573088"/>
              </a:xfrm>
              <a:custGeom>
                <a:avLst/>
                <a:gdLst>
                  <a:gd name="T0" fmla="*/ 109 w 126"/>
                  <a:gd name="T1" fmla="*/ 90 h 135"/>
                  <a:gd name="T2" fmla="*/ 83 w 126"/>
                  <a:gd name="T3" fmla="*/ 77 h 135"/>
                  <a:gd name="T4" fmla="*/ 120 w 126"/>
                  <a:gd name="T5" fmla="*/ 50 h 135"/>
                  <a:gd name="T6" fmla="*/ 86 w 126"/>
                  <a:gd name="T7" fmla="*/ 38 h 135"/>
                  <a:gd name="T8" fmla="*/ 77 w 126"/>
                  <a:gd name="T9" fmla="*/ 0 h 135"/>
                  <a:gd name="T10" fmla="*/ 56 w 126"/>
                  <a:gd name="T11" fmla="*/ 24 h 135"/>
                  <a:gd name="T12" fmla="*/ 75 w 126"/>
                  <a:gd name="T13" fmla="*/ 14 h 135"/>
                  <a:gd name="T14" fmla="*/ 33 w 126"/>
                  <a:gd name="T15" fmla="*/ 14 h 135"/>
                  <a:gd name="T16" fmla="*/ 36 w 126"/>
                  <a:gd name="T17" fmla="*/ 67 h 135"/>
                  <a:gd name="T18" fmla="*/ 43 w 126"/>
                  <a:gd name="T19" fmla="*/ 57 h 135"/>
                  <a:gd name="T20" fmla="*/ 53 w 126"/>
                  <a:gd name="T21" fmla="*/ 70 h 135"/>
                  <a:gd name="T22" fmla="*/ 34 w 126"/>
                  <a:gd name="T23" fmla="*/ 86 h 135"/>
                  <a:gd name="T24" fmla="*/ 10 w 126"/>
                  <a:gd name="T25" fmla="*/ 92 h 135"/>
                  <a:gd name="T26" fmla="*/ 14 w 126"/>
                  <a:gd name="T27" fmla="*/ 119 h 135"/>
                  <a:gd name="T28" fmla="*/ 22 w 126"/>
                  <a:gd name="T29" fmla="*/ 120 h 135"/>
                  <a:gd name="T30" fmla="*/ 47 w 126"/>
                  <a:gd name="T31" fmla="*/ 124 h 135"/>
                  <a:gd name="T32" fmla="*/ 52 w 126"/>
                  <a:gd name="T33" fmla="*/ 132 h 135"/>
                  <a:gd name="T34" fmla="*/ 58 w 126"/>
                  <a:gd name="T35" fmla="*/ 127 h 135"/>
                  <a:gd name="T36" fmla="*/ 89 w 126"/>
                  <a:gd name="T37" fmla="*/ 134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5 w 126"/>
                  <a:gd name="T65" fmla="*/ 119 h 135"/>
                  <a:gd name="T66" fmla="*/ 109 w 126"/>
                  <a:gd name="T67" fmla="*/ 108 h 135"/>
                  <a:gd name="T68" fmla="*/ 101 w 126"/>
                  <a:gd name="T69" fmla="*/ 109 h 135"/>
                  <a:gd name="T70" fmla="*/ 86 w 126"/>
                  <a:gd name="T71" fmla="*/ 96 h 135"/>
                  <a:gd name="T72" fmla="*/ 112 w 126"/>
                  <a:gd name="T73" fmla="*/ 103 h 135"/>
                  <a:gd name="T74" fmla="*/ 109 w 126"/>
                  <a:gd name="T75"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35">
                    <a:moveTo>
                      <a:pt x="116" y="92"/>
                    </a:moveTo>
                    <a:cubicBezTo>
                      <a:pt x="114" y="91"/>
                      <a:pt x="112" y="91"/>
                      <a:pt x="109" y="90"/>
                    </a:cubicBezTo>
                    <a:cubicBezTo>
                      <a:pt x="100" y="88"/>
                      <a:pt x="84" y="85"/>
                      <a:pt x="75" y="76"/>
                    </a:cubicBezTo>
                    <a:cubicBezTo>
                      <a:pt x="77" y="77"/>
                      <a:pt x="80" y="77"/>
                      <a:pt x="83" y="77"/>
                    </a:cubicBezTo>
                    <a:cubicBezTo>
                      <a:pt x="90" y="77"/>
                      <a:pt x="97" y="76"/>
                      <a:pt x="104" y="72"/>
                    </a:cubicBezTo>
                    <a:cubicBezTo>
                      <a:pt x="112" y="68"/>
                      <a:pt x="117" y="60"/>
                      <a:pt x="120" y="50"/>
                    </a:cubicBezTo>
                    <a:cubicBezTo>
                      <a:pt x="121" y="48"/>
                      <a:pt x="120" y="45"/>
                      <a:pt x="118" y="44"/>
                    </a:cubicBezTo>
                    <a:cubicBezTo>
                      <a:pt x="117" y="43"/>
                      <a:pt x="103" y="34"/>
                      <a:pt x="86" y="38"/>
                    </a:cubicBezTo>
                    <a:cubicBezTo>
                      <a:pt x="91" y="19"/>
                      <a:pt x="84" y="4"/>
                      <a:pt x="83" y="4"/>
                    </a:cubicBezTo>
                    <a:cubicBezTo>
                      <a:pt x="82" y="1"/>
                      <a:pt x="80" y="0"/>
                      <a:pt x="77" y="0"/>
                    </a:cubicBezTo>
                    <a:cubicBezTo>
                      <a:pt x="64" y="3"/>
                      <a:pt x="56" y="15"/>
                      <a:pt x="55" y="15"/>
                    </a:cubicBezTo>
                    <a:cubicBezTo>
                      <a:pt x="53" y="18"/>
                      <a:pt x="54" y="22"/>
                      <a:pt x="56" y="24"/>
                    </a:cubicBezTo>
                    <a:cubicBezTo>
                      <a:pt x="59" y="26"/>
                      <a:pt x="63" y="25"/>
                      <a:pt x="65" y="23"/>
                    </a:cubicBezTo>
                    <a:cubicBezTo>
                      <a:pt x="65" y="22"/>
                      <a:pt x="69" y="17"/>
                      <a:pt x="75" y="14"/>
                    </a:cubicBezTo>
                    <a:cubicBezTo>
                      <a:pt x="77" y="22"/>
                      <a:pt x="78" y="39"/>
                      <a:pt x="63" y="56"/>
                    </a:cubicBezTo>
                    <a:cubicBezTo>
                      <a:pt x="59" y="28"/>
                      <a:pt x="45" y="18"/>
                      <a:pt x="33" y="14"/>
                    </a:cubicBezTo>
                    <a:cubicBezTo>
                      <a:pt x="30" y="13"/>
                      <a:pt x="27" y="14"/>
                      <a:pt x="26" y="17"/>
                    </a:cubicBezTo>
                    <a:cubicBezTo>
                      <a:pt x="21" y="28"/>
                      <a:pt x="16" y="53"/>
                      <a:pt x="36" y="67"/>
                    </a:cubicBezTo>
                    <a:cubicBezTo>
                      <a:pt x="39" y="69"/>
                      <a:pt x="43" y="68"/>
                      <a:pt x="45" y="66"/>
                    </a:cubicBezTo>
                    <a:cubicBezTo>
                      <a:pt x="46" y="63"/>
                      <a:pt x="46" y="59"/>
                      <a:pt x="43" y="57"/>
                    </a:cubicBezTo>
                    <a:cubicBezTo>
                      <a:pt x="31" y="49"/>
                      <a:pt x="33" y="35"/>
                      <a:pt x="35" y="27"/>
                    </a:cubicBezTo>
                    <a:cubicBezTo>
                      <a:pt x="46" y="34"/>
                      <a:pt x="52" y="49"/>
                      <a:pt x="53" y="70"/>
                    </a:cubicBezTo>
                    <a:cubicBezTo>
                      <a:pt x="53" y="71"/>
                      <a:pt x="53" y="71"/>
                      <a:pt x="53"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6" y="117"/>
                      <a:pt x="14" y="119"/>
                    </a:cubicBezTo>
                    <a:cubicBezTo>
                      <a:pt x="14" y="120"/>
                      <a:pt x="14" y="120"/>
                      <a:pt x="14" y="120"/>
                    </a:cubicBezTo>
                    <a:cubicBezTo>
                      <a:pt x="15" y="120"/>
                      <a:pt x="17" y="120"/>
                      <a:pt x="22" y="120"/>
                    </a:cubicBezTo>
                    <a:cubicBezTo>
                      <a:pt x="28" y="120"/>
                      <a:pt x="39" y="119"/>
                      <a:pt x="49" y="113"/>
                    </a:cubicBezTo>
                    <a:cubicBezTo>
                      <a:pt x="48" y="119"/>
                      <a:pt x="47" y="124"/>
                      <a:pt x="47" y="124"/>
                    </a:cubicBezTo>
                    <a:cubicBezTo>
                      <a:pt x="46" y="125"/>
                      <a:pt x="46" y="125"/>
                      <a:pt x="46" y="126"/>
                    </a:cubicBezTo>
                    <a:cubicBezTo>
                      <a:pt x="46" y="129"/>
                      <a:pt x="49" y="131"/>
                      <a:pt x="52" y="132"/>
                    </a:cubicBezTo>
                    <a:cubicBezTo>
                      <a:pt x="52" y="132"/>
                      <a:pt x="52" y="132"/>
                      <a:pt x="52" y="132"/>
                    </a:cubicBezTo>
                    <a:cubicBezTo>
                      <a:pt x="55" y="132"/>
                      <a:pt x="57" y="130"/>
                      <a:pt x="58" y="127"/>
                    </a:cubicBezTo>
                    <a:cubicBezTo>
                      <a:pt x="58" y="127"/>
                      <a:pt x="59" y="123"/>
                      <a:pt x="60" y="117"/>
                    </a:cubicBezTo>
                    <a:cubicBezTo>
                      <a:pt x="72" y="132"/>
                      <a:pt x="88" y="134"/>
                      <a:pt x="89" y="134"/>
                    </a:cubicBezTo>
                    <a:cubicBezTo>
                      <a:pt x="90" y="135"/>
                      <a:pt x="91" y="135"/>
                      <a:pt x="92" y="135"/>
                    </a:cubicBezTo>
                    <a:cubicBezTo>
                      <a:pt x="99" y="135"/>
                      <a:pt x="104" y="132"/>
                      <a:pt x="107" y="126"/>
                    </a:cubicBezTo>
                    <a:cubicBezTo>
                      <a:pt x="107" y="124"/>
                      <a:pt x="108" y="122"/>
                      <a:pt x="108" y="120"/>
                    </a:cubicBezTo>
                    <a:cubicBezTo>
                      <a:pt x="109" y="120"/>
                      <a:pt x="111" y="120"/>
                      <a:pt x="112" y="120"/>
                    </a:cubicBezTo>
                    <a:cubicBezTo>
                      <a:pt x="112" y="119"/>
                      <a:pt x="112" y="119"/>
                      <a:pt x="112" y="119"/>
                    </a:cubicBezTo>
                    <a:cubicBezTo>
                      <a:pt x="120" y="117"/>
                      <a:pt x="125" y="112"/>
                      <a:pt x="126" y="105"/>
                    </a:cubicBezTo>
                    <a:cubicBezTo>
                      <a:pt x="126" y="99"/>
                      <a:pt x="122" y="94"/>
                      <a:pt x="116" y="92"/>
                    </a:cubicBezTo>
                    <a:close/>
                    <a:moveTo>
                      <a:pt x="107" y="52"/>
                    </a:moveTo>
                    <a:cubicBezTo>
                      <a:pt x="105" y="56"/>
                      <a:pt x="102" y="59"/>
                      <a:pt x="98" y="61"/>
                    </a:cubicBezTo>
                    <a:cubicBezTo>
                      <a:pt x="90" y="66"/>
                      <a:pt x="79" y="65"/>
                      <a:pt x="73" y="64"/>
                    </a:cubicBezTo>
                    <a:cubicBezTo>
                      <a:pt x="76" y="60"/>
                      <a:pt x="78" y="57"/>
                      <a:pt x="80" y="54"/>
                    </a:cubicBezTo>
                    <a:cubicBezTo>
                      <a:pt x="91" y="46"/>
                      <a:pt x="101" y="49"/>
                      <a:pt x="107" y="52"/>
                    </a:cubicBezTo>
                    <a:close/>
                    <a:moveTo>
                      <a:pt x="17" y="108"/>
                    </a:moveTo>
                    <a:cubicBezTo>
                      <a:pt x="13" y="107"/>
                      <a:pt x="12" y="105"/>
                      <a:pt x="12" y="105"/>
                    </a:cubicBezTo>
                    <a:cubicBezTo>
                      <a:pt x="12" y="104"/>
                      <a:pt x="13" y="103"/>
                      <a:pt x="14" y="103"/>
                    </a:cubicBezTo>
                    <a:cubicBezTo>
                      <a:pt x="15" y="103"/>
                      <a:pt x="17" y="102"/>
                      <a:pt x="20" y="102"/>
                    </a:cubicBezTo>
                    <a:cubicBezTo>
                      <a:pt x="25" y="101"/>
                      <a:pt x="31" y="99"/>
                      <a:pt x="38" y="97"/>
                    </a:cubicBezTo>
                    <a:cubicBezTo>
                      <a:pt x="43" y="96"/>
                      <a:pt x="47" y="94"/>
                      <a:pt x="50" y="92"/>
                    </a:cubicBezTo>
                    <a:cubicBezTo>
                      <a:pt x="50" y="93"/>
                      <a:pt x="50" y="95"/>
                      <a:pt x="51" y="97"/>
                    </a:cubicBezTo>
                    <a:cubicBezTo>
                      <a:pt x="37" y="110"/>
                      <a:pt x="19" y="108"/>
                      <a:pt x="17" y="108"/>
                    </a:cubicBezTo>
                    <a:close/>
                    <a:moveTo>
                      <a:pt x="96" y="121"/>
                    </a:moveTo>
                    <a:cubicBezTo>
                      <a:pt x="95" y="122"/>
                      <a:pt x="94" y="123"/>
                      <a:pt x="90" y="123"/>
                    </a:cubicBezTo>
                    <a:cubicBezTo>
                      <a:pt x="90" y="123"/>
                      <a:pt x="72" y="120"/>
                      <a:pt x="64" y="100"/>
                    </a:cubicBezTo>
                    <a:cubicBezTo>
                      <a:pt x="61" y="93"/>
                      <a:pt x="61" y="87"/>
                      <a:pt x="62" y="82"/>
                    </a:cubicBezTo>
                    <a:cubicBezTo>
                      <a:pt x="64" y="88"/>
                      <a:pt x="68" y="94"/>
                      <a:pt x="74" y="101"/>
                    </a:cubicBezTo>
                    <a:cubicBezTo>
                      <a:pt x="79" y="106"/>
                      <a:pt x="85" y="112"/>
                      <a:pt x="90" y="116"/>
                    </a:cubicBezTo>
                    <a:cubicBezTo>
                      <a:pt x="92" y="117"/>
                      <a:pt x="93" y="118"/>
                      <a:pt x="95" y="119"/>
                    </a:cubicBezTo>
                    <a:cubicBezTo>
                      <a:pt x="95" y="119"/>
                      <a:pt x="95" y="119"/>
                      <a:pt x="95" y="119"/>
                    </a:cubicBezTo>
                    <a:cubicBezTo>
                      <a:pt x="95" y="120"/>
                      <a:pt x="96" y="121"/>
                      <a:pt x="96" y="121"/>
                    </a:cubicBezTo>
                    <a:close/>
                    <a:moveTo>
                      <a:pt x="109" y="108"/>
                    </a:moveTo>
                    <a:cubicBezTo>
                      <a:pt x="108" y="108"/>
                      <a:pt x="106" y="108"/>
                      <a:pt x="102" y="108"/>
                    </a:cubicBezTo>
                    <a:cubicBezTo>
                      <a:pt x="102" y="108"/>
                      <a:pt x="101" y="108"/>
                      <a:pt x="101" y="109"/>
                    </a:cubicBezTo>
                    <a:cubicBezTo>
                      <a:pt x="100" y="108"/>
                      <a:pt x="99" y="107"/>
                      <a:pt x="98" y="106"/>
                    </a:cubicBezTo>
                    <a:cubicBezTo>
                      <a:pt x="94" y="103"/>
                      <a:pt x="90" y="100"/>
                      <a:pt x="86" y="96"/>
                    </a:cubicBezTo>
                    <a:cubicBezTo>
                      <a:pt x="93" y="99"/>
                      <a:pt x="101" y="101"/>
                      <a:pt x="107" y="102"/>
                    </a:cubicBezTo>
                    <a:cubicBezTo>
                      <a:pt x="109" y="102"/>
                      <a:pt x="111" y="103"/>
                      <a:pt x="112" y="103"/>
                    </a:cubicBezTo>
                    <a:cubicBezTo>
                      <a:pt x="113" y="103"/>
                      <a:pt x="114" y="104"/>
                      <a:pt x="114" y="105"/>
                    </a:cubicBezTo>
                    <a:cubicBezTo>
                      <a:pt x="113" y="105"/>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62">
                <a:extLst>
                  <a:ext uri="{FF2B5EF4-FFF2-40B4-BE49-F238E27FC236}">
                    <a16:creationId xmlns:a16="http://schemas.microsoft.com/office/drawing/2014/main" id="{369DD164-8181-4CE3-A53C-FD2E001FAE3E}"/>
                  </a:ext>
                </a:extLst>
              </p:cNvPr>
              <p:cNvSpPr>
                <a:spLocks noEditPoints="1"/>
              </p:cNvSpPr>
              <p:nvPr/>
            </p:nvSpPr>
            <p:spPr bwMode="auto">
              <a:xfrm>
                <a:off x="14118591" y="4248150"/>
                <a:ext cx="533400" cy="571500"/>
              </a:xfrm>
              <a:custGeom>
                <a:avLst/>
                <a:gdLst>
                  <a:gd name="T0" fmla="*/ 109 w 126"/>
                  <a:gd name="T1" fmla="*/ 90 h 135"/>
                  <a:gd name="T2" fmla="*/ 83 w 126"/>
                  <a:gd name="T3" fmla="*/ 77 h 135"/>
                  <a:gd name="T4" fmla="*/ 120 w 126"/>
                  <a:gd name="T5" fmla="*/ 50 h 135"/>
                  <a:gd name="T6" fmla="*/ 86 w 126"/>
                  <a:gd name="T7" fmla="*/ 38 h 135"/>
                  <a:gd name="T8" fmla="*/ 77 w 126"/>
                  <a:gd name="T9" fmla="*/ 0 h 135"/>
                  <a:gd name="T10" fmla="*/ 56 w 126"/>
                  <a:gd name="T11" fmla="*/ 24 h 135"/>
                  <a:gd name="T12" fmla="*/ 75 w 126"/>
                  <a:gd name="T13" fmla="*/ 14 h 135"/>
                  <a:gd name="T14" fmla="*/ 33 w 126"/>
                  <a:gd name="T15" fmla="*/ 14 h 135"/>
                  <a:gd name="T16" fmla="*/ 36 w 126"/>
                  <a:gd name="T17" fmla="*/ 67 h 135"/>
                  <a:gd name="T18" fmla="*/ 43 w 126"/>
                  <a:gd name="T19" fmla="*/ 57 h 135"/>
                  <a:gd name="T20" fmla="*/ 53 w 126"/>
                  <a:gd name="T21" fmla="*/ 70 h 135"/>
                  <a:gd name="T22" fmla="*/ 34 w 126"/>
                  <a:gd name="T23" fmla="*/ 86 h 135"/>
                  <a:gd name="T24" fmla="*/ 10 w 126"/>
                  <a:gd name="T25" fmla="*/ 92 h 135"/>
                  <a:gd name="T26" fmla="*/ 14 w 126"/>
                  <a:gd name="T27" fmla="*/ 119 h 135"/>
                  <a:gd name="T28" fmla="*/ 22 w 126"/>
                  <a:gd name="T29" fmla="*/ 120 h 135"/>
                  <a:gd name="T30" fmla="*/ 47 w 126"/>
                  <a:gd name="T31" fmla="*/ 124 h 135"/>
                  <a:gd name="T32" fmla="*/ 52 w 126"/>
                  <a:gd name="T33" fmla="*/ 132 h 135"/>
                  <a:gd name="T34" fmla="*/ 58 w 126"/>
                  <a:gd name="T35" fmla="*/ 127 h 135"/>
                  <a:gd name="T36" fmla="*/ 89 w 126"/>
                  <a:gd name="T37" fmla="*/ 134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5 w 126"/>
                  <a:gd name="T65" fmla="*/ 119 h 135"/>
                  <a:gd name="T66" fmla="*/ 109 w 126"/>
                  <a:gd name="T67" fmla="*/ 108 h 135"/>
                  <a:gd name="T68" fmla="*/ 101 w 126"/>
                  <a:gd name="T69" fmla="*/ 109 h 135"/>
                  <a:gd name="T70" fmla="*/ 86 w 126"/>
                  <a:gd name="T71" fmla="*/ 96 h 135"/>
                  <a:gd name="T72" fmla="*/ 112 w 126"/>
                  <a:gd name="T73" fmla="*/ 103 h 135"/>
                  <a:gd name="T74" fmla="*/ 109 w 126"/>
                  <a:gd name="T75"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35">
                    <a:moveTo>
                      <a:pt x="116" y="92"/>
                    </a:moveTo>
                    <a:cubicBezTo>
                      <a:pt x="114" y="91"/>
                      <a:pt x="112" y="91"/>
                      <a:pt x="109" y="90"/>
                    </a:cubicBezTo>
                    <a:cubicBezTo>
                      <a:pt x="100" y="88"/>
                      <a:pt x="84" y="85"/>
                      <a:pt x="75" y="76"/>
                    </a:cubicBezTo>
                    <a:cubicBezTo>
                      <a:pt x="77" y="77"/>
                      <a:pt x="80" y="77"/>
                      <a:pt x="83" y="77"/>
                    </a:cubicBezTo>
                    <a:cubicBezTo>
                      <a:pt x="90" y="77"/>
                      <a:pt x="97" y="76"/>
                      <a:pt x="104" y="72"/>
                    </a:cubicBezTo>
                    <a:cubicBezTo>
                      <a:pt x="112" y="68"/>
                      <a:pt x="117" y="60"/>
                      <a:pt x="120" y="50"/>
                    </a:cubicBezTo>
                    <a:cubicBezTo>
                      <a:pt x="121" y="48"/>
                      <a:pt x="120" y="45"/>
                      <a:pt x="118" y="44"/>
                    </a:cubicBezTo>
                    <a:cubicBezTo>
                      <a:pt x="117" y="43"/>
                      <a:pt x="103" y="34"/>
                      <a:pt x="86" y="38"/>
                    </a:cubicBezTo>
                    <a:cubicBezTo>
                      <a:pt x="91" y="19"/>
                      <a:pt x="84" y="4"/>
                      <a:pt x="83" y="4"/>
                    </a:cubicBezTo>
                    <a:cubicBezTo>
                      <a:pt x="82" y="1"/>
                      <a:pt x="80" y="0"/>
                      <a:pt x="77" y="0"/>
                    </a:cubicBezTo>
                    <a:cubicBezTo>
                      <a:pt x="64" y="3"/>
                      <a:pt x="56" y="15"/>
                      <a:pt x="55" y="15"/>
                    </a:cubicBezTo>
                    <a:cubicBezTo>
                      <a:pt x="53" y="18"/>
                      <a:pt x="54" y="22"/>
                      <a:pt x="56" y="24"/>
                    </a:cubicBezTo>
                    <a:cubicBezTo>
                      <a:pt x="59" y="26"/>
                      <a:pt x="63" y="25"/>
                      <a:pt x="65" y="23"/>
                    </a:cubicBezTo>
                    <a:cubicBezTo>
                      <a:pt x="65" y="22"/>
                      <a:pt x="69" y="17"/>
                      <a:pt x="75" y="14"/>
                    </a:cubicBezTo>
                    <a:cubicBezTo>
                      <a:pt x="77" y="22"/>
                      <a:pt x="78" y="39"/>
                      <a:pt x="63" y="56"/>
                    </a:cubicBezTo>
                    <a:cubicBezTo>
                      <a:pt x="59" y="28"/>
                      <a:pt x="45" y="18"/>
                      <a:pt x="33" y="14"/>
                    </a:cubicBezTo>
                    <a:cubicBezTo>
                      <a:pt x="30" y="13"/>
                      <a:pt x="27" y="14"/>
                      <a:pt x="26" y="17"/>
                    </a:cubicBezTo>
                    <a:cubicBezTo>
                      <a:pt x="21" y="28"/>
                      <a:pt x="16" y="53"/>
                      <a:pt x="36" y="67"/>
                    </a:cubicBezTo>
                    <a:cubicBezTo>
                      <a:pt x="39" y="69"/>
                      <a:pt x="43" y="68"/>
                      <a:pt x="45" y="66"/>
                    </a:cubicBezTo>
                    <a:cubicBezTo>
                      <a:pt x="46" y="63"/>
                      <a:pt x="46" y="59"/>
                      <a:pt x="43" y="57"/>
                    </a:cubicBezTo>
                    <a:cubicBezTo>
                      <a:pt x="31" y="49"/>
                      <a:pt x="33" y="35"/>
                      <a:pt x="35" y="27"/>
                    </a:cubicBezTo>
                    <a:cubicBezTo>
                      <a:pt x="46" y="34"/>
                      <a:pt x="52" y="49"/>
                      <a:pt x="53" y="70"/>
                    </a:cubicBezTo>
                    <a:cubicBezTo>
                      <a:pt x="53" y="71"/>
                      <a:pt x="53" y="71"/>
                      <a:pt x="53"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6" y="117"/>
                      <a:pt x="14" y="119"/>
                    </a:cubicBezTo>
                    <a:cubicBezTo>
                      <a:pt x="14" y="120"/>
                      <a:pt x="14" y="120"/>
                      <a:pt x="14" y="120"/>
                    </a:cubicBezTo>
                    <a:cubicBezTo>
                      <a:pt x="15" y="120"/>
                      <a:pt x="17" y="120"/>
                      <a:pt x="22" y="120"/>
                    </a:cubicBezTo>
                    <a:cubicBezTo>
                      <a:pt x="28" y="120"/>
                      <a:pt x="39" y="119"/>
                      <a:pt x="49" y="113"/>
                    </a:cubicBezTo>
                    <a:cubicBezTo>
                      <a:pt x="48" y="119"/>
                      <a:pt x="47" y="124"/>
                      <a:pt x="47" y="124"/>
                    </a:cubicBezTo>
                    <a:cubicBezTo>
                      <a:pt x="46" y="125"/>
                      <a:pt x="46" y="125"/>
                      <a:pt x="46" y="126"/>
                    </a:cubicBezTo>
                    <a:cubicBezTo>
                      <a:pt x="46" y="129"/>
                      <a:pt x="49" y="131"/>
                      <a:pt x="52" y="132"/>
                    </a:cubicBezTo>
                    <a:cubicBezTo>
                      <a:pt x="52" y="132"/>
                      <a:pt x="52" y="132"/>
                      <a:pt x="52" y="132"/>
                    </a:cubicBezTo>
                    <a:cubicBezTo>
                      <a:pt x="55" y="132"/>
                      <a:pt x="57" y="130"/>
                      <a:pt x="58" y="127"/>
                    </a:cubicBezTo>
                    <a:cubicBezTo>
                      <a:pt x="58" y="127"/>
                      <a:pt x="59" y="123"/>
                      <a:pt x="60" y="117"/>
                    </a:cubicBezTo>
                    <a:cubicBezTo>
                      <a:pt x="72" y="132"/>
                      <a:pt x="88" y="134"/>
                      <a:pt x="89" y="134"/>
                    </a:cubicBezTo>
                    <a:cubicBezTo>
                      <a:pt x="90" y="135"/>
                      <a:pt x="91" y="135"/>
                      <a:pt x="92" y="135"/>
                    </a:cubicBezTo>
                    <a:cubicBezTo>
                      <a:pt x="99" y="135"/>
                      <a:pt x="104" y="132"/>
                      <a:pt x="107" y="126"/>
                    </a:cubicBezTo>
                    <a:cubicBezTo>
                      <a:pt x="107" y="124"/>
                      <a:pt x="108" y="122"/>
                      <a:pt x="108" y="120"/>
                    </a:cubicBezTo>
                    <a:cubicBezTo>
                      <a:pt x="109" y="120"/>
                      <a:pt x="111" y="120"/>
                      <a:pt x="112" y="120"/>
                    </a:cubicBezTo>
                    <a:cubicBezTo>
                      <a:pt x="112" y="119"/>
                      <a:pt x="112" y="119"/>
                      <a:pt x="112" y="119"/>
                    </a:cubicBezTo>
                    <a:cubicBezTo>
                      <a:pt x="120" y="117"/>
                      <a:pt x="125" y="112"/>
                      <a:pt x="126" y="105"/>
                    </a:cubicBezTo>
                    <a:cubicBezTo>
                      <a:pt x="126" y="99"/>
                      <a:pt x="122" y="94"/>
                      <a:pt x="116" y="92"/>
                    </a:cubicBezTo>
                    <a:close/>
                    <a:moveTo>
                      <a:pt x="107" y="52"/>
                    </a:moveTo>
                    <a:cubicBezTo>
                      <a:pt x="105" y="56"/>
                      <a:pt x="102" y="59"/>
                      <a:pt x="98" y="61"/>
                    </a:cubicBezTo>
                    <a:cubicBezTo>
                      <a:pt x="90" y="66"/>
                      <a:pt x="79" y="65"/>
                      <a:pt x="73" y="64"/>
                    </a:cubicBezTo>
                    <a:cubicBezTo>
                      <a:pt x="76" y="60"/>
                      <a:pt x="78" y="57"/>
                      <a:pt x="80" y="54"/>
                    </a:cubicBezTo>
                    <a:cubicBezTo>
                      <a:pt x="91" y="46"/>
                      <a:pt x="101" y="49"/>
                      <a:pt x="107" y="52"/>
                    </a:cubicBezTo>
                    <a:close/>
                    <a:moveTo>
                      <a:pt x="17" y="108"/>
                    </a:moveTo>
                    <a:cubicBezTo>
                      <a:pt x="13" y="107"/>
                      <a:pt x="12" y="105"/>
                      <a:pt x="12" y="105"/>
                    </a:cubicBezTo>
                    <a:cubicBezTo>
                      <a:pt x="12" y="104"/>
                      <a:pt x="13" y="103"/>
                      <a:pt x="14" y="103"/>
                    </a:cubicBezTo>
                    <a:cubicBezTo>
                      <a:pt x="15" y="103"/>
                      <a:pt x="17" y="102"/>
                      <a:pt x="20" y="102"/>
                    </a:cubicBezTo>
                    <a:cubicBezTo>
                      <a:pt x="25" y="101"/>
                      <a:pt x="31" y="99"/>
                      <a:pt x="38" y="97"/>
                    </a:cubicBezTo>
                    <a:cubicBezTo>
                      <a:pt x="43" y="96"/>
                      <a:pt x="47" y="94"/>
                      <a:pt x="50" y="92"/>
                    </a:cubicBezTo>
                    <a:cubicBezTo>
                      <a:pt x="50" y="93"/>
                      <a:pt x="50" y="95"/>
                      <a:pt x="51" y="97"/>
                    </a:cubicBezTo>
                    <a:cubicBezTo>
                      <a:pt x="37" y="110"/>
                      <a:pt x="19" y="108"/>
                      <a:pt x="17" y="108"/>
                    </a:cubicBezTo>
                    <a:close/>
                    <a:moveTo>
                      <a:pt x="96" y="121"/>
                    </a:moveTo>
                    <a:cubicBezTo>
                      <a:pt x="95" y="122"/>
                      <a:pt x="94" y="123"/>
                      <a:pt x="90" y="123"/>
                    </a:cubicBezTo>
                    <a:cubicBezTo>
                      <a:pt x="90" y="123"/>
                      <a:pt x="72" y="120"/>
                      <a:pt x="64" y="100"/>
                    </a:cubicBezTo>
                    <a:cubicBezTo>
                      <a:pt x="61" y="93"/>
                      <a:pt x="61" y="87"/>
                      <a:pt x="62" y="82"/>
                    </a:cubicBezTo>
                    <a:cubicBezTo>
                      <a:pt x="64" y="88"/>
                      <a:pt x="68" y="94"/>
                      <a:pt x="74" y="101"/>
                    </a:cubicBezTo>
                    <a:cubicBezTo>
                      <a:pt x="79" y="106"/>
                      <a:pt x="85" y="112"/>
                      <a:pt x="90" y="116"/>
                    </a:cubicBezTo>
                    <a:cubicBezTo>
                      <a:pt x="92" y="117"/>
                      <a:pt x="93" y="118"/>
                      <a:pt x="95" y="119"/>
                    </a:cubicBezTo>
                    <a:cubicBezTo>
                      <a:pt x="95" y="119"/>
                      <a:pt x="95" y="119"/>
                      <a:pt x="95" y="119"/>
                    </a:cubicBezTo>
                    <a:cubicBezTo>
                      <a:pt x="95" y="120"/>
                      <a:pt x="96" y="121"/>
                      <a:pt x="96" y="121"/>
                    </a:cubicBezTo>
                    <a:close/>
                    <a:moveTo>
                      <a:pt x="109" y="108"/>
                    </a:moveTo>
                    <a:cubicBezTo>
                      <a:pt x="108" y="108"/>
                      <a:pt x="106" y="108"/>
                      <a:pt x="102" y="108"/>
                    </a:cubicBezTo>
                    <a:cubicBezTo>
                      <a:pt x="102" y="108"/>
                      <a:pt x="101" y="108"/>
                      <a:pt x="101" y="109"/>
                    </a:cubicBezTo>
                    <a:cubicBezTo>
                      <a:pt x="100" y="108"/>
                      <a:pt x="99" y="107"/>
                      <a:pt x="98" y="106"/>
                    </a:cubicBezTo>
                    <a:cubicBezTo>
                      <a:pt x="94" y="103"/>
                      <a:pt x="90" y="100"/>
                      <a:pt x="86" y="96"/>
                    </a:cubicBezTo>
                    <a:cubicBezTo>
                      <a:pt x="93" y="99"/>
                      <a:pt x="101" y="101"/>
                      <a:pt x="107" y="102"/>
                    </a:cubicBezTo>
                    <a:cubicBezTo>
                      <a:pt x="109" y="102"/>
                      <a:pt x="111" y="103"/>
                      <a:pt x="112" y="103"/>
                    </a:cubicBezTo>
                    <a:cubicBezTo>
                      <a:pt x="113" y="103"/>
                      <a:pt x="114" y="104"/>
                      <a:pt x="114" y="105"/>
                    </a:cubicBezTo>
                    <a:cubicBezTo>
                      <a:pt x="113" y="105"/>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63">
                <a:extLst>
                  <a:ext uri="{FF2B5EF4-FFF2-40B4-BE49-F238E27FC236}">
                    <a16:creationId xmlns:a16="http://schemas.microsoft.com/office/drawing/2014/main" id="{BA9C00FB-6B37-4E12-840E-FCFB90D5EC63}"/>
                  </a:ext>
                </a:extLst>
              </p:cNvPr>
              <p:cNvSpPr>
                <a:spLocks noEditPoints="1"/>
              </p:cNvSpPr>
              <p:nvPr/>
            </p:nvSpPr>
            <p:spPr bwMode="auto">
              <a:xfrm>
                <a:off x="13000991" y="3089275"/>
                <a:ext cx="533400" cy="573088"/>
              </a:xfrm>
              <a:custGeom>
                <a:avLst/>
                <a:gdLst>
                  <a:gd name="T0" fmla="*/ 109 w 126"/>
                  <a:gd name="T1" fmla="*/ 91 h 135"/>
                  <a:gd name="T2" fmla="*/ 83 w 126"/>
                  <a:gd name="T3" fmla="*/ 77 h 135"/>
                  <a:gd name="T4" fmla="*/ 120 w 126"/>
                  <a:gd name="T5" fmla="*/ 51 h 135"/>
                  <a:gd name="T6" fmla="*/ 86 w 126"/>
                  <a:gd name="T7" fmla="*/ 38 h 135"/>
                  <a:gd name="T8" fmla="*/ 77 w 126"/>
                  <a:gd name="T9" fmla="*/ 1 h 135"/>
                  <a:gd name="T10" fmla="*/ 56 w 126"/>
                  <a:gd name="T11" fmla="*/ 24 h 135"/>
                  <a:gd name="T12" fmla="*/ 74 w 126"/>
                  <a:gd name="T13" fmla="*/ 15 h 135"/>
                  <a:gd name="T14" fmla="*/ 33 w 126"/>
                  <a:gd name="T15" fmla="*/ 14 h 135"/>
                  <a:gd name="T16" fmla="*/ 36 w 126"/>
                  <a:gd name="T17" fmla="*/ 68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1 w 126"/>
                  <a:gd name="T29" fmla="*/ 121 h 135"/>
                  <a:gd name="T30" fmla="*/ 46 w 126"/>
                  <a:gd name="T31" fmla="*/ 125 h 135"/>
                  <a:gd name="T32" fmla="*/ 52 w 126"/>
                  <a:gd name="T33" fmla="*/ 132 h 135"/>
                  <a:gd name="T34" fmla="*/ 60 w 126"/>
                  <a:gd name="T35" fmla="*/ 118 h 135"/>
                  <a:gd name="T36" fmla="*/ 92 w 126"/>
                  <a:gd name="T37" fmla="*/ 135 h 135"/>
                  <a:gd name="T38" fmla="*/ 107 w 126"/>
                  <a:gd name="T39" fmla="*/ 121 h 135"/>
                  <a:gd name="T40" fmla="*/ 112 w 126"/>
                  <a:gd name="T41" fmla="*/ 120 h 135"/>
                  <a:gd name="T42" fmla="*/ 115 w 126"/>
                  <a:gd name="T43" fmla="*/ 92 h 135"/>
                  <a:gd name="T44" fmla="*/ 98 w 126"/>
                  <a:gd name="T45" fmla="*/ 62 h 135"/>
                  <a:gd name="T46" fmla="*/ 80 w 126"/>
                  <a:gd name="T47" fmla="*/ 54 h 135"/>
                  <a:gd name="T48" fmla="*/ 17 w 126"/>
                  <a:gd name="T49" fmla="*/ 108 h 135"/>
                  <a:gd name="T50" fmla="*/ 14 w 126"/>
                  <a:gd name="T51" fmla="*/ 104 h 135"/>
                  <a:gd name="T52" fmla="*/ 38 w 126"/>
                  <a:gd name="T53" fmla="*/ 98 h 135"/>
                  <a:gd name="T54" fmla="*/ 51 w 126"/>
                  <a:gd name="T55" fmla="*/ 98 h 135"/>
                  <a:gd name="T56" fmla="*/ 95 w 126"/>
                  <a:gd name="T57" fmla="*/ 122 h 135"/>
                  <a:gd name="T58" fmla="*/ 64 w 126"/>
                  <a:gd name="T59" fmla="*/ 101 h 135"/>
                  <a:gd name="T60" fmla="*/ 74 w 126"/>
                  <a:gd name="T61" fmla="*/ 102 h 135"/>
                  <a:gd name="T62" fmla="*/ 94 w 126"/>
                  <a:gd name="T63" fmla="*/ 120 h 135"/>
                  <a:gd name="T64" fmla="*/ 109 w 126"/>
                  <a:gd name="T65" fmla="*/ 108 h 135"/>
                  <a:gd name="T66" fmla="*/ 100 w 126"/>
                  <a:gd name="T67" fmla="*/ 109 h 135"/>
                  <a:gd name="T68" fmla="*/ 86 w 126"/>
                  <a:gd name="T69" fmla="*/ 97 h 135"/>
                  <a:gd name="T70" fmla="*/ 112 w 126"/>
                  <a:gd name="T71" fmla="*/ 104 h 135"/>
                  <a:gd name="T72" fmla="*/ 109 w 126"/>
                  <a:gd name="T73"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5" y="92"/>
                    </a:moveTo>
                    <a:cubicBezTo>
                      <a:pt x="114" y="92"/>
                      <a:pt x="112" y="91"/>
                      <a:pt x="109" y="91"/>
                    </a:cubicBezTo>
                    <a:cubicBezTo>
                      <a:pt x="100" y="89"/>
                      <a:pt x="84" y="85"/>
                      <a:pt x="75" y="77"/>
                    </a:cubicBezTo>
                    <a:cubicBezTo>
                      <a:pt x="77" y="77"/>
                      <a:pt x="80" y="77"/>
                      <a:pt x="83" y="77"/>
                    </a:cubicBezTo>
                    <a:cubicBezTo>
                      <a:pt x="89" y="77"/>
                      <a:pt x="97" y="76"/>
                      <a:pt x="104" y="72"/>
                    </a:cubicBezTo>
                    <a:cubicBezTo>
                      <a:pt x="112" y="68"/>
                      <a:pt x="117" y="61"/>
                      <a:pt x="120" y="51"/>
                    </a:cubicBezTo>
                    <a:cubicBezTo>
                      <a:pt x="120" y="48"/>
                      <a:pt x="120" y="46"/>
                      <a:pt x="118" y="44"/>
                    </a:cubicBezTo>
                    <a:cubicBezTo>
                      <a:pt x="117" y="44"/>
                      <a:pt x="103" y="34"/>
                      <a:pt x="86" y="38"/>
                    </a:cubicBezTo>
                    <a:cubicBezTo>
                      <a:pt x="91" y="19"/>
                      <a:pt x="83" y="4"/>
                      <a:pt x="83" y="4"/>
                    </a:cubicBezTo>
                    <a:cubicBezTo>
                      <a:pt x="82" y="2"/>
                      <a:pt x="79" y="0"/>
                      <a:pt x="77" y="1"/>
                    </a:cubicBezTo>
                    <a:cubicBezTo>
                      <a:pt x="64" y="4"/>
                      <a:pt x="55" y="15"/>
                      <a:pt x="55" y="16"/>
                    </a:cubicBezTo>
                    <a:cubicBezTo>
                      <a:pt x="53" y="18"/>
                      <a:pt x="54" y="22"/>
                      <a:pt x="56" y="24"/>
                    </a:cubicBezTo>
                    <a:cubicBezTo>
                      <a:pt x="59" y="26"/>
                      <a:pt x="63" y="26"/>
                      <a:pt x="65" y="23"/>
                    </a:cubicBezTo>
                    <a:cubicBezTo>
                      <a:pt x="65" y="23"/>
                      <a:pt x="69" y="18"/>
                      <a:pt x="74" y="15"/>
                    </a:cubicBezTo>
                    <a:cubicBezTo>
                      <a:pt x="77" y="23"/>
                      <a:pt x="78" y="39"/>
                      <a:pt x="63" y="57"/>
                    </a:cubicBezTo>
                    <a:cubicBezTo>
                      <a:pt x="59" y="29"/>
                      <a:pt x="45" y="18"/>
                      <a:pt x="33" y="14"/>
                    </a:cubicBezTo>
                    <a:cubicBezTo>
                      <a:pt x="30" y="13"/>
                      <a:pt x="27" y="14"/>
                      <a:pt x="26" y="17"/>
                    </a:cubicBezTo>
                    <a:cubicBezTo>
                      <a:pt x="21" y="29"/>
                      <a:pt x="16" y="54"/>
                      <a:pt x="36" y="68"/>
                    </a:cubicBezTo>
                    <a:cubicBezTo>
                      <a:pt x="39" y="70"/>
                      <a:pt x="43" y="69"/>
                      <a:pt x="44" y="66"/>
                    </a:cubicBezTo>
                    <a:cubicBezTo>
                      <a:pt x="46" y="63"/>
                      <a:pt x="46" y="60"/>
                      <a:pt x="43" y="58"/>
                    </a:cubicBezTo>
                    <a:cubicBezTo>
                      <a:pt x="31" y="50"/>
                      <a:pt x="33" y="36"/>
                      <a:pt x="35" y="28"/>
                    </a:cubicBezTo>
                    <a:cubicBezTo>
                      <a:pt x="46" y="35"/>
                      <a:pt x="52" y="49"/>
                      <a:pt x="53" y="71"/>
                    </a:cubicBezTo>
                    <a:cubicBezTo>
                      <a:pt x="52" y="71"/>
                      <a:pt x="52" y="71"/>
                      <a:pt x="52" y="71"/>
                    </a:cubicBezTo>
                    <a:cubicBezTo>
                      <a:pt x="49" y="77"/>
                      <a:pt x="46" y="83"/>
                      <a:pt x="34" y="86"/>
                    </a:cubicBezTo>
                    <a:cubicBezTo>
                      <a:pt x="28" y="88"/>
                      <a:pt x="22" y="89"/>
                      <a:pt x="17" y="90"/>
                    </a:cubicBezTo>
                    <a:cubicBezTo>
                      <a:pt x="14" y="91"/>
                      <a:pt x="12" y="92"/>
                      <a:pt x="10" y="92"/>
                    </a:cubicBezTo>
                    <a:cubicBezTo>
                      <a:pt x="4" y="94"/>
                      <a:pt x="0" y="100"/>
                      <a:pt x="0" y="106"/>
                    </a:cubicBezTo>
                    <a:cubicBezTo>
                      <a:pt x="0" y="112"/>
                      <a:pt x="5" y="118"/>
                      <a:pt x="14" y="120"/>
                    </a:cubicBezTo>
                    <a:cubicBezTo>
                      <a:pt x="14" y="120"/>
                      <a:pt x="14" y="120"/>
                      <a:pt x="14" y="120"/>
                    </a:cubicBezTo>
                    <a:cubicBezTo>
                      <a:pt x="15" y="120"/>
                      <a:pt x="17" y="121"/>
                      <a:pt x="21" y="121"/>
                    </a:cubicBezTo>
                    <a:cubicBezTo>
                      <a:pt x="28" y="121"/>
                      <a:pt x="38" y="119"/>
                      <a:pt x="49" y="114"/>
                    </a:cubicBezTo>
                    <a:cubicBezTo>
                      <a:pt x="48" y="120"/>
                      <a:pt x="47" y="124"/>
                      <a:pt x="46" y="125"/>
                    </a:cubicBezTo>
                    <a:cubicBezTo>
                      <a:pt x="46" y="125"/>
                      <a:pt x="46" y="126"/>
                      <a:pt x="46" y="126"/>
                    </a:cubicBezTo>
                    <a:cubicBezTo>
                      <a:pt x="46" y="130"/>
                      <a:pt x="49" y="132"/>
                      <a:pt x="52" y="132"/>
                    </a:cubicBezTo>
                    <a:cubicBezTo>
                      <a:pt x="55" y="132"/>
                      <a:pt x="57" y="130"/>
                      <a:pt x="58" y="128"/>
                    </a:cubicBezTo>
                    <a:cubicBezTo>
                      <a:pt x="58" y="127"/>
                      <a:pt x="59" y="123"/>
                      <a:pt x="60" y="118"/>
                    </a:cubicBezTo>
                    <a:cubicBezTo>
                      <a:pt x="72" y="133"/>
                      <a:pt x="88" y="135"/>
                      <a:pt x="88" y="135"/>
                    </a:cubicBezTo>
                    <a:cubicBezTo>
                      <a:pt x="90" y="135"/>
                      <a:pt x="91" y="135"/>
                      <a:pt x="92" y="135"/>
                    </a:cubicBezTo>
                    <a:cubicBezTo>
                      <a:pt x="99" y="135"/>
                      <a:pt x="104" y="132"/>
                      <a:pt x="106" y="127"/>
                    </a:cubicBezTo>
                    <a:cubicBezTo>
                      <a:pt x="107" y="125"/>
                      <a:pt x="108" y="123"/>
                      <a:pt x="107" y="121"/>
                    </a:cubicBezTo>
                    <a:cubicBezTo>
                      <a:pt x="109" y="120"/>
                      <a:pt x="111" y="120"/>
                      <a:pt x="111" y="120"/>
                    </a:cubicBezTo>
                    <a:cubicBezTo>
                      <a:pt x="112" y="120"/>
                      <a:pt x="112" y="120"/>
                      <a:pt x="112" y="120"/>
                    </a:cubicBezTo>
                    <a:cubicBezTo>
                      <a:pt x="120" y="118"/>
                      <a:pt x="125" y="112"/>
                      <a:pt x="125" y="106"/>
                    </a:cubicBezTo>
                    <a:cubicBezTo>
                      <a:pt x="126" y="100"/>
                      <a:pt x="122" y="94"/>
                      <a:pt x="115" y="92"/>
                    </a:cubicBezTo>
                    <a:close/>
                    <a:moveTo>
                      <a:pt x="107" y="52"/>
                    </a:moveTo>
                    <a:cubicBezTo>
                      <a:pt x="105" y="56"/>
                      <a:pt x="102" y="60"/>
                      <a:pt x="98" y="62"/>
                    </a:cubicBezTo>
                    <a:cubicBezTo>
                      <a:pt x="89" y="67"/>
                      <a:pt x="78" y="65"/>
                      <a:pt x="73" y="64"/>
                    </a:cubicBezTo>
                    <a:cubicBezTo>
                      <a:pt x="76" y="61"/>
                      <a:pt x="78" y="57"/>
                      <a:pt x="80" y="54"/>
                    </a:cubicBezTo>
                    <a:cubicBezTo>
                      <a:pt x="91" y="47"/>
                      <a:pt x="101" y="50"/>
                      <a:pt x="107" y="52"/>
                    </a:cubicBezTo>
                    <a:close/>
                    <a:moveTo>
                      <a:pt x="17" y="108"/>
                    </a:moveTo>
                    <a:cubicBezTo>
                      <a:pt x="13" y="107"/>
                      <a:pt x="12" y="106"/>
                      <a:pt x="12" y="105"/>
                    </a:cubicBezTo>
                    <a:cubicBezTo>
                      <a:pt x="12" y="105"/>
                      <a:pt x="13" y="104"/>
                      <a:pt x="14" y="104"/>
                    </a:cubicBezTo>
                    <a:cubicBezTo>
                      <a:pt x="15" y="103"/>
                      <a:pt x="17" y="103"/>
                      <a:pt x="20" y="102"/>
                    </a:cubicBezTo>
                    <a:cubicBezTo>
                      <a:pt x="25" y="101"/>
                      <a:pt x="31" y="100"/>
                      <a:pt x="38" y="98"/>
                    </a:cubicBezTo>
                    <a:cubicBezTo>
                      <a:pt x="43" y="96"/>
                      <a:pt x="46" y="94"/>
                      <a:pt x="49" y="92"/>
                    </a:cubicBezTo>
                    <a:cubicBezTo>
                      <a:pt x="50" y="94"/>
                      <a:pt x="50" y="96"/>
                      <a:pt x="51" y="98"/>
                    </a:cubicBezTo>
                    <a:cubicBezTo>
                      <a:pt x="36" y="111"/>
                      <a:pt x="19" y="109"/>
                      <a:pt x="17" y="108"/>
                    </a:cubicBezTo>
                    <a:close/>
                    <a:moveTo>
                      <a:pt x="95" y="122"/>
                    </a:moveTo>
                    <a:cubicBezTo>
                      <a:pt x="95" y="123"/>
                      <a:pt x="93" y="123"/>
                      <a:pt x="90" y="123"/>
                    </a:cubicBezTo>
                    <a:cubicBezTo>
                      <a:pt x="90" y="123"/>
                      <a:pt x="72" y="121"/>
                      <a:pt x="64" y="101"/>
                    </a:cubicBezTo>
                    <a:cubicBezTo>
                      <a:pt x="61" y="93"/>
                      <a:pt x="61" y="87"/>
                      <a:pt x="62" y="83"/>
                    </a:cubicBezTo>
                    <a:cubicBezTo>
                      <a:pt x="64" y="88"/>
                      <a:pt x="68" y="95"/>
                      <a:pt x="74" y="102"/>
                    </a:cubicBezTo>
                    <a:cubicBezTo>
                      <a:pt x="79" y="107"/>
                      <a:pt x="85" y="112"/>
                      <a:pt x="90" y="116"/>
                    </a:cubicBezTo>
                    <a:cubicBezTo>
                      <a:pt x="92" y="117"/>
                      <a:pt x="93" y="119"/>
                      <a:pt x="94" y="120"/>
                    </a:cubicBezTo>
                    <a:cubicBezTo>
                      <a:pt x="95" y="120"/>
                      <a:pt x="96" y="121"/>
                      <a:pt x="95" y="122"/>
                    </a:cubicBezTo>
                    <a:close/>
                    <a:moveTo>
                      <a:pt x="109" y="108"/>
                    </a:moveTo>
                    <a:cubicBezTo>
                      <a:pt x="108" y="108"/>
                      <a:pt x="106" y="109"/>
                      <a:pt x="102" y="109"/>
                    </a:cubicBezTo>
                    <a:cubicBezTo>
                      <a:pt x="101" y="109"/>
                      <a:pt x="101" y="109"/>
                      <a:pt x="100" y="109"/>
                    </a:cubicBezTo>
                    <a:cubicBezTo>
                      <a:pt x="100" y="108"/>
                      <a:pt x="99" y="108"/>
                      <a:pt x="98" y="107"/>
                    </a:cubicBezTo>
                    <a:cubicBezTo>
                      <a:pt x="94" y="104"/>
                      <a:pt x="89" y="100"/>
                      <a:pt x="86" y="97"/>
                    </a:cubicBezTo>
                    <a:cubicBezTo>
                      <a:pt x="93" y="99"/>
                      <a:pt x="101" y="101"/>
                      <a:pt x="106" y="102"/>
                    </a:cubicBezTo>
                    <a:cubicBezTo>
                      <a:pt x="109" y="103"/>
                      <a:pt x="111" y="103"/>
                      <a:pt x="112" y="104"/>
                    </a:cubicBezTo>
                    <a:cubicBezTo>
                      <a:pt x="113" y="104"/>
                      <a:pt x="113" y="105"/>
                      <a:pt x="113"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64">
                <a:extLst>
                  <a:ext uri="{FF2B5EF4-FFF2-40B4-BE49-F238E27FC236}">
                    <a16:creationId xmlns:a16="http://schemas.microsoft.com/office/drawing/2014/main" id="{2CD39BD6-46D6-47BF-9E3A-E50FF7E4FF31}"/>
                  </a:ext>
                </a:extLst>
              </p:cNvPr>
              <p:cNvSpPr>
                <a:spLocks noEditPoints="1"/>
              </p:cNvSpPr>
              <p:nvPr/>
            </p:nvSpPr>
            <p:spPr bwMode="auto">
              <a:xfrm>
                <a:off x="13000991" y="3667125"/>
                <a:ext cx="533400" cy="571500"/>
              </a:xfrm>
              <a:custGeom>
                <a:avLst/>
                <a:gdLst>
                  <a:gd name="T0" fmla="*/ 109 w 126"/>
                  <a:gd name="T1" fmla="*/ 91 h 135"/>
                  <a:gd name="T2" fmla="*/ 83 w 126"/>
                  <a:gd name="T3" fmla="*/ 77 h 135"/>
                  <a:gd name="T4" fmla="*/ 120 w 126"/>
                  <a:gd name="T5" fmla="*/ 51 h 135"/>
                  <a:gd name="T6" fmla="*/ 86 w 126"/>
                  <a:gd name="T7" fmla="*/ 38 h 135"/>
                  <a:gd name="T8" fmla="*/ 77 w 126"/>
                  <a:gd name="T9" fmla="*/ 1 h 135"/>
                  <a:gd name="T10" fmla="*/ 56 w 126"/>
                  <a:gd name="T11" fmla="*/ 24 h 135"/>
                  <a:gd name="T12" fmla="*/ 74 w 126"/>
                  <a:gd name="T13" fmla="*/ 15 h 135"/>
                  <a:gd name="T14" fmla="*/ 33 w 126"/>
                  <a:gd name="T15" fmla="*/ 14 h 135"/>
                  <a:gd name="T16" fmla="*/ 36 w 126"/>
                  <a:gd name="T17" fmla="*/ 68 h 135"/>
                  <a:gd name="T18" fmla="*/ 43 w 126"/>
                  <a:gd name="T19" fmla="*/ 58 h 135"/>
                  <a:gd name="T20" fmla="*/ 53 w 126"/>
                  <a:gd name="T21" fmla="*/ 71 h 135"/>
                  <a:gd name="T22" fmla="*/ 34 w 126"/>
                  <a:gd name="T23" fmla="*/ 86 h 135"/>
                  <a:gd name="T24" fmla="*/ 10 w 126"/>
                  <a:gd name="T25" fmla="*/ 92 h 135"/>
                  <a:gd name="T26" fmla="*/ 14 w 126"/>
                  <a:gd name="T27" fmla="*/ 120 h 135"/>
                  <a:gd name="T28" fmla="*/ 21 w 126"/>
                  <a:gd name="T29" fmla="*/ 121 h 135"/>
                  <a:gd name="T30" fmla="*/ 46 w 126"/>
                  <a:gd name="T31" fmla="*/ 125 h 135"/>
                  <a:gd name="T32" fmla="*/ 51 w 126"/>
                  <a:gd name="T33" fmla="*/ 132 h 135"/>
                  <a:gd name="T34" fmla="*/ 58 w 126"/>
                  <a:gd name="T35" fmla="*/ 128 h 135"/>
                  <a:gd name="T36" fmla="*/ 88 w 126"/>
                  <a:gd name="T37" fmla="*/ 135 h 135"/>
                  <a:gd name="T38" fmla="*/ 106 w 126"/>
                  <a:gd name="T39" fmla="*/ 127 h 135"/>
                  <a:gd name="T40" fmla="*/ 111 w 126"/>
                  <a:gd name="T41" fmla="*/ 120 h 135"/>
                  <a:gd name="T42" fmla="*/ 125 w 126"/>
                  <a:gd name="T43" fmla="*/ 106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49 w 126"/>
                  <a:gd name="T55" fmla="*/ 92 h 135"/>
                  <a:gd name="T56" fmla="*/ 17 w 126"/>
                  <a:gd name="T57" fmla="*/ 108 h 135"/>
                  <a:gd name="T58" fmla="*/ 90 w 126"/>
                  <a:gd name="T59" fmla="*/ 123 h 135"/>
                  <a:gd name="T60" fmla="*/ 62 w 126"/>
                  <a:gd name="T61" fmla="*/ 83 h 135"/>
                  <a:gd name="T62" fmla="*/ 90 w 126"/>
                  <a:gd name="T63" fmla="*/ 116 h 135"/>
                  <a:gd name="T64" fmla="*/ 95 w 126"/>
                  <a:gd name="T65" fmla="*/ 122 h 135"/>
                  <a:gd name="T66" fmla="*/ 102 w 126"/>
                  <a:gd name="T67" fmla="*/ 109 h 135"/>
                  <a:gd name="T68" fmla="*/ 98 w 126"/>
                  <a:gd name="T69" fmla="*/ 107 h 135"/>
                  <a:gd name="T70" fmla="*/ 106 w 126"/>
                  <a:gd name="T71" fmla="*/ 102 h 135"/>
                  <a:gd name="T72" fmla="*/ 1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5" y="92"/>
                    </a:moveTo>
                    <a:cubicBezTo>
                      <a:pt x="114" y="92"/>
                      <a:pt x="112" y="91"/>
                      <a:pt x="109" y="91"/>
                    </a:cubicBezTo>
                    <a:cubicBezTo>
                      <a:pt x="100" y="89"/>
                      <a:pt x="84" y="85"/>
                      <a:pt x="75" y="77"/>
                    </a:cubicBezTo>
                    <a:cubicBezTo>
                      <a:pt x="77" y="77"/>
                      <a:pt x="80" y="77"/>
                      <a:pt x="83" y="77"/>
                    </a:cubicBezTo>
                    <a:cubicBezTo>
                      <a:pt x="89" y="77"/>
                      <a:pt x="97" y="76"/>
                      <a:pt x="104" y="73"/>
                    </a:cubicBezTo>
                    <a:cubicBezTo>
                      <a:pt x="112" y="68"/>
                      <a:pt x="117" y="61"/>
                      <a:pt x="120" y="51"/>
                    </a:cubicBezTo>
                    <a:cubicBezTo>
                      <a:pt x="120" y="49"/>
                      <a:pt x="120" y="46"/>
                      <a:pt x="118" y="45"/>
                    </a:cubicBezTo>
                    <a:cubicBezTo>
                      <a:pt x="117" y="44"/>
                      <a:pt x="103" y="34"/>
                      <a:pt x="86" y="38"/>
                    </a:cubicBezTo>
                    <a:cubicBezTo>
                      <a:pt x="91" y="19"/>
                      <a:pt x="83" y="4"/>
                      <a:pt x="83" y="4"/>
                    </a:cubicBezTo>
                    <a:cubicBezTo>
                      <a:pt x="82" y="2"/>
                      <a:pt x="79" y="0"/>
                      <a:pt x="77" y="1"/>
                    </a:cubicBezTo>
                    <a:cubicBezTo>
                      <a:pt x="64" y="4"/>
                      <a:pt x="55" y="15"/>
                      <a:pt x="55" y="16"/>
                    </a:cubicBezTo>
                    <a:cubicBezTo>
                      <a:pt x="53" y="19"/>
                      <a:pt x="54" y="22"/>
                      <a:pt x="56" y="24"/>
                    </a:cubicBezTo>
                    <a:cubicBezTo>
                      <a:pt x="59" y="26"/>
                      <a:pt x="63" y="26"/>
                      <a:pt x="65" y="23"/>
                    </a:cubicBezTo>
                    <a:cubicBezTo>
                      <a:pt x="65" y="23"/>
                      <a:pt x="69" y="18"/>
                      <a:pt x="74" y="15"/>
                    </a:cubicBezTo>
                    <a:cubicBezTo>
                      <a:pt x="77" y="23"/>
                      <a:pt x="78" y="40"/>
                      <a:pt x="63" y="57"/>
                    </a:cubicBezTo>
                    <a:cubicBezTo>
                      <a:pt x="59" y="29"/>
                      <a:pt x="45" y="18"/>
                      <a:pt x="33" y="14"/>
                    </a:cubicBezTo>
                    <a:cubicBezTo>
                      <a:pt x="30" y="13"/>
                      <a:pt x="27" y="15"/>
                      <a:pt x="26" y="17"/>
                    </a:cubicBezTo>
                    <a:cubicBezTo>
                      <a:pt x="21" y="29"/>
                      <a:pt x="16" y="54"/>
                      <a:pt x="36" y="68"/>
                    </a:cubicBezTo>
                    <a:cubicBezTo>
                      <a:pt x="39" y="70"/>
                      <a:pt x="43" y="69"/>
                      <a:pt x="44" y="66"/>
                    </a:cubicBezTo>
                    <a:cubicBezTo>
                      <a:pt x="46" y="64"/>
                      <a:pt x="46" y="60"/>
                      <a:pt x="43" y="58"/>
                    </a:cubicBezTo>
                    <a:cubicBezTo>
                      <a:pt x="31" y="50"/>
                      <a:pt x="33" y="36"/>
                      <a:pt x="35" y="28"/>
                    </a:cubicBezTo>
                    <a:cubicBezTo>
                      <a:pt x="46" y="35"/>
                      <a:pt x="52" y="49"/>
                      <a:pt x="53" y="71"/>
                    </a:cubicBezTo>
                    <a:cubicBezTo>
                      <a:pt x="52" y="71"/>
                      <a:pt x="52" y="71"/>
                      <a:pt x="52" y="71"/>
                    </a:cubicBezTo>
                    <a:cubicBezTo>
                      <a:pt x="49" y="77"/>
                      <a:pt x="46" y="83"/>
                      <a:pt x="34" y="86"/>
                    </a:cubicBezTo>
                    <a:cubicBezTo>
                      <a:pt x="28" y="88"/>
                      <a:pt x="22" y="90"/>
                      <a:pt x="17" y="91"/>
                    </a:cubicBezTo>
                    <a:cubicBezTo>
                      <a:pt x="14" y="91"/>
                      <a:pt x="12" y="92"/>
                      <a:pt x="10" y="92"/>
                    </a:cubicBezTo>
                    <a:cubicBezTo>
                      <a:pt x="4" y="94"/>
                      <a:pt x="0" y="100"/>
                      <a:pt x="0" y="106"/>
                    </a:cubicBezTo>
                    <a:cubicBezTo>
                      <a:pt x="0" y="112"/>
                      <a:pt x="5" y="118"/>
                      <a:pt x="14" y="120"/>
                    </a:cubicBezTo>
                    <a:cubicBezTo>
                      <a:pt x="14" y="120"/>
                      <a:pt x="14" y="120"/>
                      <a:pt x="14" y="120"/>
                    </a:cubicBezTo>
                    <a:cubicBezTo>
                      <a:pt x="15" y="120"/>
                      <a:pt x="17" y="121"/>
                      <a:pt x="21" y="121"/>
                    </a:cubicBezTo>
                    <a:cubicBezTo>
                      <a:pt x="28" y="121"/>
                      <a:pt x="38" y="119"/>
                      <a:pt x="49" y="114"/>
                    </a:cubicBezTo>
                    <a:cubicBezTo>
                      <a:pt x="48" y="120"/>
                      <a:pt x="47" y="124"/>
                      <a:pt x="46" y="125"/>
                    </a:cubicBezTo>
                    <a:cubicBezTo>
                      <a:pt x="46" y="125"/>
                      <a:pt x="46" y="126"/>
                      <a:pt x="46" y="126"/>
                    </a:cubicBezTo>
                    <a:cubicBezTo>
                      <a:pt x="46" y="129"/>
                      <a:pt x="48" y="132"/>
                      <a:pt x="51" y="132"/>
                    </a:cubicBezTo>
                    <a:cubicBezTo>
                      <a:pt x="52" y="132"/>
                      <a:pt x="52" y="132"/>
                      <a:pt x="52" y="132"/>
                    </a:cubicBezTo>
                    <a:cubicBezTo>
                      <a:pt x="55" y="132"/>
                      <a:pt x="57" y="130"/>
                      <a:pt x="58" y="128"/>
                    </a:cubicBezTo>
                    <a:cubicBezTo>
                      <a:pt x="58" y="127"/>
                      <a:pt x="59" y="124"/>
                      <a:pt x="60" y="118"/>
                    </a:cubicBezTo>
                    <a:cubicBezTo>
                      <a:pt x="72" y="133"/>
                      <a:pt x="88" y="135"/>
                      <a:pt x="88" y="135"/>
                    </a:cubicBezTo>
                    <a:cubicBezTo>
                      <a:pt x="90" y="135"/>
                      <a:pt x="91" y="135"/>
                      <a:pt x="92" y="135"/>
                    </a:cubicBezTo>
                    <a:cubicBezTo>
                      <a:pt x="99" y="135"/>
                      <a:pt x="104" y="132"/>
                      <a:pt x="106" y="127"/>
                    </a:cubicBezTo>
                    <a:cubicBezTo>
                      <a:pt x="107" y="125"/>
                      <a:pt x="108" y="123"/>
                      <a:pt x="107" y="121"/>
                    </a:cubicBezTo>
                    <a:cubicBezTo>
                      <a:pt x="109" y="121"/>
                      <a:pt x="111" y="120"/>
                      <a:pt x="111" y="120"/>
                    </a:cubicBezTo>
                    <a:cubicBezTo>
                      <a:pt x="112" y="120"/>
                      <a:pt x="112" y="120"/>
                      <a:pt x="112" y="120"/>
                    </a:cubicBezTo>
                    <a:cubicBezTo>
                      <a:pt x="120" y="118"/>
                      <a:pt x="125" y="112"/>
                      <a:pt x="125" y="106"/>
                    </a:cubicBezTo>
                    <a:cubicBezTo>
                      <a:pt x="126" y="100"/>
                      <a:pt x="122" y="94"/>
                      <a:pt x="115" y="92"/>
                    </a:cubicBezTo>
                    <a:close/>
                    <a:moveTo>
                      <a:pt x="107" y="52"/>
                    </a:moveTo>
                    <a:cubicBezTo>
                      <a:pt x="105" y="57"/>
                      <a:pt x="102" y="60"/>
                      <a:pt x="98" y="62"/>
                    </a:cubicBezTo>
                    <a:cubicBezTo>
                      <a:pt x="89" y="67"/>
                      <a:pt x="78" y="65"/>
                      <a:pt x="73" y="64"/>
                    </a:cubicBezTo>
                    <a:cubicBezTo>
                      <a:pt x="76" y="61"/>
                      <a:pt x="78" y="57"/>
                      <a:pt x="80" y="54"/>
                    </a:cubicBezTo>
                    <a:cubicBezTo>
                      <a:pt x="91" y="47"/>
                      <a:pt x="101" y="50"/>
                      <a:pt x="107" y="52"/>
                    </a:cubicBezTo>
                    <a:close/>
                    <a:moveTo>
                      <a:pt x="17" y="108"/>
                    </a:moveTo>
                    <a:cubicBezTo>
                      <a:pt x="13" y="107"/>
                      <a:pt x="12" y="106"/>
                      <a:pt x="12" y="105"/>
                    </a:cubicBezTo>
                    <a:cubicBezTo>
                      <a:pt x="12" y="105"/>
                      <a:pt x="13" y="104"/>
                      <a:pt x="14" y="104"/>
                    </a:cubicBezTo>
                    <a:cubicBezTo>
                      <a:pt x="15" y="103"/>
                      <a:pt x="17" y="103"/>
                      <a:pt x="20" y="102"/>
                    </a:cubicBezTo>
                    <a:cubicBezTo>
                      <a:pt x="25" y="101"/>
                      <a:pt x="31" y="100"/>
                      <a:pt x="38" y="98"/>
                    </a:cubicBezTo>
                    <a:cubicBezTo>
                      <a:pt x="43" y="96"/>
                      <a:pt x="46" y="94"/>
                      <a:pt x="49" y="92"/>
                    </a:cubicBezTo>
                    <a:cubicBezTo>
                      <a:pt x="50" y="94"/>
                      <a:pt x="50" y="96"/>
                      <a:pt x="51" y="98"/>
                    </a:cubicBezTo>
                    <a:cubicBezTo>
                      <a:pt x="36" y="111"/>
                      <a:pt x="19" y="109"/>
                      <a:pt x="17" y="108"/>
                    </a:cubicBezTo>
                    <a:close/>
                    <a:moveTo>
                      <a:pt x="95" y="122"/>
                    </a:moveTo>
                    <a:cubicBezTo>
                      <a:pt x="95" y="123"/>
                      <a:pt x="93" y="124"/>
                      <a:pt x="90" y="123"/>
                    </a:cubicBezTo>
                    <a:cubicBezTo>
                      <a:pt x="90" y="123"/>
                      <a:pt x="72" y="121"/>
                      <a:pt x="64" y="101"/>
                    </a:cubicBezTo>
                    <a:cubicBezTo>
                      <a:pt x="61" y="94"/>
                      <a:pt x="61" y="87"/>
                      <a:pt x="62" y="83"/>
                    </a:cubicBezTo>
                    <a:cubicBezTo>
                      <a:pt x="64" y="88"/>
                      <a:pt x="68" y="95"/>
                      <a:pt x="74" y="102"/>
                    </a:cubicBezTo>
                    <a:cubicBezTo>
                      <a:pt x="79" y="107"/>
                      <a:pt x="85" y="112"/>
                      <a:pt x="90" y="116"/>
                    </a:cubicBezTo>
                    <a:cubicBezTo>
                      <a:pt x="92" y="118"/>
                      <a:pt x="93" y="119"/>
                      <a:pt x="94" y="120"/>
                    </a:cubicBezTo>
                    <a:cubicBezTo>
                      <a:pt x="95" y="121"/>
                      <a:pt x="96" y="121"/>
                      <a:pt x="95" y="122"/>
                    </a:cubicBezTo>
                    <a:close/>
                    <a:moveTo>
                      <a:pt x="109" y="108"/>
                    </a:moveTo>
                    <a:cubicBezTo>
                      <a:pt x="108" y="109"/>
                      <a:pt x="106" y="109"/>
                      <a:pt x="102" y="109"/>
                    </a:cubicBezTo>
                    <a:cubicBezTo>
                      <a:pt x="101" y="109"/>
                      <a:pt x="101" y="109"/>
                      <a:pt x="100" y="109"/>
                    </a:cubicBezTo>
                    <a:cubicBezTo>
                      <a:pt x="100" y="108"/>
                      <a:pt x="99" y="108"/>
                      <a:pt x="98" y="107"/>
                    </a:cubicBezTo>
                    <a:cubicBezTo>
                      <a:pt x="94" y="104"/>
                      <a:pt x="90" y="100"/>
                      <a:pt x="86" y="97"/>
                    </a:cubicBezTo>
                    <a:cubicBezTo>
                      <a:pt x="93" y="100"/>
                      <a:pt x="101" y="101"/>
                      <a:pt x="106" y="102"/>
                    </a:cubicBezTo>
                    <a:cubicBezTo>
                      <a:pt x="109" y="103"/>
                      <a:pt x="111" y="103"/>
                      <a:pt x="112" y="104"/>
                    </a:cubicBezTo>
                    <a:cubicBezTo>
                      <a:pt x="113" y="104"/>
                      <a:pt x="113" y="105"/>
                      <a:pt x="113" y="105"/>
                    </a:cubicBezTo>
                    <a:cubicBezTo>
                      <a:pt x="113"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65">
                <a:extLst>
                  <a:ext uri="{FF2B5EF4-FFF2-40B4-BE49-F238E27FC236}">
                    <a16:creationId xmlns:a16="http://schemas.microsoft.com/office/drawing/2014/main" id="{79B3FC1B-7D27-4DB9-9E80-9FFF91E4413B}"/>
                  </a:ext>
                </a:extLst>
              </p:cNvPr>
              <p:cNvSpPr>
                <a:spLocks noEditPoints="1"/>
              </p:cNvSpPr>
              <p:nvPr/>
            </p:nvSpPr>
            <p:spPr bwMode="auto">
              <a:xfrm>
                <a:off x="13000991" y="2516188"/>
                <a:ext cx="533400" cy="573088"/>
              </a:xfrm>
              <a:custGeom>
                <a:avLst/>
                <a:gdLst>
                  <a:gd name="T0" fmla="*/ 109 w 126"/>
                  <a:gd name="T1" fmla="*/ 90 h 135"/>
                  <a:gd name="T2" fmla="*/ 83 w 126"/>
                  <a:gd name="T3" fmla="*/ 77 h 135"/>
                  <a:gd name="T4" fmla="*/ 120 w 126"/>
                  <a:gd name="T5" fmla="*/ 50 h 135"/>
                  <a:gd name="T6" fmla="*/ 86 w 126"/>
                  <a:gd name="T7" fmla="*/ 38 h 135"/>
                  <a:gd name="T8" fmla="*/ 77 w 126"/>
                  <a:gd name="T9" fmla="*/ 0 h 135"/>
                  <a:gd name="T10" fmla="*/ 56 w 126"/>
                  <a:gd name="T11" fmla="*/ 24 h 135"/>
                  <a:gd name="T12" fmla="*/ 74 w 126"/>
                  <a:gd name="T13" fmla="*/ 14 h 135"/>
                  <a:gd name="T14" fmla="*/ 33 w 126"/>
                  <a:gd name="T15" fmla="*/ 14 h 135"/>
                  <a:gd name="T16" fmla="*/ 36 w 126"/>
                  <a:gd name="T17" fmla="*/ 67 h 135"/>
                  <a:gd name="T18" fmla="*/ 43 w 126"/>
                  <a:gd name="T19" fmla="*/ 57 h 135"/>
                  <a:gd name="T20" fmla="*/ 53 w 126"/>
                  <a:gd name="T21" fmla="*/ 70 h 135"/>
                  <a:gd name="T22" fmla="*/ 34 w 126"/>
                  <a:gd name="T23" fmla="*/ 86 h 135"/>
                  <a:gd name="T24" fmla="*/ 10 w 126"/>
                  <a:gd name="T25" fmla="*/ 92 h 135"/>
                  <a:gd name="T26" fmla="*/ 14 w 126"/>
                  <a:gd name="T27" fmla="*/ 119 h 135"/>
                  <a:gd name="T28" fmla="*/ 21 w 126"/>
                  <a:gd name="T29" fmla="*/ 120 h 135"/>
                  <a:gd name="T30" fmla="*/ 46 w 126"/>
                  <a:gd name="T31" fmla="*/ 124 h 135"/>
                  <a:gd name="T32" fmla="*/ 51 w 126"/>
                  <a:gd name="T33" fmla="*/ 132 h 135"/>
                  <a:gd name="T34" fmla="*/ 58 w 126"/>
                  <a:gd name="T35" fmla="*/ 127 h 135"/>
                  <a:gd name="T36" fmla="*/ 88 w 126"/>
                  <a:gd name="T37" fmla="*/ 134 h 135"/>
                  <a:gd name="T38" fmla="*/ 106 w 126"/>
                  <a:gd name="T39" fmla="*/ 126 h 135"/>
                  <a:gd name="T40" fmla="*/ 111 w 126"/>
                  <a:gd name="T41" fmla="*/ 120 h 135"/>
                  <a:gd name="T42" fmla="*/ 125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49 w 126"/>
                  <a:gd name="T55" fmla="*/ 92 h 135"/>
                  <a:gd name="T56" fmla="*/ 17 w 126"/>
                  <a:gd name="T57" fmla="*/ 108 h 135"/>
                  <a:gd name="T58" fmla="*/ 90 w 126"/>
                  <a:gd name="T59" fmla="*/ 123 h 135"/>
                  <a:gd name="T60" fmla="*/ 62 w 126"/>
                  <a:gd name="T61" fmla="*/ 82 h 135"/>
                  <a:gd name="T62" fmla="*/ 90 w 126"/>
                  <a:gd name="T63" fmla="*/ 116 h 135"/>
                  <a:gd name="T64" fmla="*/ 95 w 126"/>
                  <a:gd name="T65" fmla="*/ 121 h 135"/>
                  <a:gd name="T66" fmla="*/ 102 w 126"/>
                  <a:gd name="T67" fmla="*/ 108 h 135"/>
                  <a:gd name="T68" fmla="*/ 98 w 126"/>
                  <a:gd name="T69" fmla="*/ 106 h 135"/>
                  <a:gd name="T70" fmla="*/ 106 w 126"/>
                  <a:gd name="T71" fmla="*/ 102 h 135"/>
                  <a:gd name="T72" fmla="*/ 1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5" y="92"/>
                    </a:moveTo>
                    <a:cubicBezTo>
                      <a:pt x="114" y="91"/>
                      <a:pt x="112" y="91"/>
                      <a:pt x="109" y="90"/>
                    </a:cubicBezTo>
                    <a:cubicBezTo>
                      <a:pt x="100" y="88"/>
                      <a:pt x="84" y="85"/>
                      <a:pt x="75" y="76"/>
                    </a:cubicBezTo>
                    <a:cubicBezTo>
                      <a:pt x="77" y="77"/>
                      <a:pt x="80" y="77"/>
                      <a:pt x="83" y="77"/>
                    </a:cubicBezTo>
                    <a:cubicBezTo>
                      <a:pt x="89" y="77"/>
                      <a:pt x="97" y="76"/>
                      <a:pt x="104" y="72"/>
                    </a:cubicBezTo>
                    <a:cubicBezTo>
                      <a:pt x="112" y="68"/>
                      <a:pt x="117" y="60"/>
                      <a:pt x="120" y="50"/>
                    </a:cubicBezTo>
                    <a:cubicBezTo>
                      <a:pt x="120" y="48"/>
                      <a:pt x="120" y="45"/>
                      <a:pt x="118" y="44"/>
                    </a:cubicBezTo>
                    <a:cubicBezTo>
                      <a:pt x="117" y="43"/>
                      <a:pt x="103" y="34"/>
                      <a:pt x="86" y="38"/>
                    </a:cubicBezTo>
                    <a:cubicBezTo>
                      <a:pt x="91" y="19"/>
                      <a:pt x="83" y="4"/>
                      <a:pt x="83" y="4"/>
                    </a:cubicBezTo>
                    <a:cubicBezTo>
                      <a:pt x="82" y="1"/>
                      <a:pt x="79" y="0"/>
                      <a:pt x="77" y="0"/>
                    </a:cubicBezTo>
                    <a:cubicBezTo>
                      <a:pt x="64" y="3"/>
                      <a:pt x="55" y="15"/>
                      <a:pt x="55" y="15"/>
                    </a:cubicBezTo>
                    <a:cubicBezTo>
                      <a:pt x="53" y="18"/>
                      <a:pt x="54" y="22"/>
                      <a:pt x="56" y="24"/>
                    </a:cubicBezTo>
                    <a:cubicBezTo>
                      <a:pt x="59" y="26"/>
                      <a:pt x="63" y="25"/>
                      <a:pt x="65" y="23"/>
                    </a:cubicBezTo>
                    <a:cubicBezTo>
                      <a:pt x="65" y="22"/>
                      <a:pt x="69" y="17"/>
                      <a:pt x="74" y="14"/>
                    </a:cubicBezTo>
                    <a:cubicBezTo>
                      <a:pt x="77" y="22"/>
                      <a:pt x="78" y="39"/>
                      <a:pt x="63" y="56"/>
                    </a:cubicBezTo>
                    <a:cubicBezTo>
                      <a:pt x="59" y="28"/>
                      <a:pt x="45" y="18"/>
                      <a:pt x="33" y="14"/>
                    </a:cubicBezTo>
                    <a:cubicBezTo>
                      <a:pt x="30" y="13"/>
                      <a:pt x="27" y="14"/>
                      <a:pt x="26" y="17"/>
                    </a:cubicBezTo>
                    <a:cubicBezTo>
                      <a:pt x="21" y="28"/>
                      <a:pt x="16" y="53"/>
                      <a:pt x="36" y="67"/>
                    </a:cubicBezTo>
                    <a:cubicBezTo>
                      <a:pt x="39" y="69"/>
                      <a:pt x="43" y="68"/>
                      <a:pt x="44" y="66"/>
                    </a:cubicBezTo>
                    <a:cubicBezTo>
                      <a:pt x="46" y="63"/>
                      <a:pt x="46" y="59"/>
                      <a:pt x="43" y="57"/>
                    </a:cubicBezTo>
                    <a:cubicBezTo>
                      <a:pt x="31" y="49"/>
                      <a:pt x="33" y="35"/>
                      <a:pt x="35" y="27"/>
                    </a:cubicBezTo>
                    <a:cubicBezTo>
                      <a:pt x="46" y="34"/>
                      <a:pt x="52" y="49"/>
                      <a:pt x="53" y="70"/>
                    </a:cubicBezTo>
                    <a:cubicBezTo>
                      <a:pt x="52" y="71"/>
                      <a:pt x="52"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7"/>
                      <a:pt x="14" y="119"/>
                    </a:cubicBezTo>
                    <a:cubicBezTo>
                      <a:pt x="14" y="120"/>
                      <a:pt x="14" y="120"/>
                      <a:pt x="14" y="120"/>
                    </a:cubicBezTo>
                    <a:cubicBezTo>
                      <a:pt x="15" y="120"/>
                      <a:pt x="17" y="120"/>
                      <a:pt x="21" y="120"/>
                    </a:cubicBezTo>
                    <a:cubicBezTo>
                      <a:pt x="28" y="120"/>
                      <a:pt x="38" y="119"/>
                      <a:pt x="49" y="113"/>
                    </a:cubicBezTo>
                    <a:cubicBezTo>
                      <a:pt x="48" y="119"/>
                      <a:pt x="47" y="124"/>
                      <a:pt x="46" y="124"/>
                    </a:cubicBezTo>
                    <a:cubicBezTo>
                      <a:pt x="46" y="125"/>
                      <a:pt x="46" y="125"/>
                      <a:pt x="46" y="126"/>
                    </a:cubicBezTo>
                    <a:cubicBezTo>
                      <a:pt x="46" y="129"/>
                      <a:pt x="48" y="131"/>
                      <a:pt x="51" y="132"/>
                    </a:cubicBezTo>
                    <a:cubicBezTo>
                      <a:pt x="52" y="132"/>
                      <a:pt x="52" y="132"/>
                      <a:pt x="52" y="132"/>
                    </a:cubicBezTo>
                    <a:cubicBezTo>
                      <a:pt x="55" y="132"/>
                      <a:pt x="57" y="130"/>
                      <a:pt x="58" y="127"/>
                    </a:cubicBezTo>
                    <a:cubicBezTo>
                      <a:pt x="58" y="127"/>
                      <a:pt x="59" y="123"/>
                      <a:pt x="60" y="117"/>
                    </a:cubicBezTo>
                    <a:cubicBezTo>
                      <a:pt x="72" y="132"/>
                      <a:pt x="88" y="134"/>
                      <a:pt x="88" y="134"/>
                    </a:cubicBezTo>
                    <a:cubicBezTo>
                      <a:pt x="90" y="135"/>
                      <a:pt x="91" y="135"/>
                      <a:pt x="92" y="135"/>
                    </a:cubicBezTo>
                    <a:cubicBezTo>
                      <a:pt x="99" y="135"/>
                      <a:pt x="104" y="132"/>
                      <a:pt x="106" y="126"/>
                    </a:cubicBezTo>
                    <a:cubicBezTo>
                      <a:pt x="107" y="124"/>
                      <a:pt x="108" y="122"/>
                      <a:pt x="107" y="120"/>
                    </a:cubicBezTo>
                    <a:cubicBezTo>
                      <a:pt x="109" y="120"/>
                      <a:pt x="111" y="120"/>
                      <a:pt x="111" y="120"/>
                    </a:cubicBezTo>
                    <a:cubicBezTo>
                      <a:pt x="112" y="119"/>
                      <a:pt x="112" y="119"/>
                      <a:pt x="112" y="119"/>
                    </a:cubicBezTo>
                    <a:cubicBezTo>
                      <a:pt x="120" y="117"/>
                      <a:pt x="125" y="112"/>
                      <a:pt x="125" y="105"/>
                    </a:cubicBezTo>
                    <a:cubicBezTo>
                      <a:pt x="126" y="99"/>
                      <a:pt x="122" y="94"/>
                      <a:pt x="115" y="92"/>
                    </a:cubicBezTo>
                    <a:close/>
                    <a:moveTo>
                      <a:pt x="107" y="52"/>
                    </a:moveTo>
                    <a:cubicBezTo>
                      <a:pt x="105" y="56"/>
                      <a:pt x="102" y="59"/>
                      <a:pt x="98" y="61"/>
                    </a:cubicBezTo>
                    <a:cubicBezTo>
                      <a:pt x="89" y="66"/>
                      <a:pt x="78" y="65"/>
                      <a:pt x="73" y="64"/>
                    </a:cubicBezTo>
                    <a:cubicBezTo>
                      <a:pt x="76" y="60"/>
                      <a:pt x="78" y="57"/>
                      <a:pt x="80" y="54"/>
                    </a:cubicBezTo>
                    <a:cubicBezTo>
                      <a:pt x="91" y="46"/>
                      <a:pt x="101" y="49"/>
                      <a:pt x="107" y="52"/>
                    </a:cubicBezTo>
                    <a:close/>
                    <a:moveTo>
                      <a:pt x="17" y="108"/>
                    </a:moveTo>
                    <a:cubicBezTo>
                      <a:pt x="13" y="107"/>
                      <a:pt x="12" y="105"/>
                      <a:pt x="12" y="105"/>
                    </a:cubicBezTo>
                    <a:cubicBezTo>
                      <a:pt x="12" y="104"/>
                      <a:pt x="13" y="103"/>
                      <a:pt x="14" y="103"/>
                    </a:cubicBezTo>
                    <a:cubicBezTo>
                      <a:pt x="15" y="103"/>
                      <a:pt x="17" y="102"/>
                      <a:pt x="20" y="102"/>
                    </a:cubicBezTo>
                    <a:cubicBezTo>
                      <a:pt x="25" y="101"/>
                      <a:pt x="31" y="99"/>
                      <a:pt x="38" y="97"/>
                    </a:cubicBezTo>
                    <a:cubicBezTo>
                      <a:pt x="43" y="96"/>
                      <a:pt x="46" y="94"/>
                      <a:pt x="49" y="92"/>
                    </a:cubicBezTo>
                    <a:cubicBezTo>
                      <a:pt x="50" y="93"/>
                      <a:pt x="50" y="95"/>
                      <a:pt x="51" y="97"/>
                    </a:cubicBezTo>
                    <a:cubicBezTo>
                      <a:pt x="36" y="110"/>
                      <a:pt x="19" y="108"/>
                      <a:pt x="17" y="108"/>
                    </a:cubicBezTo>
                    <a:close/>
                    <a:moveTo>
                      <a:pt x="95" y="121"/>
                    </a:moveTo>
                    <a:cubicBezTo>
                      <a:pt x="95" y="122"/>
                      <a:pt x="93" y="123"/>
                      <a:pt x="90" y="123"/>
                    </a:cubicBezTo>
                    <a:cubicBezTo>
                      <a:pt x="90" y="123"/>
                      <a:pt x="72" y="120"/>
                      <a:pt x="64" y="100"/>
                    </a:cubicBezTo>
                    <a:cubicBezTo>
                      <a:pt x="61" y="93"/>
                      <a:pt x="61" y="87"/>
                      <a:pt x="62" y="82"/>
                    </a:cubicBezTo>
                    <a:cubicBezTo>
                      <a:pt x="64" y="88"/>
                      <a:pt x="68" y="94"/>
                      <a:pt x="74" y="101"/>
                    </a:cubicBezTo>
                    <a:cubicBezTo>
                      <a:pt x="79" y="106"/>
                      <a:pt x="85" y="112"/>
                      <a:pt x="90" y="116"/>
                    </a:cubicBezTo>
                    <a:cubicBezTo>
                      <a:pt x="92" y="117"/>
                      <a:pt x="93" y="118"/>
                      <a:pt x="94" y="119"/>
                    </a:cubicBezTo>
                    <a:cubicBezTo>
                      <a:pt x="95" y="120"/>
                      <a:pt x="96" y="121"/>
                      <a:pt x="95" y="121"/>
                    </a:cubicBezTo>
                    <a:close/>
                    <a:moveTo>
                      <a:pt x="109" y="108"/>
                    </a:moveTo>
                    <a:cubicBezTo>
                      <a:pt x="108" y="108"/>
                      <a:pt x="106" y="108"/>
                      <a:pt x="102" y="108"/>
                    </a:cubicBezTo>
                    <a:cubicBezTo>
                      <a:pt x="101" y="108"/>
                      <a:pt x="101" y="108"/>
                      <a:pt x="100" y="109"/>
                    </a:cubicBezTo>
                    <a:cubicBezTo>
                      <a:pt x="100" y="108"/>
                      <a:pt x="99" y="107"/>
                      <a:pt x="98" y="106"/>
                    </a:cubicBezTo>
                    <a:cubicBezTo>
                      <a:pt x="94" y="103"/>
                      <a:pt x="90" y="100"/>
                      <a:pt x="86" y="96"/>
                    </a:cubicBezTo>
                    <a:cubicBezTo>
                      <a:pt x="93" y="99"/>
                      <a:pt x="101" y="101"/>
                      <a:pt x="106" y="102"/>
                    </a:cubicBezTo>
                    <a:cubicBezTo>
                      <a:pt x="109" y="102"/>
                      <a:pt x="111" y="103"/>
                      <a:pt x="112" y="103"/>
                    </a:cubicBezTo>
                    <a:cubicBezTo>
                      <a:pt x="113" y="103"/>
                      <a:pt x="113" y="104"/>
                      <a:pt x="113" y="105"/>
                    </a:cubicBezTo>
                    <a:cubicBezTo>
                      <a:pt x="113" y="105"/>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66">
                <a:extLst>
                  <a:ext uri="{FF2B5EF4-FFF2-40B4-BE49-F238E27FC236}">
                    <a16:creationId xmlns:a16="http://schemas.microsoft.com/office/drawing/2014/main" id="{243E1A05-3097-45B9-9DA7-6729BA833425}"/>
                  </a:ext>
                </a:extLst>
              </p:cNvPr>
              <p:cNvSpPr>
                <a:spLocks noEditPoints="1"/>
              </p:cNvSpPr>
              <p:nvPr/>
            </p:nvSpPr>
            <p:spPr bwMode="auto">
              <a:xfrm>
                <a:off x="13000991" y="4248150"/>
                <a:ext cx="533400" cy="571500"/>
              </a:xfrm>
              <a:custGeom>
                <a:avLst/>
                <a:gdLst>
                  <a:gd name="T0" fmla="*/ 109 w 126"/>
                  <a:gd name="T1" fmla="*/ 90 h 135"/>
                  <a:gd name="T2" fmla="*/ 83 w 126"/>
                  <a:gd name="T3" fmla="*/ 77 h 135"/>
                  <a:gd name="T4" fmla="*/ 120 w 126"/>
                  <a:gd name="T5" fmla="*/ 50 h 135"/>
                  <a:gd name="T6" fmla="*/ 86 w 126"/>
                  <a:gd name="T7" fmla="*/ 38 h 135"/>
                  <a:gd name="T8" fmla="*/ 77 w 126"/>
                  <a:gd name="T9" fmla="*/ 0 h 135"/>
                  <a:gd name="T10" fmla="*/ 56 w 126"/>
                  <a:gd name="T11" fmla="*/ 24 h 135"/>
                  <a:gd name="T12" fmla="*/ 74 w 126"/>
                  <a:gd name="T13" fmla="*/ 14 h 135"/>
                  <a:gd name="T14" fmla="*/ 33 w 126"/>
                  <a:gd name="T15" fmla="*/ 14 h 135"/>
                  <a:gd name="T16" fmla="*/ 36 w 126"/>
                  <a:gd name="T17" fmla="*/ 67 h 135"/>
                  <a:gd name="T18" fmla="*/ 43 w 126"/>
                  <a:gd name="T19" fmla="*/ 57 h 135"/>
                  <a:gd name="T20" fmla="*/ 53 w 126"/>
                  <a:gd name="T21" fmla="*/ 70 h 135"/>
                  <a:gd name="T22" fmla="*/ 34 w 126"/>
                  <a:gd name="T23" fmla="*/ 86 h 135"/>
                  <a:gd name="T24" fmla="*/ 10 w 126"/>
                  <a:gd name="T25" fmla="*/ 92 h 135"/>
                  <a:gd name="T26" fmla="*/ 14 w 126"/>
                  <a:gd name="T27" fmla="*/ 119 h 135"/>
                  <a:gd name="T28" fmla="*/ 21 w 126"/>
                  <a:gd name="T29" fmla="*/ 120 h 135"/>
                  <a:gd name="T30" fmla="*/ 46 w 126"/>
                  <a:gd name="T31" fmla="*/ 124 h 135"/>
                  <a:gd name="T32" fmla="*/ 51 w 126"/>
                  <a:gd name="T33" fmla="*/ 132 h 135"/>
                  <a:gd name="T34" fmla="*/ 58 w 126"/>
                  <a:gd name="T35" fmla="*/ 127 h 135"/>
                  <a:gd name="T36" fmla="*/ 88 w 126"/>
                  <a:gd name="T37" fmla="*/ 134 h 135"/>
                  <a:gd name="T38" fmla="*/ 106 w 126"/>
                  <a:gd name="T39" fmla="*/ 126 h 135"/>
                  <a:gd name="T40" fmla="*/ 111 w 126"/>
                  <a:gd name="T41" fmla="*/ 120 h 135"/>
                  <a:gd name="T42" fmla="*/ 125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49 w 126"/>
                  <a:gd name="T55" fmla="*/ 92 h 135"/>
                  <a:gd name="T56" fmla="*/ 17 w 126"/>
                  <a:gd name="T57" fmla="*/ 108 h 135"/>
                  <a:gd name="T58" fmla="*/ 90 w 126"/>
                  <a:gd name="T59" fmla="*/ 123 h 135"/>
                  <a:gd name="T60" fmla="*/ 62 w 126"/>
                  <a:gd name="T61" fmla="*/ 82 h 135"/>
                  <a:gd name="T62" fmla="*/ 90 w 126"/>
                  <a:gd name="T63" fmla="*/ 116 h 135"/>
                  <a:gd name="T64" fmla="*/ 95 w 126"/>
                  <a:gd name="T65" fmla="*/ 121 h 135"/>
                  <a:gd name="T66" fmla="*/ 102 w 126"/>
                  <a:gd name="T67" fmla="*/ 108 h 135"/>
                  <a:gd name="T68" fmla="*/ 98 w 126"/>
                  <a:gd name="T69" fmla="*/ 106 h 135"/>
                  <a:gd name="T70" fmla="*/ 106 w 126"/>
                  <a:gd name="T71" fmla="*/ 102 h 135"/>
                  <a:gd name="T72" fmla="*/ 113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5" y="92"/>
                    </a:moveTo>
                    <a:cubicBezTo>
                      <a:pt x="114" y="91"/>
                      <a:pt x="112" y="91"/>
                      <a:pt x="109" y="90"/>
                    </a:cubicBezTo>
                    <a:cubicBezTo>
                      <a:pt x="100" y="88"/>
                      <a:pt x="84" y="85"/>
                      <a:pt x="75" y="76"/>
                    </a:cubicBezTo>
                    <a:cubicBezTo>
                      <a:pt x="77" y="77"/>
                      <a:pt x="80" y="77"/>
                      <a:pt x="83" y="77"/>
                    </a:cubicBezTo>
                    <a:cubicBezTo>
                      <a:pt x="89" y="77"/>
                      <a:pt x="97" y="76"/>
                      <a:pt x="104" y="72"/>
                    </a:cubicBezTo>
                    <a:cubicBezTo>
                      <a:pt x="112" y="68"/>
                      <a:pt x="117" y="60"/>
                      <a:pt x="120" y="50"/>
                    </a:cubicBezTo>
                    <a:cubicBezTo>
                      <a:pt x="120" y="48"/>
                      <a:pt x="120" y="45"/>
                      <a:pt x="118" y="44"/>
                    </a:cubicBezTo>
                    <a:cubicBezTo>
                      <a:pt x="117" y="43"/>
                      <a:pt x="103" y="34"/>
                      <a:pt x="86" y="38"/>
                    </a:cubicBezTo>
                    <a:cubicBezTo>
                      <a:pt x="91" y="19"/>
                      <a:pt x="83" y="4"/>
                      <a:pt x="83" y="4"/>
                    </a:cubicBezTo>
                    <a:cubicBezTo>
                      <a:pt x="82" y="1"/>
                      <a:pt x="79" y="0"/>
                      <a:pt x="77" y="0"/>
                    </a:cubicBezTo>
                    <a:cubicBezTo>
                      <a:pt x="64" y="3"/>
                      <a:pt x="55" y="15"/>
                      <a:pt x="55" y="15"/>
                    </a:cubicBezTo>
                    <a:cubicBezTo>
                      <a:pt x="53" y="18"/>
                      <a:pt x="54" y="22"/>
                      <a:pt x="56" y="24"/>
                    </a:cubicBezTo>
                    <a:cubicBezTo>
                      <a:pt x="59" y="26"/>
                      <a:pt x="63" y="25"/>
                      <a:pt x="65" y="23"/>
                    </a:cubicBezTo>
                    <a:cubicBezTo>
                      <a:pt x="65" y="22"/>
                      <a:pt x="69" y="17"/>
                      <a:pt x="74" y="14"/>
                    </a:cubicBezTo>
                    <a:cubicBezTo>
                      <a:pt x="77" y="22"/>
                      <a:pt x="78" y="39"/>
                      <a:pt x="63" y="56"/>
                    </a:cubicBezTo>
                    <a:cubicBezTo>
                      <a:pt x="59" y="28"/>
                      <a:pt x="45" y="18"/>
                      <a:pt x="33" y="14"/>
                    </a:cubicBezTo>
                    <a:cubicBezTo>
                      <a:pt x="30" y="13"/>
                      <a:pt x="27" y="14"/>
                      <a:pt x="26" y="17"/>
                    </a:cubicBezTo>
                    <a:cubicBezTo>
                      <a:pt x="21" y="28"/>
                      <a:pt x="16" y="53"/>
                      <a:pt x="36" y="67"/>
                    </a:cubicBezTo>
                    <a:cubicBezTo>
                      <a:pt x="39" y="69"/>
                      <a:pt x="43" y="68"/>
                      <a:pt x="44" y="66"/>
                    </a:cubicBezTo>
                    <a:cubicBezTo>
                      <a:pt x="46" y="63"/>
                      <a:pt x="46" y="59"/>
                      <a:pt x="43" y="57"/>
                    </a:cubicBezTo>
                    <a:cubicBezTo>
                      <a:pt x="31" y="49"/>
                      <a:pt x="33" y="35"/>
                      <a:pt x="35" y="27"/>
                    </a:cubicBezTo>
                    <a:cubicBezTo>
                      <a:pt x="46" y="34"/>
                      <a:pt x="52" y="49"/>
                      <a:pt x="53" y="70"/>
                    </a:cubicBezTo>
                    <a:cubicBezTo>
                      <a:pt x="52" y="71"/>
                      <a:pt x="52" y="71"/>
                      <a:pt x="52" y="71"/>
                    </a:cubicBezTo>
                    <a:cubicBezTo>
                      <a:pt x="49" y="77"/>
                      <a:pt x="46" y="82"/>
                      <a:pt x="34" y="86"/>
                    </a:cubicBezTo>
                    <a:cubicBezTo>
                      <a:pt x="28" y="88"/>
                      <a:pt x="22" y="89"/>
                      <a:pt x="17" y="90"/>
                    </a:cubicBezTo>
                    <a:cubicBezTo>
                      <a:pt x="14" y="91"/>
                      <a:pt x="12" y="91"/>
                      <a:pt x="10" y="92"/>
                    </a:cubicBezTo>
                    <a:cubicBezTo>
                      <a:pt x="4" y="94"/>
                      <a:pt x="0" y="99"/>
                      <a:pt x="0" y="105"/>
                    </a:cubicBezTo>
                    <a:cubicBezTo>
                      <a:pt x="0" y="112"/>
                      <a:pt x="5" y="117"/>
                      <a:pt x="14" y="119"/>
                    </a:cubicBezTo>
                    <a:cubicBezTo>
                      <a:pt x="14" y="120"/>
                      <a:pt x="14" y="120"/>
                      <a:pt x="14" y="120"/>
                    </a:cubicBezTo>
                    <a:cubicBezTo>
                      <a:pt x="15" y="120"/>
                      <a:pt x="17" y="120"/>
                      <a:pt x="21" y="120"/>
                    </a:cubicBezTo>
                    <a:cubicBezTo>
                      <a:pt x="28" y="120"/>
                      <a:pt x="38" y="119"/>
                      <a:pt x="49" y="113"/>
                    </a:cubicBezTo>
                    <a:cubicBezTo>
                      <a:pt x="48" y="119"/>
                      <a:pt x="47" y="124"/>
                      <a:pt x="46" y="124"/>
                    </a:cubicBezTo>
                    <a:cubicBezTo>
                      <a:pt x="46" y="125"/>
                      <a:pt x="46" y="125"/>
                      <a:pt x="46" y="126"/>
                    </a:cubicBezTo>
                    <a:cubicBezTo>
                      <a:pt x="46" y="129"/>
                      <a:pt x="48" y="131"/>
                      <a:pt x="51" y="132"/>
                    </a:cubicBezTo>
                    <a:cubicBezTo>
                      <a:pt x="52" y="132"/>
                      <a:pt x="52" y="132"/>
                      <a:pt x="52" y="132"/>
                    </a:cubicBezTo>
                    <a:cubicBezTo>
                      <a:pt x="55" y="132"/>
                      <a:pt x="57" y="130"/>
                      <a:pt x="58" y="127"/>
                    </a:cubicBezTo>
                    <a:cubicBezTo>
                      <a:pt x="58" y="127"/>
                      <a:pt x="59" y="123"/>
                      <a:pt x="60" y="117"/>
                    </a:cubicBezTo>
                    <a:cubicBezTo>
                      <a:pt x="72" y="132"/>
                      <a:pt x="88" y="134"/>
                      <a:pt x="88" y="134"/>
                    </a:cubicBezTo>
                    <a:cubicBezTo>
                      <a:pt x="90" y="135"/>
                      <a:pt x="91" y="135"/>
                      <a:pt x="92" y="135"/>
                    </a:cubicBezTo>
                    <a:cubicBezTo>
                      <a:pt x="99" y="135"/>
                      <a:pt x="104" y="132"/>
                      <a:pt x="106" y="126"/>
                    </a:cubicBezTo>
                    <a:cubicBezTo>
                      <a:pt x="107" y="124"/>
                      <a:pt x="108" y="122"/>
                      <a:pt x="107" y="120"/>
                    </a:cubicBezTo>
                    <a:cubicBezTo>
                      <a:pt x="109" y="120"/>
                      <a:pt x="111" y="120"/>
                      <a:pt x="111" y="120"/>
                    </a:cubicBezTo>
                    <a:cubicBezTo>
                      <a:pt x="112" y="119"/>
                      <a:pt x="112" y="119"/>
                      <a:pt x="112" y="119"/>
                    </a:cubicBezTo>
                    <a:cubicBezTo>
                      <a:pt x="120" y="117"/>
                      <a:pt x="125" y="112"/>
                      <a:pt x="125" y="105"/>
                    </a:cubicBezTo>
                    <a:cubicBezTo>
                      <a:pt x="126" y="99"/>
                      <a:pt x="122" y="94"/>
                      <a:pt x="115" y="92"/>
                    </a:cubicBezTo>
                    <a:close/>
                    <a:moveTo>
                      <a:pt x="107" y="52"/>
                    </a:moveTo>
                    <a:cubicBezTo>
                      <a:pt x="105" y="56"/>
                      <a:pt x="102" y="59"/>
                      <a:pt x="98" y="61"/>
                    </a:cubicBezTo>
                    <a:cubicBezTo>
                      <a:pt x="89" y="66"/>
                      <a:pt x="78" y="65"/>
                      <a:pt x="73" y="64"/>
                    </a:cubicBezTo>
                    <a:cubicBezTo>
                      <a:pt x="76" y="60"/>
                      <a:pt x="78" y="57"/>
                      <a:pt x="80" y="54"/>
                    </a:cubicBezTo>
                    <a:cubicBezTo>
                      <a:pt x="91" y="46"/>
                      <a:pt x="101" y="49"/>
                      <a:pt x="107" y="52"/>
                    </a:cubicBezTo>
                    <a:close/>
                    <a:moveTo>
                      <a:pt x="17" y="108"/>
                    </a:moveTo>
                    <a:cubicBezTo>
                      <a:pt x="13" y="107"/>
                      <a:pt x="12" y="105"/>
                      <a:pt x="12" y="105"/>
                    </a:cubicBezTo>
                    <a:cubicBezTo>
                      <a:pt x="12" y="104"/>
                      <a:pt x="13" y="103"/>
                      <a:pt x="14" y="103"/>
                    </a:cubicBezTo>
                    <a:cubicBezTo>
                      <a:pt x="15" y="103"/>
                      <a:pt x="17" y="102"/>
                      <a:pt x="20" y="102"/>
                    </a:cubicBezTo>
                    <a:cubicBezTo>
                      <a:pt x="25" y="101"/>
                      <a:pt x="31" y="99"/>
                      <a:pt x="38" y="97"/>
                    </a:cubicBezTo>
                    <a:cubicBezTo>
                      <a:pt x="43" y="96"/>
                      <a:pt x="46" y="94"/>
                      <a:pt x="49" y="92"/>
                    </a:cubicBezTo>
                    <a:cubicBezTo>
                      <a:pt x="50" y="93"/>
                      <a:pt x="50" y="95"/>
                      <a:pt x="51" y="97"/>
                    </a:cubicBezTo>
                    <a:cubicBezTo>
                      <a:pt x="36" y="110"/>
                      <a:pt x="19" y="108"/>
                      <a:pt x="17" y="108"/>
                    </a:cubicBezTo>
                    <a:close/>
                    <a:moveTo>
                      <a:pt x="95" y="121"/>
                    </a:moveTo>
                    <a:cubicBezTo>
                      <a:pt x="95" y="122"/>
                      <a:pt x="93" y="123"/>
                      <a:pt x="90" y="123"/>
                    </a:cubicBezTo>
                    <a:cubicBezTo>
                      <a:pt x="90" y="123"/>
                      <a:pt x="72" y="120"/>
                      <a:pt x="64" y="100"/>
                    </a:cubicBezTo>
                    <a:cubicBezTo>
                      <a:pt x="61" y="93"/>
                      <a:pt x="61" y="87"/>
                      <a:pt x="62" y="82"/>
                    </a:cubicBezTo>
                    <a:cubicBezTo>
                      <a:pt x="64" y="88"/>
                      <a:pt x="68" y="94"/>
                      <a:pt x="74" y="101"/>
                    </a:cubicBezTo>
                    <a:cubicBezTo>
                      <a:pt x="79" y="106"/>
                      <a:pt x="85" y="112"/>
                      <a:pt x="90" y="116"/>
                    </a:cubicBezTo>
                    <a:cubicBezTo>
                      <a:pt x="92" y="117"/>
                      <a:pt x="93" y="118"/>
                      <a:pt x="94" y="119"/>
                    </a:cubicBezTo>
                    <a:cubicBezTo>
                      <a:pt x="95" y="120"/>
                      <a:pt x="96" y="121"/>
                      <a:pt x="95" y="121"/>
                    </a:cubicBezTo>
                    <a:close/>
                    <a:moveTo>
                      <a:pt x="109" y="108"/>
                    </a:moveTo>
                    <a:cubicBezTo>
                      <a:pt x="108" y="108"/>
                      <a:pt x="106" y="108"/>
                      <a:pt x="102" y="108"/>
                    </a:cubicBezTo>
                    <a:cubicBezTo>
                      <a:pt x="101" y="108"/>
                      <a:pt x="101" y="108"/>
                      <a:pt x="100" y="109"/>
                    </a:cubicBezTo>
                    <a:cubicBezTo>
                      <a:pt x="100" y="108"/>
                      <a:pt x="99" y="107"/>
                      <a:pt x="98" y="106"/>
                    </a:cubicBezTo>
                    <a:cubicBezTo>
                      <a:pt x="94" y="103"/>
                      <a:pt x="90" y="100"/>
                      <a:pt x="86" y="96"/>
                    </a:cubicBezTo>
                    <a:cubicBezTo>
                      <a:pt x="93" y="99"/>
                      <a:pt x="101" y="101"/>
                      <a:pt x="106" y="102"/>
                    </a:cubicBezTo>
                    <a:cubicBezTo>
                      <a:pt x="109" y="102"/>
                      <a:pt x="111" y="103"/>
                      <a:pt x="112" y="103"/>
                    </a:cubicBezTo>
                    <a:cubicBezTo>
                      <a:pt x="113" y="103"/>
                      <a:pt x="113" y="104"/>
                      <a:pt x="113" y="105"/>
                    </a:cubicBezTo>
                    <a:cubicBezTo>
                      <a:pt x="113" y="105"/>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67">
                <a:extLst>
                  <a:ext uri="{FF2B5EF4-FFF2-40B4-BE49-F238E27FC236}">
                    <a16:creationId xmlns:a16="http://schemas.microsoft.com/office/drawing/2014/main" id="{12E9629D-5187-4A8D-B933-53DC8F0AECDE}"/>
                  </a:ext>
                </a:extLst>
              </p:cNvPr>
              <p:cNvSpPr>
                <a:spLocks noEditPoints="1"/>
              </p:cNvSpPr>
              <p:nvPr/>
            </p:nvSpPr>
            <p:spPr bwMode="auto">
              <a:xfrm>
                <a:off x="14677391" y="2673350"/>
                <a:ext cx="533400" cy="573088"/>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6 w 126"/>
                  <a:gd name="T11" fmla="*/ 24 h 135"/>
                  <a:gd name="T12" fmla="*/ 75 w 126"/>
                  <a:gd name="T13" fmla="*/ 14 h 135"/>
                  <a:gd name="T14" fmla="*/ 33 w 126"/>
                  <a:gd name="T15" fmla="*/ 14 h 135"/>
                  <a:gd name="T16" fmla="*/ 36 w 126"/>
                  <a:gd name="T17" fmla="*/ 67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4 h 135"/>
                  <a:gd name="T32" fmla="*/ 52 w 126"/>
                  <a:gd name="T33" fmla="*/ 132 h 135"/>
                  <a:gd name="T34" fmla="*/ 60 w 126"/>
                  <a:gd name="T35" fmla="*/ 118 h 135"/>
                  <a:gd name="T36" fmla="*/ 92 w 126"/>
                  <a:gd name="T37" fmla="*/ 135 h 135"/>
                  <a:gd name="T38" fmla="*/ 108 w 126"/>
                  <a:gd name="T39" fmla="*/ 120 h 135"/>
                  <a:gd name="T40" fmla="*/ 112 w 126"/>
                  <a:gd name="T41" fmla="*/ 120 h 135"/>
                  <a:gd name="T42" fmla="*/ 116 w 126"/>
                  <a:gd name="T43" fmla="*/ 92 h 135"/>
                  <a:gd name="T44" fmla="*/ 98 w 126"/>
                  <a:gd name="T45" fmla="*/ 62 h 135"/>
                  <a:gd name="T46" fmla="*/ 80 w 126"/>
                  <a:gd name="T47" fmla="*/ 54 h 135"/>
                  <a:gd name="T48" fmla="*/ 17 w 126"/>
                  <a:gd name="T49" fmla="*/ 108 h 135"/>
                  <a:gd name="T50" fmla="*/ 14 w 126"/>
                  <a:gd name="T51" fmla="*/ 103 h 135"/>
                  <a:gd name="T52" fmla="*/ 38 w 126"/>
                  <a:gd name="T53" fmla="*/ 97 h 135"/>
                  <a:gd name="T54" fmla="*/ 51 w 126"/>
                  <a:gd name="T55" fmla="*/ 97 h 135"/>
                  <a:gd name="T56" fmla="*/ 96 w 126"/>
                  <a:gd name="T57" fmla="*/ 122 h 135"/>
                  <a:gd name="T58" fmla="*/ 64 w 126"/>
                  <a:gd name="T59" fmla="*/ 100 h 135"/>
                  <a:gd name="T60" fmla="*/ 74 w 126"/>
                  <a:gd name="T61" fmla="*/ 101 h 135"/>
                  <a:gd name="T62" fmla="*/ 95 w 126"/>
                  <a:gd name="T63" fmla="*/ 119 h 135"/>
                  <a:gd name="T64" fmla="*/ 109 w 126"/>
                  <a:gd name="T65" fmla="*/ 108 h 135"/>
                  <a:gd name="T66" fmla="*/ 101 w 126"/>
                  <a:gd name="T67" fmla="*/ 109 h 135"/>
                  <a:gd name="T68" fmla="*/ 86 w 126"/>
                  <a:gd name="T69" fmla="*/ 96 h 135"/>
                  <a:gd name="T70" fmla="*/ 112 w 126"/>
                  <a:gd name="T71" fmla="*/ 103 h 135"/>
                  <a:gd name="T72" fmla="*/ 109 w 126"/>
                  <a:gd name="T73"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0"/>
                      <a:pt x="120" y="51"/>
                    </a:cubicBezTo>
                    <a:cubicBezTo>
                      <a:pt x="121" y="48"/>
                      <a:pt x="120" y="46"/>
                      <a:pt x="118" y="44"/>
                    </a:cubicBezTo>
                    <a:cubicBezTo>
                      <a:pt x="117" y="44"/>
                      <a:pt x="103" y="34"/>
                      <a:pt x="87" y="38"/>
                    </a:cubicBezTo>
                    <a:cubicBezTo>
                      <a:pt x="91" y="19"/>
                      <a:pt x="84" y="4"/>
                      <a:pt x="84" y="4"/>
                    </a:cubicBezTo>
                    <a:cubicBezTo>
                      <a:pt x="82" y="1"/>
                      <a:pt x="80" y="0"/>
                      <a:pt x="77" y="1"/>
                    </a:cubicBezTo>
                    <a:cubicBezTo>
                      <a:pt x="64" y="3"/>
                      <a:pt x="56" y="15"/>
                      <a:pt x="55" y="15"/>
                    </a:cubicBezTo>
                    <a:cubicBezTo>
                      <a:pt x="53" y="18"/>
                      <a:pt x="54" y="22"/>
                      <a:pt x="56" y="24"/>
                    </a:cubicBezTo>
                    <a:cubicBezTo>
                      <a:pt x="59" y="26"/>
                      <a:pt x="63" y="25"/>
                      <a:pt x="65" y="23"/>
                    </a:cubicBezTo>
                    <a:cubicBezTo>
                      <a:pt x="65" y="23"/>
                      <a:pt x="69" y="17"/>
                      <a:pt x="75" y="14"/>
                    </a:cubicBezTo>
                    <a:cubicBezTo>
                      <a:pt x="77" y="22"/>
                      <a:pt x="79" y="39"/>
                      <a:pt x="63" y="56"/>
                    </a:cubicBezTo>
                    <a:cubicBezTo>
                      <a:pt x="59" y="29"/>
                      <a:pt x="45" y="18"/>
                      <a:pt x="33" y="14"/>
                    </a:cubicBezTo>
                    <a:cubicBezTo>
                      <a:pt x="30" y="13"/>
                      <a:pt x="27" y="14"/>
                      <a:pt x="26" y="17"/>
                    </a:cubicBezTo>
                    <a:cubicBezTo>
                      <a:pt x="21" y="28"/>
                      <a:pt x="16" y="54"/>
                      <a:pt x="36" y="67"/>
                    </a:cubicBezTo>
                    <a:cubicBezTo>
                      <a:pt x="39" y="69"/>
                      <a:pt x="43" y="69"/>
                      <a:pt x="45" y="66"/>
                    </a:cubicBezTo>
                    <a:cubicBezTo>
                      <a:pt x="47" y="63"/>
                      <a:pt x="46" y="59"/>
                      <a:pt x="43" y="58"/>
                    </a:cubicBezTo>
                    <a:cubicBezTo>
                      <a:pt x="31" y="49"/>
                      <a:pt x="33" y="35"/>
                      <a:pt x="35" y="28"/>
                    </a:cubicBezTo>
                    <a:cubicBezTo>
                      <a:pt x="46" y="34"/>
                      <a:pt x="52" y="49"/>
                      <a:pt x="53" y="71"/>
                    </a:cubicBezTo>
                    <a:cubicBezTo>
                      <a:pt x="53" y="71"/>
                      <a:pt x="53" y="71"/>
                      <a:pt x="53" y="71"/>
                    </a:cubicBezTo>
                    <a:cubicBezTo>
                      <a:pt x="49" y="77"/>
                      <a:pt x="46" y="82"/>
                      <a:pt x="35" y="86"/>
                    </a:cubicBezTo>
                    <a:cubicBezTo>
                      <a:pt x="28" y="88"/>
                      <a:pt x="22" y="89"/>
                      <a:pt x="18" y="90"/>
                    </a:cubicBezTo>
                    <a:cubicBezTo>
                      <a:pt x="14" y="91"/>
                      <a:pt x="12" y="91"/>
                      <a:pt x="10" y="92"/>
                    </a:cubicBezTo>
                    <a:cubicBezTo>
                      <a:pt x="4" y="94"/>
                      <a:pt x="0" y="99"/>
                      <a:pt x="0" y="105"/>
                    </a:cubicBezTo>
                    <a:cubicBezTo>
                      <a:pt x="1" y="112"/>
                      <a:pt x="6" y="117"/>
                      <a:pt x="14" y="120"/>
                    </a:cubicBezTo>
                    <a:cubicBezTo>
                      <a:pt x="14" y="120"/>
                      <a:pt x="14" y="120"/>
                      <a:pt x="14" y="120"/>
                    </a:cubicBezTo>
                    <a:cubicBezTo>
                      <a:pt x="15" y="120"/>
                      <a:pt x="17" y="120"/>
                      <a:pt x="22" y="120"/>
                    </a:cubicBezTo>
                    <a:cubicBezTo>
                      <a:pt x="28" y="120"/>
                      <a:pt x="39" y="119"/>
                      <a:pt x="49" y="113"/>
                    </a:cubicBezTo>
                    <a:cubicBezTo>
                      <a:pt x="48" y="120"/>
                      <a:pt x="47" y="124"/>
                      <a:pt x="47" y="124"/>
                    </a:cubicBezTo>
                    <a:cubicBezTo>
                      <a:pt x="46" y="125"/>
                      <a:pt x="46" y="125"/>
                      <a:pt x="46" y="126"/>
                    </a:cubicBezTo>
                    <a:cubicBezTo>
                      <a:pt x="46" y="129"/>
                      <a:pt x="49" y="132"/>
                      <a:pt x="52" y="132"/>
                    </a:cubicBezTo>
                    <a:cubicBezTo>
                      <a:pt x="55" y="132"/>
                      <a:pt x="58" y="130"/>
                      <a:pt x="58" y="127"/>
                    </a:cubicBezTo>
                    <a:cubicBezTo>
                      <a:pt x="58" y="126"/>
                      <a:pt x="59" y="123"/>
                      <a:pt x="60" y="118"/>
                    </a:cubicBezTo>
                    <a:cubicBezTo>
                      <a:pt x="72" y="132"/>
                      <a:pt x="88" y="134"/>
                      <a:pt x="89" y="135"/>
                    </a:cubicBezTo>
                    <a:cubicBezTo>
                      <a:pt x="90" y="135"/>
                      <a:pt x="91" y="135"/>
                      <a:pt x="92" y="135"/>
                    </a:cubicBezTo>
                    <a:cubicBezTo>
                      <a:pt x="99" y="135"/>
                      <a:pt x="104" y="132"/>
                      <a:pt x="107" y="126"/>
                    </a:cubicBezTo>
                    <a:cubicBezTo>
                      <a:pt x="107" y="124"/>
                      <a:pt x="108" y="122"/>
                      <a:pt x="108" y="120"/>
                    </a:cubicBezTo>
                    <a:cubicBezTo>
                      <a:pt x="110" y="120"/>
                      <a:pt x="111" y="120"/>
                      <a:pt x="112" y="120"/>
                    </a:cubicBezTo>
                    <a:cubicBezTo>
                      <a:pt x="112" y="120"/>
                      <a:pt x="112" y="120"/>
                      <a:pt x="112" y="120"/>
                    </a:cubicBezTo>
                    <a:cubicBezTo>
                      <a:pt x="120" y="117"/>
                      <a:pt x="125" y="112"/>
                      <a:pt x="126" y="105"/>
                    </a:cubicBezTo>
                    <a:cubicBezTo>
                      <a:pt x="126" y="99"/>
                      <a:pt x="122" y="94"/>
                      <a:pt x="116" y="92"/>
                    </a:cubicBezTo>
                    <a:close/>
                    <a:moveTo>
                      <a:pt x="107" y="52"/>
                    </a:moveTo>
                    <a:cubicBezTo>
                      <a:pt x="105" y="56"/>
                      <a:pt x="102" y="59"/>
                      <a:pt x="98" y="62"/>
                    </a:cubicBezTo>
                    <a:cubicBezTo>
                      <a:pt x="90" y="66"/>
                      <a:pt x="79" y="65"/>
                      <a:pt x="73" y="64"/>
                    </a:cubicBezTo>
                    <a:cubicBezTo>
                      <a:pt x="76" y="60"/>
                      <a:pt x="78" y="57"/>
                      <a:pt x="80" y="54"/>
                    </a:cubicBezTo>
                    <a:cubicBezTo>
                      <a:pt x="91" y="46"/>
                      <a:pt x="102" y="49"/>
                      <a:pt x="107" y="52"/>
                    </a:cubicBezTo>
                    <a:close/>
                    <a:moveTo>
                      <a:pt x="17" y="108"/>
                    </a:moveTo>
                    <a:cubicBezTo>
                      <a:pt x="14" y="107"/>
                      <a:pt x="12" y="106"/>
                      <a:pt x="12" y="105"/>
                    </a:cubicBezTo>
                    <a:cubicBezTo>
                      <a:pt x="12" y="104"/>
                      <a:pt x="13" y="104"/>
                      <a:pt x="14" y="103"/>
                    </a:cubicBezTo>
                    <a:cubicBezTo>
                      <a:pt x="15" y="103"/>
                      <a:pt x="17" y="102"/>
                      <a:pt x="20" y="102"/>
                    </a:cubicBezTo>
                    <a:cubicBezTo>
                      <a:pt x="25" y="101"/>
                      <a:pt x="31" y="99"/>
                      <a:pt x="38" y="97"/>
                    </a:cubicBezTo>
                    <a:cubicBezTo>
                      <a:pt x="43" y="96"/>
                      <a:pt x="47" y="94"/>
                      <a:pt x="50" y="92"/>
                    </a:cubicBezTo>
                    <a:cubicBezTo>
                      <a:pt x="50" y="94"/>
                      <a:pt x="50" y="95"/>
                      <a:pt x="51" y="97"/>
                    </a:cubicBezTo>
                    <a:cubicBezTo>
                      <a:pt x="37" y="110"/>
                      <a:pt x="19" y="108"/>
                      <a:pt x="17" y="108"/>
                    </a:cubicBezTo>
                    <a:close/>
                    <a:moveTo>
                      <a:pt x="96" y="122"/>
                    </a:moveTo>
                    <a:cubicBezTo>
                      <a:pt x="95" y="122"/>
                      <a:pt x="94" y="123"/>
                      <a:pt x="90" y="123"/>
                    </a:cubicBezTo>
                    <a:cubicBezTo>
                      <a:pt x="90" y="123"/>
                      <a:pt x="72" y="120"/>
                      <a:pt x="64" y="100"/>
                    </a:cubicBezTo>
                    <a:cubicBezTo>
                      <a:pt x="61" y="93"/>
                      <a:pt x="61" y="87"/>
                      <a:pt x="62" y="82"/>
                    </a:cubicBezTo>
                    <a:cubicBezTo>
                      <a:pt x="64" y="88"/>
                      <a:pt x="68" y="95"/>
                      <a:pt x="74" y="101"/>
                    </a:cubicBezTo>
                    <a:cubicBezTo>
                      <a:pt x="79" y="107"/>
                      <a:pt x="85" y="112"/>
                      <a:pt x="90" y="116"/>
                    </a:cubicBezTo>
                    <a:cubicBezTo>
                      <a:pt x="92" y="117"/>
                      <a:pt x="93" y="118"/>
                      <a:pt x="95" y="119"/>
                    </a:cubicBezTo>
                    <a:cubicBezTo>
                      <a:pt x="96" y="120"/>
                      <a:pt x="96" y="121"/>
                      <a:pt x="96" y="122"/>
                    </a:cubicBezTo>
                    <a:close/>
                    <a:moveTo>
                      <a:pt x="109" y="108"/>
                    </a:moveTo>
                    <a:cubicBezTo>
                      <a:pt x="108" y="108"/>
                      <a:pt x="106" y="109"/>
                      <a:pt x="102" y="108"/>
                    </a:cubicBezTo>
                    <a:cubicBezTo>
                      <a:pt x="102" y="108"/>
                      <a:pt x="101" y="109"/>
                      <a:pt x="101" y="109"/>
                    </a:cubicBezTo>
                    <a:cubicBezTo>
                      <a:pt x="100" y="108"/>
                      <a:pt x="99" y="107"/>
                      <a:pt x="98" y="107"/>
                    </a:cubicBezTo>
                    <a:cubicBezTo>
                      <a:pt x="94" y="104"/>
                      <a:pt x="90" y="100"/>
                      <a:pt x="86" y="96"/>
                    </a:cubicBezTo>
                    <a:cubicBezTo>
                      <a:pt x="94" y="99"/>
                      <a:pt x="101" y="101"/>
                      <a:pt x="107" y="102"/>
                    </a:cubicBezTo>
                    <a:cubicBezTo>
                      <a:pt x="109" y="102"/>
                      <a:pt x="111" y="103"/>
                      <a:pt x="112" y="103"/>
                    </a:cubicBezTo>
                    <a:cubicBezTo>
                      <a:pt x="113" y="104"/>
                      <a:pt x="114" y="104"/>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68">
                <a:extLst>
                  <a:ext uri="{FF2B5EF4-FFF2-40B4-BE49-F238E27FC236}">
                    <a16:creationId xmlns:a16="http://schemas.microsoft.com/office/drawing/2014/main" id="{F9EA221C-1F66-4F6A-8839-7D9FD59B7438}"/>
                  </a:ext>
                </a:extLst>
              </p:cNvPr>
              <p:cNvSpPr>
                <a:spLocks noEditPoints="1"/>
              </p:cNvSpPr>
              <p:nvPr/>
            </p:nvSpPr>
            <p:spPr bwMode="auto">
              <a:xfrm>
                <a:off x="14677391" y="3827463"/>
                <a:ext cx="533400" cy="573088"/>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6 w 126"/>
                  <a:gd name="T11" fmla="*/ 24 h 135"/>
                  <a:gd name="T12" fmla="*/ 75 w 126"/>
                  <a:gd name="T13" fmla="*/ 14 h 135"/>
                  <a:gd name="T14" fmla="*/ 33 w 126"/>
                  <a:gd name="T15" fmla="*/ 14 h 135"/>
                  <a:gd name="T16" fmla="*/ 36 w 126"/>
                  <a:gd name="T17" fmla="*/ 68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5 h 135"/>
                  <a:gd name="T32" fmla="*/ 52 w 126"/>
                  <a:gd name="T33" fmla="*/ 132 h 135"/>
                  <a:gd name="T34" fmla="*/ 58 w 126"/>
                  <a:gd name="T35" fmla="*/ 128 h 135"/>
                  <a:gd name="T36" fmla="*/ 89 w 126"/>
                  <a:gd name="T37" fmla="*/ 135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6 w 126"/>
                  <a:gd name="T65" fmla="*/ 122 h 135"/>
                  <a:gd name="T66" fmla="*/ 102 w 126"/>
                  <a:gd name="T67" fmla="*/ 109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7"/>
                    </a:cubicBezTo>
                    <a:cubicBezTo>
                      <a:pt x="78" y="77"/>
                      <a:pt x="80" y="77"/>
                      <a:pt x="83" y="77"/>
                    </a:cubicBezTo>
                    <a:cubicBezTo>
                      <a:pt x="90" y="77"/>
                      <a:pt x="97" y="76"/>
                      <a:pt x="104" y="72"/>
                    </a:cubicBezTo>
                    <a:cubicBezTo>
                      <a:pt x="112" y="68"/>
                      <a:pt x="117" y="61"/>
                      <a:pt x="120" y="51"/>
                    </a:cubicBezTo>
                    <a:cubicBezTo>
                      <a:pt x="121" y="48"/>
                      <a:pt x="120" y="46"/>
                      <a:pt x="118" y="44"/>
                    </a:cubicBezTo>
                    <a:cubicBezTo>
                      <a:pt x="117" y="44"/>
                      <a:pt x="103" y="34"/>
                      <a:pt x="87" y="38"/>
                    </a:cubicBezTo>
                    <a:cubicBezTo>
                      <a:pt x="91" y="19"/>
                      <a:pt x="84" y="4"/>
                      <a:pt x="84" y="4"/>
                    </a:cubicBezTo>
                    <a:cubicBezTo>
                      <a:pt x="82" y="2"/>
                      <a:pt x="80" y="0"/>
                      <a:pt x="77" y="1"/>
                    </a:cubicBezTo>
                    <a:cubicBezTo>
                      <a:pt x="64" y="4"/>
                      <a:pt x="56" y="15"/>
                      <a:pt x="55" y="16"/>
                    </a:cubicBezTo>
                    <a:cubicBezTo>
                      <a:pt x="53" y="18"/>
                      <a:pt x="54" y="22"/>
                      <a:pt x="56" y="24"/>
                    </a:cubicBezTo>
                    <a:cubicBezTo>
                      <a:pt x="59" y="26"/>
                      <a:pt x="63" y="25"/>
                      <a:pt x="65" y="23"/>
                    </a:cubicBezTo>
                    <a:cubicBezTo>
                      <a:pt x="65" y="23"/>
                      <a:pt x="69" y="17"/>
                      <a:pt x="75" y="14"/>
                    </a:cubicBezTo>
                    <a:cubicBezTo>
                      <a:pt x="77" y="22"/>
                      <a:pt x="79" y="39"/>
                      <a:pt x="63" y="57"/>
                    </a:cubicBezTo>
                    <a:cubicBezTo>
                      <a:pt x="59" y="29"/>
                      <a:pt x="45" y="18"/>
                      <a:pt x="33" y="14"/>
                    </a:cubicBezTo>
                    <a:cubicBezTo>
                      <a:pt x="30" y="13"/>
                      <a:pt x="27" y="14"/>
                      <a:pt x="26" y="17"/>
                    </a:cubicBezTo>
                    <a:cubicBezTo>
                      <a:pt x="21" y="29"/>
                      <a:pt x="16" y="54"/>
                      <a:pt x="36" y="68"/>
                    </a:cubicBezTo>
                    <a:cubicBezTo>
                      <a:pt x="39" y="69"/>
                      <a:pt x="43" y="69"/>
                      <a:pt x="45" y="66"/>
                    </a:cubicBezTo>
                    <a:cubicBezTo>
                      <a:pt x="47" y="63"/>
                      <a:pt x="46" y="60"/>
                      <a:pt x="43" y="58"/>
                    </a:cubicBezTo>
                    <a:cubicBezTo>
                      <a:pt x="31" y="50"/>
                      <a:pt x="33" y="36"/>
                      <a:pt x="35" y="28"/>
                    </a:cubicBezTo>
                    <a:cubicBezTo>
                      <a:pt x="46" y="34"/>
                      <a:pt x="52" y="49"/>
                      <a:pt x="53" y="71"/>
                    </a:cubicBezTo>
                    <a:cubicBezTo>
                      <a:pt x="53" y="71"/>
                      <a:pt x="53" y="71"/>
                      <a:pt x="53" y="71"/>
                    </a:cubicBezTo>
                    <a:cubicBezTo>
                      <a:pt x="49" y="77"/>
                      <a:pt x="46" y="82"/>
                      <a:pt x="35" y="86"/>
                    </a:cubicBezTo>
                    <a:cubicBezTo>
                      <a:pt x="28" y="88"/>
                      <a:pt x="22" y="89"/>
                      <a:pt x="18" y="90"/>
                    </a:cubicBezTo>
                    <a:cubicBezTo>
                      <a:pt x="14" y="91"/>
                      <a:pt x="12" y="91"/>
                      <a:pt x="10" y="92"/>
                    </a:cubicBezTo>
                    <a:cubicBezTo>
                      <a:pt x="4" y="94"/>
                      <a:pt x="0" y="99"/>
                      <a:pt x="0" y="105"/>
                    </a:cubicBezTo>
                    <a:cubicBezTo>
                      <a:pt x="1" y="112"/>
                      <a:pt x="6" y="118"/>
                      <a:pt x="14" y="120"/>
                    </a:cubicBezTo>
                    <a:cubicBezTo>
                      <a:pt x="14" y="120"/>
                      <a:pt x="14" y="120"/>
                      <a:pt x="14" y="120"/>
                    </a:cubicBezTo>
                    <a:cubicBezTo>
                      <a:pt x="15" y="120"/>
                      <a:pt x="17" y="120"/>
                      <a:pt x="22" y="120"/>
                    </a:cubicBezTo>
                    <a:cubicBezTo>
                      <a:pt x="28" y="120"/>
                      <a:pt x="39" y="119"/>
                      <a:pt x="49" y="113"/>
                    </a:cubicBezTo>
                    <a:cubicBezTo>
                      <a:pt x="48" y="120"/>
                      <a:pt x="47" y="124"/>
                      <a:pt x="47" y="125"/>
                    </a:cubicBezTo>
                    <a:cubicBezTo>
                      <a:pt x="46" y="125"/>
                      <a:pt x="46" y="126"/>
                      <a:pt x="46" y="126"/>
                    </a:cubicBezTo>
                    <a:cubicBezTo>
                      <a:pt x="46" y="129"/>
                      <a:pt x="49" y="132"/>
                      <a:pt x="52" y="132"/>
                    </a:cubicBezTo>
                    <a:cubicBezTo>
                      <a:pt x="52" y="132"/>
                      <a:pt x="52" y="132"/>
                      <a:pt x="52" y="132"/>
                    </a:cubicBezTo>
                    <a:cubicBezTo>
                      <a:pt x="55" y="132"/>
                      <a:pt x="58" y="130"/>
                      <a:pt x="58" y="128"/>
                    </a:cubicBezTo>
                    <a:cubicBezTo>
                      <a:pt x="58" y="127"/>
                      <a:pt x="59" y="123"/>
                      <a:pt x="60" y="118"/>
                    </a:cubicBezTo>
                    <a:cubicBezTo>
                      <a:pt x="72" y="132"/>
                      <a:pt x="88" y="135"/>
                      <a:pt x="89" y="135"/>
                    </a:cubicBezTo>
                    <a:cubicBezTo>
                      <a:pt x="90" y="135"/>
                      <a:pt x="91" y="135"/>
                      <a:pt x="92" y="135"/>
                    </a:cubicBezTo>
                    <a:cubicBezTo>
                      <a:pt x="99" y="135"/>
                      <a:pt x="104" y="132"/>
                      <a:pt x="107" y="126"/>
                    </a:cubicBezTo>
                    <a:cubicBezTo>
                      <a:pt x="107" y="125"/>
                      <a:pt x="108" y="122"/>
                      <a:pt x="108" y="120"/>
                    </a:cubicBezTo>
                    <a:cubicBezTo>
                      <a:pt x="110" y="120"/>
                      <a:pt x="111" y="120"/>
                      <a:pt x="112" y="120"/>
                    </a:cubicBezTo>
                    <a:cubicBezTo>
                      <a:pt x="112" y="120"/>
                      <a:pt x="112" y="120"/>
                      <a:pt x="112" y="120"/>
                    </a:cubicBezTo>
                    <a:cubicBezTo>
                      <a:pt x="120" y="118"/>
                      <a:pt x="125" y="112"/>
                      <a:pt x="126" y="105"/>
                    </a:cubicBezTo>
                    <a:cubicBezTo>
                      <a:pt x="126" y="99"/>
                      <a:pt x="122" y="94"/>
                      <a:pt x="116" y="92"/>
                    </a:cubicBezTo>
                    <a:close/>
                    <a:moveTo>
                      <a:pt x="107" y="52"/>
                    </a:moveTo>
                    <a:cubicBezTo>
                      <a:pt x="105" y="56"/>
                      <a:pt x="102" y="60"/>
                      <a:pt x="98" y="62"/>
                    </a:cubicBezTo>
                    <a:cubicBezTo>
                      <a:pt x="90" y="66"/>
                      <a:pt x="79" y="65"/>
                      <a:pt x="73" y="64"/>
                    </a:cubicBezTo>
                    <a:cubicBezTo>
                      <a:pt x="76" y="61"/>
                      <a:pt x="78" y="57"/>
                      <a:pt x="80" y="54"/>
                    </a:cubicBezTo>
                    <a:cubicBezTo>
                      <a:pt x="91" y="46"/>
                      <a:pt x="102" y="49"/>
                      <a:pt x="107" y="52"/>
                    </a:cubicBezTo>
                    <a:close/>
                    <a:moveTo>
                      <a:pt x="17" y="108"/>
                    </a:moveTo>
                    <a:cubicBezTo>
                      <a:pt x="14" y="107"/>
                      <a:pt x="12" y="106"/>
                      <a:pt x="12" y="105"/>
                    </a:cubicBezTo>
                    <a:cubicBezTo>
                      <a:pt x="12" y="105"/>
                      <a:pt x="13" y="104"/>
                      <a:pt x="14" y="103"/>
                    </a:cubicBezTo>
                    <a:cubicBezTo>
                      <a:pt x="15" y="103"/>
                      <a:pt x="17" y="103"/>
                      <a:pt x="20" y="102"/>
                    </a:cubicBezTo>
                    <a:cubicBezTo>
                      <a:pt x="25" y="101"/>
                      <a:pt x="31" y="100"/>
                      <a:pt x="38" y="97"/>
                    </a:cubicBezTo>
                    <a:cubicBezTo>
                      <a:pt x="43" y="96"/>
                      <a:pt x="47" y="94"/>
                      <a:pt x="50" y="92"/>
                    </a:cubicBezTo>
                    <a:cubicBezTo>
                      <a:pt x="50" y="94"/>
                      <a:pt x="50" y="96"/>
                      <a:pt x="51" y="98"/>
                    </a:cubicBezTo>
                    <a:cubicBezTo>
                      <a:pt x="37" y="110"/>
                      <a:pt x="19" y="108"/>
                      <a:pt x="17" y="108"/>
                    </a:cubicBezTo>
                    <a:close/>
                    <a:moveTo>
                      <a:pt x="96" y="122"/>
                    </a:moveTo>
                    <a:cubicBezTo>
                      <a:pt x="95" y="122"/>
                      <a:pt x="94" y="123"/>
                      <a:pt x="90" y="123"/>
                    </a:cubicBezTo>
                    <a:cubicBezTo>
                      <a:pt x="90" y="123"/>
                      <a:pt x="72" y="120"/>
                      <a:pt x="64" y="101"/>
                    </a:cubicBezTo>
                    <a:cubicBezTo>
                      <a:pt x="61" y="93"/>
                      <a:pt x="61" y="87"/>
                      <a:pt x="62" y="82"/>
                    </a:cubicBezTo>
                    <a:cubicBezTo>
                      <a:pt x="64" y="88"/>
                      <a:pt x="68" y="95"/>
                      <a:pt x="74" y="101"/>
                    </a:cubicBezTo>
                    <a:cubicBezTo>
                      <a:pt x="79" y="107"/>
                      <a:pt x="85" y="112"/>
                      <a:pt x="90" y="116"/>
                    </a:cubicBezTo>
                    <a:cubicBezTo>
                      <a:pt x="92" y="117"/>
                      <a:pt x="93" y="118"/>
                      <a:pt x="95" y="119"/>
                    </a:cubicBezTo>
                    <a:cubicBezTo>
                      <a:pt x="96" y="120"/>
                      <a:pt x="96" y="121"/>
                      <a:pt x="96" y="122"/>
                    </a:cubicBezTo>
                    <a:close/>
                    <a:moveTo>
                      <a:pt x="109" y="108"/>
                    </a:moveTo>
                    <a:cubicBezTo>
                      <a:pt x="108" y="108"/>
                      <a:pt x="106" y="109"/>
                      <a:pt x="102" y="109"/>
                    </a:cubicBezTo>
                    <a:cubicBezTo>
                      <a:pt x="102" y="109"/>
                      <a:pt x="101" y="109"/>
                      <a:pt x="101" y="109"/>
                    </a:cubicBezTo>
                    <a:cubicBezTo>
                      <a:pt x="100" y="108"/>
                      <a:pt x="99" y="107"/>
                      <a:pt x="98" y="107"/>
                    </a:cubicBezTo>
                    <a:cubicBezTo>
                      <a:pt x="94" y="104"/>
                      <a:pt x="90" y="100"/>
                      <a:pt x="86" y="96"/>
                    </a:cubicBezTo>
                    <a:cubicBezTo>
                      <a:pt x="94" y="99"/>
                      <a:pt x="101" y="101"/>
                      <a:pt x="107" y="102"/>
                    </a:cubicBezTo>
                    <a:cubicBezTo>
                      <a:pt x="109" y="103"/>
                      <a:pt x="111" y="103"/>
                      <a:pt x="112" y="103"/>
                    </a:cubicBezTo>
                    <a:cubicBezTo>
                      <a:pt x="113" y="104"/>
                      <a:pt x="114" y="105"/>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69">
                <a:extLst>
                  <a:ext uri="{FF2B5EF4-FFF2-40B4-BE49-F238E27FC236}">
                    <a16:creationId xmlns:a16="http://schemas.microsoft.com/office/drawing/2014/main" id="{6F7F02C3-6AE3-40C4-826D-077614ACF3E9}"/>
                  </a:ext>
                </a:extLst>
              </p:cNvPr>
              <p:cNvSpPr>
                <a:spLocks noEditPoints="1"/>
              </p:cNvSpPr>
              <p:nvPr/>
            </p:nvSpPr>
            <p:spPr bwMode="auto">
              <a:xfrm>
                <a:off x="14677391" y="3251200"/>
                <a:ext cx="533400" cy="571500"/>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6 w 126"/>
                  <a:gd name="T11" fmla="*/ 24 h 135"/>
                  <a:gd name="T12" fmla="*/ 75 w 126"/>
                  <a:gd name="T13" fmla="*/ 14 h 135"/>
                  <a:gd name="T14" fmla="*/ 33 w 126"/>
                  <a:gd name="T15" fmla="*/ 14 h 135"/>
                  <a:gd name="T16" fmla="*/ 36 w 126"/>
                  <a:gd name="T17" fmla="*/ 68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4 h 135"/>
                  <a:gd name="T32" fmla="*/ 52 w 126"/>
                  <a:gd name="T33" fmla="*/ 132 h 135"/>
                  <a:gd name="T34" fmla="*/ 58 w 126"/>
                  <a:gd name="T35" fmla="*/ 127 h 135"/>
                  <a:gd name="T36" fmla="*/ 89 w 126"/>
                  <a:gd name="T37" fmla="*/ 135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6 w 126"/>
                  <a:gd name="T65" fmla="*/ 122 h 135"/>
                  <a:gd name="T66" fmla="*/ 102 w 126"/>
                  <a:gd name="T67" fmla="*/ 109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1"/>
                      <a:pt x="120" y="51"/>
                    </a:cubicBezTo>
                    <a:cubicBezTo>
                      <a:pt x="121" y="48"/>
                      <a:pt x="120" y="46"/>
                      <a:pt x="118" y="44"/>
                    </a:cubicBezTo>
                    <a:cubicBezTo>
                      <a:pt x="117" y="44"/>
                      <a:pt x="103" y="34"/>
                      <a:pt x="87" y="38"/>
                    </a:cubicBezTo>
                    <a:cubicBezTo>
                      <a:pt x="91" y="19"/>
                      <a:pt x="84" y="4"/>
                      <a:pt x="84" y="4"/>
                    </a:cubicBezTo>
                    <a:cubicBezTo>
                      <a:pt x="82" y="1"/>
                      <a:pt x="80" y="0"/>
                      <a:pt x="77" y="1"/>
                    </a:cubicBezTo>
                    <a:cubicBezTo>
                      <a:pt x="64" y="3"/>
                      <a:pt x="56" y="15"/>
                      <a:pt x="55" y="16"/>
                    </a:cubicBezTo>
                    <a:cubicBezTo>
                      <a:pt x="53" y="18"/>
                      <a:pt x="54" y="22"/>
                      <a:pt x="56" y="24"/>
                    </a:cubicBezTo>
                    <a:cubicBezTo>
                      <a:pt x="59" y="26"/>
                      <a:pt x="63" y="25"/>
                      <a:pt x="65" y="23"/>
                    </a:cubicBezTo>
                    <a:cubicBezTo>
                      <a:pt x="65" y="23"/>
                      <a:pt x="69" y="17"/>
                      <a:pt x="75" y="14"/>
                    </a:cubicBezTo>
                    <a:cubicBezTo>
                      <a:pt x="77" y="22"/>
                      <a:pt x="79" y="39"/>
                      <a:pt x="63" y="56"/>
                    </a:cubicBezTo>
                    <a:cubicBezTo>
                      <a:pt x="59" y="29"/>
                      <a:pt x="45" y="18"/>
                      <a:pt x="33" y="14"/>
                    </a:cubicBezTo>
                    <a:cubicBezTo>
                      <a:pt x="30" y="13"/>
                      <a:pt x="27" y="14"/>
                      <a:pt x="26" y="17"/>
                    </a:cubicBezTo>
                    <a:cubicBezTo>
                      <a:pt x="21" y="28"/>
                      <a:pt x="16" y="54"/>
                      <a:pt x="36" y="68"/>
                    </a:cubicBezTo>
                    <a:cubicBezTo>
                      <a:pt x="39" y="69"/>
                      <a:pt x="43" y="69"/>
                      <a:pt x="45" y="66"/>
                    </a:cubicBezTo>
                    <a:cubicBezTo>
                      <a:pt x="47" y="63"/>
                      <a:pt x="46" y="59"/>
                      <a:pt x="43" y="58"/>
                    </a:cubicBezTo>
                    <a:cubicBezTo>
                      <a:pt x="31" y="49"/>
                      <a:pt x="33" y="36"/>
                      <a:pt x="35" y="28"/>
                    </a:cubicBezTo>
                    <a:cubicBezTo>
                      <a:pt x="46" y="34"/>
                      <a:pt x="52" y="49"/>
                      <a:pt x="53" y="71"/>
                    </a:cubicBezTo>
                    <a:cubicBezTo>
                      <a:pt x="53" y="71"/>
                      <a:pt x="53" y="71"/>
                      <a:pt x="53" y="71"/>
                    </a:cubicBezTo>
                    <a:cubicBezTo>
                      <a:pt x="49" y="77"/>
                      <a:pt x="46" y="82"/>
                      <a:pt x="35" y="86"/>
                    </a:cubicBezTo>
                    <a:cubicBezTo>
                      <a:pt x="28" y="88"/>
                      <a:pt x="22" y="89"/>
                      <a:pt x="18" y="90"/>
                    </a:cubicBezTo>
                    <a:cubicBezTo>
                      <a:pt x="14" y="91"/>
                      <a:pt x="12" y="91"/>
                      <a:pt x="10" y="92"/>
                    </a:cubicBezTo>
                    <a:cubicBezTo>
                      <a:pt x="4" y="94"/>
                      <a:pt x="0" y="99"/>
                      <a:pt x="0" y="105"/>
                    </a:cubicBezTo>
                    <a:cubicBezTo>
                      <a:pt x="1" y="112"/>
                      <a:pt x="6" y="117"/>
                      <a:pt x="14" y="120"/>
                    </a:cubicBezTo>
                    <a:cubicBezTo>
                      <a:pt x="14" y="120"/>
                      <a:pt x="14" y="120"/>
                      <a:pt x="14" y="120"/>
                    </a:cubicBezTo>
                    <a:cubicBezTo>
                      <a:pt x="15" y="120"/>
                      <a:pt x="17" y="120"/>
                      <a:pt x="22" y="120"/>
                    </a:cubicBezTo>
                    <a:cubicBezTo>
                      <a:pt x="28" y="120"/>
                      <a:pt x="39" y="119"/>
                      <a:pt x="49" y="113"/>
                    </a:cubicBezTo>
                    <a:cubicBezTo>
                      <a:pt x="48" y="120"/>
                      <a:pt x="47" y="124"/>
                      <a:pt x="47" y="124"/>
                    </a:cubicBezTo>
                    <a:cubicBezTo>
                      <a:pt x="46" y="125"/>
                      <a:pt x="46" y="125"/>
                      <a:pt x="46" y="126"/>
                    </a:cubicBezTo>
                    <a:cubicBezTo>
                      <a:pt x="46" y="129"/>
                      <a:pt x="49" y="132"/>
                      <a:pt x="52" y="132"/>
                    </a:cubicBezTo>
                    <a:cubicBezTo>
                      <a:pt x="52" y="132"/>
                      <a:pt x="52" y="132"/>
                      <a:pt x="52" y="132"/>
                    </a:cubicBezTo>
                    <a:cubicBezTo>
                      <a:pt x="55" y="132"/>
                      <a:pt x="58" y="130"/>
                      <a:pt x="58" y="127"/>
                    </a:cubicBezTo>
                    <a:cubicBezTo>
                      <a:pt x="58" y="127"/>
                      <a:pt x="59" y="123"/>
                      <a:pt x="60" y="118"/>
                    </a:cubicBezTo>
                    <a:cubicBezTo>
                      <a:pt x="72" y="132"/>
                      <a:pt x="88" y="135"/>
                      <a:pt x="89" y="135"/>
                    </a:cubicBezTo>
                    <a:cubicBezTo>
                      <a:pt x="90" y="135"/>
                      <a:pt x="91" y="135"/>
                      <a:pt x="92" y="135"/>
                    </a:cubicBezTo>
                    <a:cubicBezTo>
                      <a:pt x="99" y="135"/>
                      <a:pt x="104" y="132"/>
                      <a:pt x="107" y="126"/>
                    </a:cubicBezTo>
                    <a:cubicBezTo>
                      <a:pt x="107" y="124"/>
                      <a:pt x="108" y="122"/>
                      <a:pt x="108" y="120"/>
                    </a:cubicBezTo>
                    <a:cubicBezTo>
                      <a:pt x="110" y="120"/>
                      <a:pt x="111" y="120"/>
                      <a:pt x="112" y="120"/>
                    </a:cubicBezTo>
                    <a:cubicBezTo>
                      <a:pt x="112" y="120"/>
                      <a:pt x="112" y="120"/>
                      <a:pt x="112" y="120"/>
                    </a:cubicBezTo>
                    <a:cubicBezTo>
                      <a:pt x="120" y="117"/>
                      <a:pt x="125" y="112"/>
                      <a:pt x="126" y="105"/>
                    </a:cubicBezTo>
                    <a:cubicBezTo>
                      <a:pt x="126" y="99"/>
                      <a:pt x="122" y="94"/>
                      <a:pt x="116" y="92"/>
                    </a:cubicBezTo>
                    <a:close/>
                    <a:moveTo>
                      <a:pt x="107" y="52"/>
                    </a:moveTo>
                    <a:cubicBezTo>
                      <a:pt x="105" y="56"/>
                      <a:pt x="102" y="59"/>
                      <a:pt x="98" y="62"/>
                    </a:cubicBezTo>
                    <a:cubicBezTo>
                      <a:pt x="90" y="66"/>
                      <a:pt x="79" y="65"/>
                      <a:pt x="73" y="64"/>
                    </a:cubicBezTo>
                    <a:cubicBezTo>
                      <a:pt x="76" y="61"/>
                      <a:pt x="78" y="57"/>
                      <a:pt x="80" y="54"/>
                    </a:cubicBezTo>
                    <a:cubicBezTo>
                      <a:pt x="91" y="46"/>
                      <a:pt x="102" y="49"/>
                      <a:pt x="107" y="52"/>
                    </a:cubicBezTo>
                    <a:close/>
                    <a:moveTo>
                      <a:pt x="17" y="108"/>
                    </a:moveTo>
                    <a:cubicBezTo>
                      <a:pt x="14" y="107"/>
                      <a:pt x="12" y="106"/>
                      <a:pt x="12" y="105"/>
                    </a:cubicBezTo>
                    <a:cubicBezTo>
                      <a:pt x="12" y="104"/>
                      <a:pt x="13" y="104"/>
                      <a:pt x="14" y="103"/>
                    </a:cubicBezTo>
                    <a:cubicBezTo>
                      <a:pt x="15" y="103"/>
                      <a:pt x="17" y="102"/>
                      <a:pt x="20" y="102"/>
                    </a:cubicBezTo>
                    <a:cubicBezTo>
                      <a:pt x="25" y="101"/>
                      <a:pt x="31" y="100"/>
                      <a:pt x="38" y="97"/>
                    </a:cubicBezTo>
                    <a:cubicBezTo>
                      <a:pt x="43" y="96"/>
                      <a:pt x="47" y="94"/>
                      <a:pt x="50" y="92"/>
                    </a:cubicBezTo>
                    <a:cubicBezTo>
                      <a:pt x="50" y="94"/>
                      <a:pt x="50" y="96"/>
                      <a:pt x="51" y="97"/>
                    </a:cubicBezTo>
                    <a:cubicBezTo>
                      <a:pt x="37" y="110"/>
                      <a:pt x="19" y="108"/>
                      <a:pt x="17" y="108"/>
                    </a:cubicBezTo>
                    <a:close/>
                    <a:moveTo>
                      <a:pt x="96" y="122"/>
                    </a:moveTo>
                    <a:cubicBezTo>
                      <a:pt x="95" y="122"/>
                      <a:pt x="94" y="123"/>
                      <a:pt x="90" y="123"/>
                    </a:cubicBezTo>
                    <a:cubicBezTo>
                      <a:pt x="90" y="123"/>
                      <a:pt x="72" y="120"/>
                      <a:pt x="64" y="101"/>
                    </a:cubicBezTo>
                    <a:cubicBezTo>
                      <a:pt x="61" y="93"/>
                      <a:pt x="61" y="87"/>
                      <a:pt x="62" y="82"/>
                    </a:cubicBezTo>
                    <a:cubicBezTo>
                      <a:pt x="64" y="88"/>
                      <a:pt x="68" y="95"/>
                      <a:pt x="74" y="101"/>
                    </a:cubicBezTo>
                    <a:cubicBezTo>
                      <a:pt x="79" y="107"/>
                      <a:pt x="85" y="112"/>
                      <a:pt x="90" y="116"/>
                    </a:cubicBezTo>
                    <a:cubicBezTo>
                      <a:pt x="92" y="117"/>
                      <a:pt x="93" y="118"/>
                      <a:pt x="95" y="119"/>
                    </a:cubicBezTo>
                    <a:cubicBezTo>
                      <a:pt x="96" y="120"/>
                      <a:pt x="96" y="121"/>
                      <a:pt x="96" y="122"/>
                    </a:cubicBezTo>
                    <a:close/>
                    <a:moveTo>
                      <a:pt x="109" y="108"/>
                    </a:moveTo>
                    <a:cubicBezTo>
                      <a:pt x="108" y="108"/>
                      <a:pt x="106" y="109"/>
                      <a:pt x="102" y="109"/>
                    </a:cubicBezTo>
                    <a:cubicBezTo>
                      <a:pt x="102" y="109"/>
                      <a:pt x="101" y="109"/>
                      <a:pt x="101" y="109"/>
                    </a:cubicBezTo>
                    <a:cubicBezTo>
                      <a:pt x="100" y="108"/>
                      <a:pt x="99" y="107"/>
                      <a:pt x="98" y="107"/>
                    </a:cubicBezTo>
                    <a:cubicBezTo>
                      <a:pt x="94" y="104"/>
                      <a:pt x="90" y="100"/>
                      <a:pt x="86" y="96"/>
                    </a:cubicBezTo>
                    <a:cubicBezTo>
                      <a:pt x="94" y="99"/>
                      <a:pt x="101" y="101"/>
                      <a:pt x="107" y="102"/>
                    </a:cubicBezTo>
                    <a:cubicBezTo>
                      <a:pt x="109" y="103"/>
                      <a:pt x="111" y="103"/>
                      <a:pt x="112" y="103"/>
                    </a:cubicBezTo>
                    <a:cubicBezTo>
                      <a:pt x="113" y="104"/>
                      <a:pt x="114" y="104"/>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70">
                <a:extLst>
                  <a:ext uri="{FF2B5EF4-FFF2-40B4-BE49-F238E27FC236}">
                    <a16:creationId xmlns:a16="http://schemas.microsoft.com/office/drawing/2014/main" id="{0A9B4C3D-D31E-48E4-B5B7-E1248C9DDE6A}"/>
                  </a:ext>
                </a:extLst>
              </p:cNvPr>
              <p:cNvSpPr>
                <a:spLocks noEditPoints="1"/>
              </p:cNvSpPr>
              <p:nvPr/>
            </p:nvSpPr>
            <p:spPr bwMode="auto">
              <a:xfrm>
                <a:off x="14677391" y="4405313"/>
                <a:ext cx="533400" cy="571500"/>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6 w 126"/>
                  <a:gd name="T11" fmla="*/ 24 h 135"/>
                  <a:gd name="T12" fmla="*/ 75 w 126"/>
                  <a:gd name="T13" fmla="*/ 14 h 135"/>
                  <a:gd name="T14" fmla="*/ 33 w 126"/>
                  <a:gd name="T15" fmla="*/ 14 h 135"/>
                  <a:gd name="T16" fmla="*/ 36 w 126"/>
                  <a:gd name="T17" fmla="*/ 67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4 h 135"/>
                  <a:gd name="T32" fmla="*/ 52 w 126"/>
                  <a:gd name="T33" fmla="*/ 132 h 135"/>
                  <a:gd name="T34" fmla="*/ 60 w 126"/>
                  <a:gd name="T35" fmla="*/ 118 h 135"/>
                  <a:gd name="T36" fmla="*/ 92 w 126"/>
                  <a:gd name="T37" fmla="*/ 135 h 135"/>
                  <a:gd name="T38" fmla="*/ 108 w 126"/>
                  <a:gd name="T39" fmla="*/ 120 h 135"/>
                  <a:gd name="T40" fmla="*/ 112 w 126"/>
                  <a:gd name="T41" fmla="*/ 120 h 135"/>
                  <a:gd name="T42" fmla="*/ 116 w 126"/>
                  <a:gd name="T43" fmla="*/ 92 h 135"/>
                  <a:gd name="T44" fmla="*/ 98 w 126"/>
                  <a:gd name="T45" fmla="*/ 62 h 135"/>
                  <a:gd name="T46" fmla="*/ 80 w 126"/>
                  <a:gd name="T47" fmla="*/ 54 h 135"/>
                  <a:gd name="T48" fmla="*/ 17 w 126"/>
                  <a:gd name="T49" fmla="*/ 108 h 135"/>
                  <a:gd name="T50" fmla="*/ 14 w 126"/>
                  <a:gd name="T51" fmla="*/ 103 h 135"/>
                  <a:gd name="T52" fmla="*/ 38 w 126"/>
                  <a:gd name="T53" fmla="*/ 97 h 135"/>
                  <a:gd name="T54" fmla="*/ 51 w 126"/>
                  <a:gd name="T55" fmla="*/ 97 h 135"/>
                  <a:gd name="T56" fmla="*/ 96 w 126"/>
                  <a:gd name="T57" fmla="*/ 122 h 135"/>
                  <a:gd name="T58" fmla="*/ 64 w 126"/>
                  <a:gd name="T59" fmla="*/ 100 h 135"/>
                  <a:gd name="T60" fmla="*/ 74 w 126"/>
                  <a:gd name="T61" fmla="*/ 101 h 135"/>
                  <a:gd name="T62" fmla="*/ 95 w 126"/>
                  <a:gd name="T63" fmla="*/ 119 h 135"/>
                  <a:gd name="T64" fmla="*/ 109 w 126"/>
                  <a:gd name="T65" fmla="*/ 108 h 135"/>
                  <a:gd name="T66" fmla="*/ 101 w 126"/>
                  <a:gd name="T67" fmla="*/ 109 h 135"/>
                  <a:gd name="T68" fmla="*/ 86 w 126"/>
                  <a:gd name="T69" fmla="*/ 96 h 135"/>
                  <a:gd name="T70" fmla="*/ 112 w 126"/>
                  <a:gd name="T71" fmla="*/ 103 h 135"/>
                  <a:gd name="T72" fmla="*/ 109 w 126"/>
                  <a:gd name="T73"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0"/>
                      <a:pt x="120" y="51"/>
                    </a:cubicBezTo>
                    <a:cubicBezTo>
                      <a:pt x="121" y="48"/>
                      <a:pt x="120" y="46"/>
                      <a:pt x="118" y="44"/>
                    </a:cubicBezTo>
                    <a:cubicBezTo>
                      <a:pt x="117" y="44"/>
                      <a:pt x="103" y="34"/>
                      <a:pt x="87" y="38"/>
                    </a:cubicBezTo>
                    <a:cubicBezTo>
                      <a:pt x="91" y="19"/>
                      <a:pt x="84" y="4"/>
                      <a:pt x="84" y="4"/>
                    </a:cubicBezTo>
                    <a:cubicBezTo>
                      <a:pt x="82" y="1"/>
                      <a:pt x="80" y="0"/>
                      <a:pt x="77" y="1"/>
                    </a:cubicBezTo>
                    <a:cubicBezTo>
                      <a:pt x="64" y="3"/>
                      <a:pt x="56" y="15"/>
                      <a:pt x="55" y="15"/>
                    </a:cubicBezTo>
                    <a:cubicBezTo>
                      <a:pt x="53" y="18"/>
                      <a:pt x="54" y="22"/>
                      <a:pt x="56" y="24"/>
                    </a:cubicBezTo>
                    <a:cubicBezTo>
                      <a:pt x="59" y="26"/>
                      <a:pt x="63" y="25"/>
                      <a:pt x="65" y="23"/>
                    </a:cubicBezTo>
                    <a:cubicBezTo>
                      <a:pt x="65" y="23"/>
                      <a:pt x="69" y="17"/>
                      <a:pt x="75" y="14"/>
                    </a:cubicBezTo>
                    <a:cubicBezTo>
                      <a:pt x="77" y="22"/>
                      <a:pt x="79" y="39"/>
                      <a:pt x="63" y="56"/>
                    </a:cubicBezTo>
                    <a:cubicBezTo>
                      <a:pt x="59" y="29"/>
                      <a:pt x="45" y="18"/>
                      <a:pt x="33" y="14"/>
                    </a:cubicBezTo>
                    <a:cubicBezTo>
                      <a:pt x="30" y="13"/>
                      <a:pt x="27" y="14"/>
                      <a:pt x="26" y="17"/>
                    </a:cubicBezTo>
                    <a:cubicBezTo>
                      <a:pt x="21" y="28"/>
                      <a:pt x="16" y="54"/>
                      <a:pt x="36" y="67"/>
                    </a:cubicBezTo>
                    <a:cubicBezTo>
                      <a:pt x="39" y="69"/>
                      <a:pt x="43" y="69"/>
                      <a:pt x="45" y="66"/>
                    </a:cubicBezTo>
                    <a:cubicBezTo>
                      <a:pt x="47" y="63"/>
                      <a:pt x="46" y="59"/>
                      <a:pt x="43" y="58"/>
                    </a:cubicBezTo>
                    <a:cubicBezTo>
                      <a:pt x="31" y="49"/>
                      <a:pt x="33" y="35"/>
                      <a:pt x="35" y="28"/>
                    </a:cubicBezTo>
                    <a:cubicBezTo>
                      <a:pt x="46" y="34"/>
                      <a:pt x="52" y="49"/>
                      <a:pt x="53" y="71"/>
                    </a:cubicBezTo>
                    <a:cubicBezTo>
                      <a:pt x="53" y="71"/>
                      <a:pt x="53" y="71"/>
                      <a:pt x="53" y="71"/>
                    </a:cubicBezTo>
                    <a:cubicBezTo>
                      <a:pt x="49" y="77"/>
                      <a:pt x="46" y="82"/>
                      <a:pt x="35" y="86"/>
                    </a:cubicBezTo>
                    <a:cubicBezTo>
                      <a:pt x="28" y="88"/>
                      <a:pt x="22" y="89"/>
                      <a:pt x="18" y="90"/>
                    </a:cubicBezTo>
                    <a:cubicBezTo>
                      <a:pt x="14" y="91"/>
                      <a:pt x="12" y="91"/>
                      <a:pt x="10" y="92"/>
                    </a:cubicBezTo>
                    <a:cubicBezTo>
                      <a:pt x="4" y="94"/>
                      <a:pt x="0" y="99"/>
                      <a:pt x="0" y="105"/>
                    </a:cubicBezTo>
                    <a:cubicBezTo>
                      <a:pt x="1" y="112"/>
                      <a:pt x="6" y="117"/>
                      <a:pt x="14" y="120"/>
                    </a:cubicBezTo>
                    <a:cubicBezTo>
                      <a:pt x="14" y="120"/>
                      <a:pt x="14" y="120"/>
                      <a:pt x="14" y="120"/>
                    </a:cubicBezTo>
                    <a:cubicBezTo>
                      <a:pt x="15" y="120"/>
                      <a:pt x="17" y="120"/>
                      <a:pt x="22" y="120"/>
                    </a:cubicBezTo>
                    <a:cubicBezTo>
                      <a:pt x="28" y="120"/>
                      <a:pt x="39" y="119"/>
                      <a:pt x="49" y="113"/>
                    </a:cubicBezTo>
                    <a:cubicBezTo>
                      <a:pt x="48" y="120"/>
                      <a:pt x="47" y="124"/>
                      <a:pt x="47" y="124"/>
                    </a:cubicBezTo>
                    <a:cubicBezTo>
                      <a:pt x="46" y="125"/>
                      <a:pt x="46" y="125"/>
                      <a:pt x="46" y="126"/>
                    </a:cubicBezTo>
                    <a:cubicBezTo>
                      <a:pt x="46" y="129"/>
                      <a:pt x="49" y="132"/>
                      <a:pt x="52" y="132"/>
                    </a:cubicBezTo>
                    <a:cubicBezTo>
                      <a:pt x="55" y="132"/>
                      <a:pt x="58" y="130"/>
                      <a:pt x="58" y="127"/>
                    </a:cubicBezTo>
                    <a:cubicBezTo>
                      <a:pt x="58" y="126"/>
                      <a:pt x="59" y="123"/>
                      <a:pt x="60" y="118"/>
                    </a:cubicBezTo>
                    <a:cubicBezTo>
                      <a:pt x="72" y="132"/>
                      <a:pt x="88" y="134"/>
                      <a:pt x="89" y="135"/>
                    </a:cubicBezTo>
                    <a:cubicBezTo>
                      <a:pt x="90" y="135"/>
                      <a:pt x="91" y="135"/>
                      <a:pt x="92" y="135"/>
                    </a:cubicBezTo>
                    <a:cubicBezTo>
                      <a:pt x="99" y="135"/>
                      <a:pt x="104" y="132"/>
                      <a:pt x="107" y="126"/>
                    </a:cubicBezTo>
                    <a:cubicBezTo>
                      <a:pt x="107" y="124"/>
                      <a:pt x="108" y="122"/>
                      <a:pt x="108" y="120"/>
                    </a:cubicBezTo>
                    <a:cubicBezTo>
                      <a:pt x="110" y="120"/>
                      <a:pt x="111" y="120"/>
                      <a:pt x="112" y="120"/>
                    </a:cubicBezTo>
                    <a:cubicBezTo>
                      <a:pt x="112" y="120"/>
                      <a:pt x="112" y="120"/>
                      <a:pt x="112" y="120"/>
                    </a:cubicBezTo>
                    <a:cubicBezTo>
                      <a:pt x="120" y="117"/>
                      <a:pt x="125" y="112"/>
                      <a:pt x="126" y="105"/>
                    </a:cubicBezTo>
                    <a:cubicBezTo>
                      <a:pt x="126" y="99"/>
                      <a:pt x="122" y="94"/>
                      <a:pt x="116" y="92"/>
                    </a:cubicBezTo>
                    <a:close/>
                    <a:moveTo>
                      <a:pt x="107" y="52"/>
                    </a:moveTo>
                    <a:cubicBezTo>
                      <a:pt x="105" y="56"/>
                      <a:pt x="102" y="59"/>
                      <a:pt x="98" y="62"/>
                    </a:cubicBezTo>
                    <a:cubicBezTo>
                      <a:pt x="90" y="66"/>
                      <a:pt x="79" y="65"/>
                      <a:pt x="73" y="64"/>
                    </a:cubicBezTo>
                    <a:cubicBezTo>
                      <a:pt x="76" y="60"/>
                      <a:pt x="78" y="57"/>
                      <a:pt x="80" y="54"/>
                    </a:cubicBezTo>
                    <a:cubicBezTo>
                      <a:pt x="91" y="46"/>
                      <a:pt x="102" y="49"/>
                      <a:pt x="107" y="52"/>
                    </a:cubicBezTo>
                    <a:close/>
                    <a:moveTo>
                      <a:pt x="17" y="108"/>
                    </a:moveTo>
                    <a:cubicBezTo>
                      <a:pt x="14" y="107"/>
                      <a:pt x="12" y="106"/>
                      <a:pt x="12" y="105"/>
                    </a:cubicBezTo>
                    <a:cubicBezTo>
                      <a:pt x="12" y="104"/>
                      <a:pt x="13" y="104"/>
                      <a:pt x="14" y="103"/>
                    </a:cubicBezTo>
                    <a:cubicBezTo>
                      <a:pt x="15" y="103"/>
                      <a:pt x="17" y="102"/>
                      <a:pt x="20" y="102"/>
                    </a:cubicBezTo>
                    <a:cubicBezTo>
                      <a:pt x="25" y="101"/>
                      <a:pt x="31" y="99"/>
                      <a:pt x="38" y="97"/>
                    </a:cubicBezTo>
                    <a:cubicBezTo>
                      <a:pt x="43" y="96"/>
                      <a:pt x="47" y="94"/>
                      <a:pt x="50" y="92"/>
                    </a:cubicBezTo>
                    <a:cubicBezTo>
                      <a:pt x="50" y="94"/>
                      <a:pt x="50" y="95"/>
                      <a:pt x="51" y="97"/>
                    </a:cubicBezTo>
                    <a:cubicBezTo>
                      <a:pt x="37" y="110"/>
                      <a:pt x="19" y="108"/>
                      <a:pt x="17" y="108"/>
                    </a:cubicBezTo>
                    <a:close/>
                    <a:moveTo>
                      <a:pt x="96" y="122"/>
                    </a:moveTo>
                    <a:cubicBezTo>
                      <a:pt x="95" y="122"/>
                      <a:pt x="94" y="123"/>
                      <a:pt x="90" y="123"/>
                    </a:cubicBezTo>
                    <a:cubicBezTo>
                      <a:pt x="90" y="123"/>
                      <a:pt x="72" y="120"/>
                      <a:pt x="64" y="100"/>
                    </a:cubicBezTo>
                    <a:cubicBezTo>
                      <a:pt x="61" y="93"/>
                      <a:pt x="61" y="87"/>
                      <a:pt x="62" y="82"/>
                    </a:cubicBezTo>
                    <a:cubicBezTo>
                      <a:pt x="64" y="88"/>
                      <a:pt x="68" y="95"/>
                      <a:pt x="74" y="101"/>
                    </a:cubicBezTo>
                    <a:cubicBezTo>
                      <a:pt x="79" y="107"/>
                      <a:pt x="85" y="112"/>
                      <a:pt x="90" y="116"/>
                    </a:cubicBezTo>
                    <a:cubicBezTo>
                      <a:pt x="92" y="117"/>
                      <a:pt x="93" y="118"/>
                      <a:pt x="95" y="119"/>
                    </a:cubicBezTo>
                    <a:cubicBezTo>
                      <a:pt x="96" y="120"/>
                      <a:pt x="96" y="121"/>
                      <a:pt x="96" y="122"/>
                    </a:cubicBezTo>
                    <a:close/>
                    <a:moveTo>
                      <a:pt x="109" y="108"/>
                    </a:moveTo>
                    <a:cubicBezTo>
                      <a:pt x="108" y="108"/>
                      <a:pt x="106" y="109"/>
                      <a:pt x="102" y="108"/>
                    </a:cubicBezTo>
                    <a:cubicBezTo>
                      <a:pt x="102" y="108"/>
                      <a:pt x="101" y="109"/>
                      <a:pt x="101" y="109"/>
                    </a:cubicBezTo>
                    <a:cubicBezTo>
                      <a:pt x="100" y="108"/>
                      <a:pt x="99" y="107"/>
                      <a:pt x="98" y="107"/>
                    </a:cubicBezTo>
                    <a:cubicBezTo>
                      <a:pt x="94" y="104"/>
                      <a:pt x="90" y="100"/>
                      <a:pt x="86" y="96"/>
                    </a:cubicBezTo>
                    <a:cubicBezTo>
                      <a:pt x="94" y="99"/>
                      <a:pt x="101" y="101"/>
                      <a:pt x="107" y="102"/>
                    </a:cubicBezTo>
                    <a:cubicBezTo>
                      <a:pt x="109" y="102"/>
                      <a:pt x="111" y="103"/>
                      <a:pt x="112" y="103"/>
                    </a:cubicBezTo>
                    <a:cubicBezTo>
                      <a:pt x="113" y="104"/>
                      <a:pt x="114" y="104"/>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71">
                <a:extLst>
                  <a:ext uri="{FF2B5EF4-FFF2-40B4-BE49-F238E27FC236}">
                    <a16:creationId xmlns:a16="http://schemas.microsoft.com/office/drawing/2014/main" id="{F10FAA5A-D54B-4FBD-9656-FA6A54FB750C}"/>
                  </a:ext>
                </a:extLst>
              </p:cNvPr>
              <p:cNvSpPr>
                <a:spLocks noEditPoints="1"/>
              </p:cNvSpPr>
              <p:nvPr/>
            </p:nvSpPr>
            <p:spPr bwMode="auto">
              <a:xfrm>
                <a:off x="15796578" y="2673350"/>
                <a:ext cx="533400" cy="573088"/>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7 w 126"/>
                  <a:gd name="T11" fmla="*/ 24 h 135"/>
                  <a:gd name="T12" fmla="*/ 75 w 126"/>
                  <a:gd name="T13" fmla="*/ 14 h 135"/>
                  <a:gd name="T14" fmla="*/ 34 w 126"/>
                  <a:gd name="T15" fmla="*/ 14 h 135"/>
                  <a:gd name="T16" fmla="*/ 36 w 126"/>
                  <a:gd name="T17" fmla="*/ 67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4 h 135"/>
                  <a:gd name="T32" fmla="*/ 53 w 126"/>
                  <a:gd name="T33" fmla="*/ 132 h 135"/>
                  <a:gd name="T34" fmla="*/ 61 w 126"/>
                  <a:gd name="T35" fmla="*/ 118 h 135"/>
                  <a:gd name="T36" fmla="*/ 92 w 126"/>
                  <a:gd name="T37" fmla="*/ 135 h 135"/>
                  <a:gd name="T38" fmla="*/ 108 w 126"/>
                  <a:gd name="T39" fmla="*/ 120 h 135"/>
                  <a:gd name="T40" fmla="*/ 112 w 126"/>
                  <a:gd name="T41" fmla="*/ 120 h 135"/>
                  <a:gd name="T42" fmla="*/ 116 w 126"/>
                  <a:gd name="T43" fmla="*/ 92 h 135"/>
                  <a:gd name="T44" fmla="*/ 98 w 126"/>
                  <a:gd name="T45" fmla="*/ 62 h 135"/>
                  <a:gd name="T46" fmla="*/ 80 w 126"/>
                  <a:gd name="T47" fmla="*/ 54 h 135"/>
                  <a:gd name="T48" fmla="*/ 17 w 126"/>
                  <a:gd name="T49" fmla="*/ 108 h 135"/>
                  <a:gd name="T50" fmla="*/ 14 w 126"/>
                  <a:gd name="T51" fmla="*/ 103 h 135"/>
                  <a:gd name="T52" fmla="*/ 38 w 126"/>
                  <a:gd name="T53" fmla="*/ 97 h 135"/>
                  <a:gd name="T54" fmla="*/ 51 w 126"/>
                  <a:gd name="T55" fmla="*/ 97 h 135"/>
                  <a:gd name="T56" fmla="*/ 96 w 126"/>
                  <a:gd name="T57" fmla="*/ 122 h 135"/>
                  <a:gd name="T58" fmla="*/ 64 w 126"/>
                  <a:gd name="T59" fmla="*/ 100 h 135"/>
                  <a:gd name="T60" fmla="*/ 74 w 126"/>
                  <a:gd name="T61" fmla="*/ 101 h 135"/>
                  <a:gd name="T62" fmla="*/ 95 w 126"/>
                  <a:gd name="T63" fmla="*/ 119 h 135"/>
                  <a:gd name="T64" fmla="*/ 96 w 126"/>
                  <a:gd name="T65" fmla="*/ 122 h 135"/>
                  <a:gd name="T66" fmla="*/ 102 w 126"/>
                  <a:gd name="T67" fmla="*/ 108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0"/>
                      <a:pt x="120" y="51"/>
                    </a:cubicBezTo>
                    <a:cubicBezTo>
                      <a:pt x="121" y="48"/>
                      <a:pt x="120" y="46"/>
                      <a:pt x="118" y="44"/>
                    </a:cubicBezTo>
                    <a:cubicBezTo>
                      <a:pt x="117" y="44"/>
                      <a:pt x="104" y="34"/>
                      <a:pt x="87" y="38"/>
                    </a:cubicBezTo>
                    <a:cubicBezTo>
                      <a:pt x="91" y="19"/>
                      <a:pt x="84" y="4"/>
                      <a:pt x="84" y="4"/>
                    </a:cubicBezTo>
                    <a:cubicBezTo>
                      <a:pt x="82" y="1"/>
                      <a:pt x="80" y="0"/>
                      <a:pt x="77" y="1"/>
                    </a:cubicBezTo>
                    <a:cubicBezTo>
                      <a:pt x="65" y="3"/>
                      <a:pt x="56" y="15"/>
                      <a:pt x="55" y="15"/>
                    </a:cubicBezTo>
                    <a:cubicBezTo>
                      <a:pt x="53" y="18"/>
                      <a:pt x="54" y="22"/>
                      <a:pt x="57" y="24"/>
                    </a:cubicBezTo>
                    <a:cubicBezTo>
                      <a:pt x="59" y="26"/>
                      <a:pt x="63" y="25"/>
                      <a:pt x="65" y="23"/>
                    </a:cubicBezTo>
                    <a:cubicBezTo>
                      <a:pt x="65" y="23"/>
                      <a:pt x="69" y="17"/>
                      <a:pt x="75" y="14"/>
                    </a:cubicBezTo>
                    <a:cubicBezTo>
                      <a:pt x="77" y="22"/>
                      <a:pt x="79" y="39"/>
                      <a:pt x="64" y="56"/>
                    </a:cubicBezTo>
                    <a:cubicBezTo>
                      <a:pt x="59" y="29"/>
                      <a:pt x="45" y="18"/>
                      <a:pt x="34" y="14"/>
                    </a:cubicBezTo>
                    <a:cubicBezTo>
                      <a:pt x="31" y="13"/>
                      <a:pt x="27" y="14"/>
                      <a:pt x="26" y="17"/>
                    </a:cubicBezTo>
                    <a:cubicBezTo>
                      <a:pt x="21" y="28"/>
                      <a:pt x="16" y="54"/>
                      <a:pt x="36" y="67"/>
                    </a:cubicBezTo>
                    <a:cubicBezTo>
                      <a:pt x="39" y="69"/>
                      <a:pt x="43" y="69"/>
                      <a:pt x="45" y="66"/>
                    </a:cubicBezTo>
                    <a:cubicBezTo>
                      <a:pt x="47" y="63"/>
                      <a:pt x="46" y="59"/>
                      <a:pt x="43" y="58"/>
                    </a:cubicBezTo>
                    <a:cubicBezTo>
                      <a:pt x="31" y="49"/>
                      <a:pt x="33" y="35"/>
                      <a:pt x="35" y="28"/>
                    </a:cubicBezTo>
                    <a:cubicBezTo>
                      <a:pt x="46" y="34"/>
                      <a:pt x="52" y="49"/>
                      <a:pt x="53" y="71"/>
                    </a:cubicBezTo>
                    <a:cubicBezTo>
                      <a:pt x="53" y="71"/>
                      <a:pt x="53" y="71"/>
                      <a:pt x="53" y="71"/>
                    </a:cubicBezTo>
                    <a:cubicBezTo>
                      <a:pt x="49" y="77"/>
                      <a:pt x="46" y="82"/>
                      <a:pt x="35" y="86"/>
                    </a:cubicBezTo>
                    <a:cubicBezTo>
                      <a:pt x="29" y="88"/>
                      <a:pt x="22" y="89"/>
                      <a:pt x="18" y="90"/>
                    </a:cubicBezTo>
                    <a:cubicBezTo>
                      <a:pt x="14" y="91"/>
                      <a:pt x="12" y="91"/>
                      <a:pt x="10" y="92"/>
                    </a:cubicBezTo>
                    <a:cubicBezTo>
                      <a:pt x="4" y="94"/>
                      <a:pt x="0" y="99"/>
                      <a:pt x="0" y="105"/>
                    </a:cubicBezTo>
                    <a:cubicBezTo>
                      <a:pt x="1" y="112"/>
                      <a:pt x="6" y="117"/>
                      <a:pt x="14" y="120"/>
                    </a:cubicBezTo>
                    <a:cubicBezTo>
                      <a:pt x="15" y="120"/>
                      <a:pt x="15" y="120"/>
                      <a:pt x="15" y="120"/>
                    </a:cubicBezTo>
                    <a:cubicBezTo>
                      <a:pt x="15" y="120"/>
                      <a:pt x="18" y="120"/>
                      <a:pt x="22" y="120"/>
                    </a:cubicBezTo>
                    <a:cubicBezTo>
                      <a:pt x="28" y="120"/>
                      <a:pt x="39" y="119"/>
                      <a:pt x="49" y="113"/>
                    </a:cubicBezTo>
                    <a:cubicBezTo>
                      <a:pt x="48" y="120"/>
                      <a:pt x="47" y="124"/>
                      <a:pt x="47" y="124"/>
                    </a:cubicBezTo>
                    <a:cubicBezTo>
                      <a:pt x="47" y="125"/>
                      <a:pt x="47" y="125"/>
                      <a:pt x="47" y="126"/>
                    </a:cubicBezTo>
                    <a:cubicBezTo>
                      <a:pt x="47" y="129"/>
                      <a:pt x="49" y="132"/>
                      <a:pt x="53" y="132"/>
                    </a:cubicBezTo>
                    <a:cubicBezTo>
                      <a:pt x="55" y="132"/>
                      <a:pt x="58" y="130"/>
                      <a:pt x="58" y="127"/>
                    </a:cubicBezTo>
                    <a:cubicBezTo>
                      <a:pt x="59" y="126"/>
                      <a:pt x="59" y="123"/>
                      <a:pt x="61" y="118"/>
                    </a:cubicBezTo>
                    <a:cubicBezTo>
                      <a:pt x="72" y="132"/>
                      <a:pt x="88" y="134"/>
                      <a:pt x="89" y="135"/>
                    </a:cubicBezTo>
                    <a:cubicBezTo>
                      <a:pt x="90" y="135"/>
                      <a:pt x="91" y="135"/>
                      <a:pt x="92" y="135"/>
                    </a:cubicBezTo>
                    <a:cubicBezTo>
                      <a:pt x="99" y="135"/>
                      <a:pt x="104" y="132"/>
                      <a:pt x="107" y="126"/>
                    </a:cubicBezTo>
                    <a:cubicBezTo>
                      <a:pt x="108" y="124"/>
                      <a:pt x="108" y="122"/>
                      <a:pt x="108" y="120"/>
                    </a:cubicBezTo>
                    <a:cubicBezTo>
                      <a:pt x="110" y="120"/>
                      <a:pt x="111" y="120"/>
                      <a:pt x="112" y="120"/>
                    </a:cubicBezTo>
                    <a:cubicBezTo>
                      <a:pt x="112" y="120"/>
                      <a:pt x="112" y="120"/>
                      <a:pt x="112" y="120"/>
                    </a:cubicBezTo>
                    <a:cubicBezTo>
                      <a:pt x="120" y="117"/>
                      <a:pt x="126" y="112"/>
                      <a:pt x="126" y="105"/>
                    </a:cubicBezTo>
                    <a:cubicBezTo>
                      <a:pt x="126" y="99"/>
                      <a:pt x="122" y="94"/>
                      <a:pt x="116" y="92"/>
                    </a:cubicBezTo>
                    <a:close/>
                    <a:moveTo>
                      <a:pt x="107" y="52"/>
                    </a:moveTo>
                    <a:cubicBezTo>
                      <a:pt x="105" y="56"/>
                      <a:pt x="102" y="59"/>
                      <a:pt x="98" y="62"/>
                    </a:cubicBezTo>
                    <a:cubicBezTo>
                      <a:pt x="90" y="66"/>
                      <a:pt x="79" y="65"/>
                      <a:pt x="73" y="64"/>
                    </a:cubicBezTo>
                    <a:cubicBezTo>
                      <a:pt x="76" y="60"/>
                      <a:pt x="78" y="57"/>
                      <a:pt x="80" y="54"/>
                    </a:cubicBezTo>
                    <a:cubicBezTo>
                      <a:pt x="91" y="46"/>
                      <a:pt x="102" y="49"/>
                      <a:pt x="107" y="52"/>
                    </a:cubicBezTo>
                    <a:close/>
                    <a:moveTo>
                      <a:pt x="17" y="108"/>
                    </a:moveTo>
                    <a:cubicBezTo>
                      <a:pt x="14" y="107"/>
                      <a:pt x="13" y="106"/>
                      <a:pt x="12" y="105"/>
                    </a:cubicBezTo>
                    <a:cubicBezTo>
                      <a:pt x="12" y="104"/>
                      <a:pt x="13" y="104"/>
                      <a:pt x="14" y="103"/>
                    </a:cubicBezTo>
                    <a:cubicBezTo>
                      <a:pt x="15" y="103"/>
                      <a:pt x="18" y="102"/>
                      <a:pt x="20" y="102"/>
                    </a:cubicBezTo>
                    <a:cubicBezTo>
                      <a:pt x="25" y="101"/>
                      <a:pt x="32" y="99"/>
                      <a:pt x="38" y="97"/>
                    </a:cubicBezTo>
                    <a:cubicBezTo>
                      <a:pt x="43" y="96"/>
                      <a:pt x="47" y="94"/>
                      <a:pt x="50" y="92"/>
                    </a:cubicBezTo>
                    <a:cubicBezTo>
                      <a:pt x="50" y="94"/>
                      <a:pt x="50" y="95"/>
                      <a:pt x="51" y="97"/>
                    </a:cubicBezTo>
                    <a:cubicBezTo>
                      <a:pt x="37" y="110"/>
                      <a:pt x="19" y="108"/>
                      <a:pt x="17" y="108"/>
                    </a:cubicBezTo>
                    <a:close/>
                    <a:moveTo>
                      <a:pt x="96" y="122"/>
                    </a:moveTo>
                    <a:cubicBezTo>
                      <a:pt x="95" y="122"/>
                      <a:pt x="94" y="123"/>
                      <a:pt x="90" y="123"/>
                    </a:cubicBezTo>
                    <a:cubicBezTo>
                      <a:pt x="90" y="123"/>
                      <a:pt x="72" y="120"/>
                      <a:pt x="64" y="100"/>
                    </a:cubicBezTo>
                    <a:cubicBezTo>
                      <a:pt x="61" y="93"/>
                      <a:pt x="61" y="87"/>
                      <a:pt x="62" y="82"/>
                    </a:cubicBezTo>
                    <a:cubicBezTo>
                      <a:pt x="64" y="88"/>
                      <a:pt x="68" y="95"/>
                      <a:pt x="74" y="101"/>
                    </a:cubicBezTo>
                    <a:cubicBezTo>
                      <a:pt x="79" y="107"/>
                      <a:pt x="85" y="112"/>
                      <a:pt x="91" y="116"/>
                    </a:cubicBezTo>
                    <a:cubicBezTo>
                      <a:pt x="92" y="117"/>
                      <a:pt x="94" y="118"/>
                      <a:pt x="95" y="119"/>
                    </a:cubicBezTo>
                    <a:cubicBezTo>
                      <a:pt x="95" y="119"/>
                      <a:pt x="95" y="119"/>
                      <a:pt x="95" y="119"/>
                    </a:cubicBezTo>
                    <a:cubicBezTo>
                      <a:pt x="96" y="120"/>
                      <a:pt x="96" y="121"/>
                      <a:pt x="96" y="122"/>
                    </a:cubicBezTo>
                    <a:close/>
                    <a:moveTo>
                      <a:pt x="109" y="108"/>
                    </a:moveTo>
                    <a:cubicBezTo>
                      <a:pt x="109" y="108"/>
                      <a:pt x="106" y="109"/>
                      <a:pt x="102" y="108"/>
                    </a:cubicBezTo>
                    <a:cubicBezTo>
                      <a:pt x="102" y="108"/>
                      <a:pt x="101" y="109"/>
                      <a:pt x="101" y="109"/>
                    </a:cubicBezTo>
                    <a:cubicBezTo>
                      <a:pt x="100" y="108"/>
                      <a:pt x="99" y="107"/>
                      <a:pt x="98" y="107"/>
                    </a:cubicBezTo>
                    <a:cubicBezTo>
                      <a:pt x="94" y="103"/>
                      <a:pt x="90" y="100"/>
                      <a:pt x="86" y="96"/>
                    </a:cubicBezTo>
                    <a:cubicBezTo>
                      <a:pt x="94" y="99"/>
                      <a:pt x="101" y="101"/>
                      <a:pt x="107" y="102"/>
                    </a:cubicBezTo>
                    <a:cubicBezTo>
                      <a:pt x="109" y="102"/>
                      <a:pt x="111" y="103"/>
                      <a:pt x="112" y="103"/>
                    </a:cubicBezTo>
                    <a:cubicBezTo>
                      <a:pt x="113" y="104"/>
                      <a:pt x="114" y="104"/>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72">
                <a:extLst>
                  <a:ext uri="{FF2B5EF4-FFF2-40B4-BE49-F238E27FC236}">
                    <a16:creationId xmlns:a16="http://schemas.microsoft.com/office/drawing/2014/main" id="{51BD88A5-B67A-4CD8-A3FF-DFF76D5285AD}"/>
                  </a:ext>
                </a:extLst>
              </p:cNvPr>
              <p:cNvSpPr>
                <a:spLocks noEditPoints="1"/>
              </p:cNvSpPr>
              <p:nvPr/>
            </p:nvSpPr>
            <p:spPr bwMode="auto">
              <a:xfrm>
                <a:off x="15796578" y="3827463"/>
                <a:ext cx="533400" cy="573088"/>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7 w 126"/>
                  <a:gd name="T11" fmla="*/ 24 h 135"/>
                  <a:gd name="T12" fmla="*/ 75 w 126"/>
                  <a:gd name="T13" fmla="*/ 14 h 135"/>
                  <a:gd name="T14" fmla="*/ 34 w 126"/>
                  <a:gd name="T15" fmla="*/ 14 h 135"/>
                  <a:gd name="T16" fmla="*/ 36 w 126"/>
                  <a:gd name="T17" fmla="*/ 68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5 h 135"/>
                  <a:gd name="T32" fmla="*/ 52 w 126"/>
                  <a:gd name="T33" fmla="*/ 132 h 135"/>
                  <a:gd name="T34" fmla="*/ 58 w 126"/>
                  <a:gd name="T35" fmla="*/ 128 h 135"/>
                  <a:gd name="T36" fmla="*/ 89 w 126"/>
                  <a:gd name="T37" fmla="*/ 135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1 w 126"/>
                  <a:gd name="T63" fmla="*/ 116 h 135"/>
                  <a:gd name="T64" fmla="*/ 95 w 126"/>
                  <a:gd name="T65" fmla="*/ 119 h 135"/>
                  <a:gd name="T66" fmla="*/ 109 w 126"/>
                  <a:gd name="T67" fmla="*/ 108 h 135"/>
                  <a:gd name="T68" fmla="*/ 101 w 126"/>
                  <a:gd name="T69" fmla="*/ 109 h 135"/>
                  <a:gd name="T70" fmla="*/ 86 w 126"/>
                  <a:gd name="T71" fmla="*/ 96 h 135"/>
                  <a:gd name="T72" fmla="*/ 112 w 126"/>
                  <a:gd name="T73" fmla="*/ 103 h 135"/>
                  <a:gd name="T74" fmla="*/ 109 w 126"/>
                  <a:gd name="T75"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35">
                    <a:moveTo>
                      <a:pt x="116" y="92"/>
                    </a:moveTo>
                    <a:cubicBezTo>
                      <a:pt x="114" y="91"/>
                      <a:pt x="112" y="91"/>
                      <a:pt x="109" y="90"/>
                    </a:cubicBezTo>
                    <a:cubicBezTo>
                      <a:pt x="100" y="88"/>
                      <a:pt x="84" y="85"/>
                      <a:pt x="75" y="77"/>
                    </a:cubicBezTo>
                    <a:cubicBezTo>
                      <a:pt x="78" y="77"/>
                      <a:pt x="80" y="77"/>
                      <a:pt x="83" y="77"/>
                    </a:cubicBezTo>
                    <a:cubicBezTo>
                      <a:pt x="90" y="77"/>
                      <a:pt x="97" y="76"/>
                      <a:pt x="104" y="72"/>
                    </a:cubicBezTo>
                    <a:cubicBezTo>
                      <a:pt x="112" y="68"/>
                      <a:pt x="117" y="61"/>
                      <a:pt x="120" y="51"/>
                    </a:cubicBezTo>
                    <a:cubicBezTo>
                      <a:pt x="121" y="48"/>
                      <a:pt x="120" y="46"/>
                      <a:pt x="118" y="44"/>
                    </a:cubicBezTo>
                    <a:cubicBezTo>
                      <a:pt x="117" y="44"/>
                      <a:pt x="104" y="34"/>
                      <a:pt x="87" y="38"/>
                    </a:cubicBezTo>
                    <a:cubicBezTo>
                      <a:pt x="91" y="19"/>
                      <a:pt x="84" y="4"/>
                      <a:pt x="84" y="4"/>
                    </a:cubicBezTo>
                    <a:cubicBezTo>
                      <a:pt x="82" y="2"/>
                      <a:pt x="80" y="0"/>
                      <a:pt x="77" y="1"/>
                    </a:cubicBezTo>
                    <a:cubicBezTo>
                      <a:pt x="65" y="4"/>
                      <a:pt x="56" y="15"/>
                      <a:pt x="55" y="16"/>
                    </a:cubicBezTo>
                    <a:cubicBezTo>
                      <a:pt x="53" y="18"/>
                      <a:pt x="54" y="22"/>
                      <a:pt x="57" y="24"/>
                    </a:cubicBezTo>
                    <a:cubicBezTo>
                      <a:pt x="59" y="26"/>
                      <a:pt x="63" y="25"/>
                      <a:pt x="65" y="23"/>
                    </a:cubicBezTo>
                    <a:cubicBezTo>
                      <a:pt x="65" y="23"/>
                      <a:pt x="69" y="17"/>
                      <a:pt x="75" y="14"/>
                    </a:cubicBezTo>
                    <a:cubicBezTo>
                      <a:pt x="77" y="22"/>
                      <a:pt x="79" y="39"/>
                      <a:pt x="64" y="57"/>
                    </a:cubicBezTo>
                    <a:cubicBezTo>
                      <a:pt x="59" y="29"/>
                      <a:pt x="45" y="18"/>
                      <a:pt x="34" y="14"/>
                    </a:cubicBezTo>
                    <a:cubicBezTo>
                      <a:pt x="31" y="13"/>
                      <a:pt x="27" y="14"/>
                      <a:pt x="26" y="17"/>
                    </a:cubicBezTo>
                    <a:cubicBezTo>
                      <a:pt x="21" y="29"/>
                      <a:pt x="16" y="54"/>
                      <a:pt x="36" y="68"/>
                    </a:cubicBezTo>
                    <a:cubicBezTo>
                      <a:pt x="39" y="69"/>
                      <a:pt x="43" y="69"/>
                      <a:pt x="45" y="66"/>
                    </a:cubicBezTo>
                    <a:cubicBezTo>
                      <a:pt x="47" y="63"/>
                      <a:pt x="46" y="60"/>
                      <a:pt x="43" y="58"/>
                    </a:cubicBezTo>
                    <a:cubicBezTo>
                      <a:pt x="31" y="50"/>
                      <a:pt x="33" y="36"/>
                      <a:pt x="35" y="28"/>
                    </a:cubicBezTo>
                    <a:cubicBezTo>
                      <a:pt x="46" y="34"/>
                      <a:pt x="52" y="49"/>
                      <a:pt x="53" y="71"/>
                    </a:cubicBezTo>
                    <a:cubicBezTo>
                      <a:pt x="53" y="71"/>
                      <a:pt x="53" y="71"/>
                      <a:pt x="53" y="71"/>
                    </a:cubicBezTo>
                    <a:cubicBezTo>
                      <a:pt x="49" y="77"/>
                      <a:pt x="46" y="82"/>
                      <a:pt x="35" y="86"/>
                    </a:cubicBezTo>
                    <a:cubicBezTo>
                      <a:pt x="29" y="88"/>
                      <a:pt x="22" y="89"/>
                      <a:pt x="18" y="90"/>
                    </a:cubicBezTo>
                    <a:cubicBezTo>
                      <a:pt x="14" y="91"/>
                      <a:pt x="12" y="91"/>
                      <a:pt x="10" y="92"/>
                    </a:cubicBezTo>
                    <a:cubicBezTo>
                      <a:pt x="4" y="94"/>
                      <a:pt x="0" y="99"/>
                      <a:pt x="0" y="105"/>
                    </a:cubicBezTo>
                    <a:cubicBezTo>
                      <a:pt x="1" y="112"/>
                      <a:pt x="6" y="118"/>
                      <a:pt x="14" y="120"/>
                    </a:cubicBezTo>
                    <a:cubicBezTo>
                      <a:pt x="15" y="120"/>
                      <a:pt x="15" y="120"/>
                      <a:pt x="15" y="120"/>
                    </a:cubicBezTo>
                    <a:cubicBezTo>
                      <a:pt x="15" y="120"/>
                      <a:pt x="18" y="120"/>
                      <a:pt x="22" y="120"/>
                    </a:cubicBezTo>
                    <a:cubicBezTo>
                      <a:pt x="28" y="120"/>
                      <a:pt x="39" y="119"/>
                      <a:pt x="49" y="113"/>
                    </a:cubicBezTo>
                    <a:cubicBezTo>
                      <a:pt x="48" y="120"/>
                      <a:pt x="47" y="124"/>
                      <a:pt x="47" y="125"/>
                    </a:cubicBezTo>
                    <a:cubicBezTo>
                      <a:pt x="47" y="125"/>
                      <a:pt x="47" y="126"/>
                      <a:pt x="47" y="126"/>
                    </a:cubicBezTo>
                    <a:cubicBezTo>
                      <a:pt x="47" y="129"/>
                      <a:pt x="49" y="132"/>
                      <a:pt x="52" y="132"/>
                    </a:cubicBezTo>
                    <a:cubicBezTo>
                      <a:pt x="53" y="132"/>
                      <a:pt x="53" y="132"/>
                      <a:pt x="53" y="132"/>
                    </a:cubicBezTo>
                    <a:cubicBezTo>
                      <a:pt x="55" y="132"/>
                      <a:pt x="58" y="130"/>
                      <a:pt x="58" y="128"/>
                    </a:cubicBezTo>
                    <a:cubicBezTo>
                      <a:pt x="59" y="127"/>
                      <a:pt x="59" y="123"/>
                      <a:pt x="61" y="118"/>
                    </a:cubicBezTo>
                    <a:cubicBezTo>
                      <a:pt x="72" y="132"/>
                      <a:pt x="88" y="135"/>
                      <a:pt x="89" y="135"/>
                    </a:cubicBezTo>
                    <a:cubicBezTo>
                      <a:pt x="90" y="135"/>
                      <a:pt x="91" y="135"/>
                      <a:pt x="92" y="135"/>
                    </a:cubicBezTo>
                    <a:cubicBezTo>
                      <a:pt x="99" y="135"/>
                      <a:pt x="104" y="132"/>
                      <a:pt x="107" y="126"/>
                    </a:cubicBezTo>
                    <a:cubicBezTo>
                      <a:pt x="108" y="125"/>
                      <a:pt x="108" y="122"/>
                      <a:pt x="108" y="120"/>
                    </a:cubicBezTo>
                    <a:cubicBezTo>
                      <a:pt x="110" y="120"/>
                      <a:pt x="111" y="120"/>
                      <a:pt x="112" y="120"/>
                    </a:cubicBezTo>
                    <a:cubicBezTo>
                      <a:pt x="112" y="120"/>
                      <a:pt x="112" y="120"/>
                      <a:pt x="112" y="120"/>
                    </a:cubicBezTo>
                    <a:cubicBezTo>
                      <a:pt x="120" y="118"/>
                      <a:pt x="126" y="112"/>
                      <a:pt x="126" y="105"/>
                    </a:cubicBezTo>
                    <a:cubicBezTo>
                      <a:pt x="126" y="99"/>
                      <a:pt x="122" y="94"/>
                      <a:pt x="116" y="92"/>
                    </a:cubicBezTo>
                    <a:close/>
                    <a:moveTo>
                      <a:pt x="107" y="52"/>
                    </a:moveTo>
                    <a:cubicBezTo>
                      <a:pt x="105" y="56"/>
                      <a:pt x="102" y="60"/>
                      <a:pt x="98" y="62"/>
                    </a:cubicBezTo>
                    <a:cubicBezTo>
                      <a:pt x="90" y="66"/>
                      <a:pt x="79" y="65"/>
                      <a:pt x="73" y="64"/>
                    </a:cubicBezTo>
                    <a:cubicBezTo>
                      <a:pt x="76" y="61"/>
                      <a:pt x="78" y="57"/>
                      <a:pt x="80" y="54"/>
                    </a:cubicBezTo>
                    <a:cubicBezTo>
                      <a:pt x="91" y="46"/>
                      <a:pt x="102" y="49"/>
                      <a:pt x="107" y="52"/>
                    </a:cubicBezTo>
                    <a:close/>
                    <a:moveTo>
                      <a:pt x="17" y="108"/>
                    </a:moveTo>
                    <a:cubicBezTo>
                      <a:pt x="14" y="107"/>
                      <a:pt x="13" y="106"/>
                      <a:pt x="12" y="105"/>
                    </a:cubicBezTo>
                    <a:cubicBezTo>
                      <a:pt x="12" y="105"/>
                      <a:pt x="13" y="104"/>
                      <a:pt x="14" y="103"/>
                    </a:cubicBezTo>
                    <a:cubicBezTo>
                      <a:pt x="15" y="103"/>
                      <a:pt x="18" y="103"/>
                      <a:pt x="20" y="102"/>
                    </a:cubicBezTo>
                    <a:cubicBezTo>
                      <a:pt x="25" y="101"/>
                      <a:pt x="32" y="100"/>
                      <a:pt x="38" y="97"/>
                    </a:cubicBezTo>
                    <a:cubicBezTo>
                      <a:pt x="43" y="96"/>
                      <a:pt x="47" y="94"/>
                      <a:pt x="50" y="92"/>
                    </a:cubicBezTo>
                    <a:cubicBezTo>
                      <a:pt x="50" y="94"/>
                      <a:pt x="50" y="96"/>
                      <a:pt x="51" y="98"/>
                    </a:cubicBezTo>
                    <a:cubicBezTo>
                      <a:pt x="37" y="110"/>
                      <a:pt x="19" y="108"/>
                      <a:pt x="17" y="108"/>
                    </a:cubicBezTo>
                    <a:close/>
                    <a:moveTo>
                      <a:pt x="96" y="122"/>
                    </a:moveTo>
                    <a:cubicBezTo>
                      <a:pt x="95" y="122"/>
                      <a:pt x="94" y="123"/>
                      <a:pt x="90" y="123"/>
                    </a:cubicBezTo>
                    <a:cubicBezTo>
                      <a:pt x="90" y="123"/>
                      <a:pt x="72" y="120"/>
                      <a:pt x="64" y="101"/>
                    </a:cubicBezTo>
                    <a:cubicBezTo>
                      <a:pt x="61" y="93"/>
                      <a:pt x="61" y="87"/>
                      <a:pt x="62" y="82"/>
                    </a:cubicBezTo>
                    <a:cubicBezTo>
                      <a:pt x="64" y="88"/>
                      <a:pt x="68" y="95"/>
                      <a:pt x="74" y="101"/>
                    </a:cubicBezTo>
                    <a:cubicBezTo>
                      <a:pt x="79" y="107"/>
                      <a:pt x="85" y="112"/>
                      <a:pt x="91" y="116"/>
                    </a:cubicBezTo>
                    <a:cubicBezTo>
                      <a:pt x="92" y="117"/>
                      <a:pt x="94" y="118"/>
                      <a:pt x="95" y="119"/>
                    </a:cubicBezTo>
                    <a:cubicBezTo>
                      <a:pt x="95" y="119"/>
                      <a:pt x="95" y="119"/>
                      <a:pt x="95" y="119"/>
                    </a:cubicBezTo>
                    <a:cubicBezTo>
                      <a:pt x="96" y="120"/>
                      <a:pt x="96" y="121"/>
                      <a:pt x="96" y="122"/>
                    </a:cubicBezTo>
                    <a:close/>
                    <a:moveTo>
                      <a:pt x="109" y="108"/>
                    </a:moveTo>
                    <a:cubicBezTo>
                      <a:pt x="109" y="108"/>
                      <a:pt x="106" y="109"/>
                      <a:pt x="102" y="109"/>
                    </a:cubicBezTo>
                    <a:cubicBezTo>
                      <a:pt x="102" y="109"/>
                      <a:pt x="101" y="109"/>
                      <a:pt x="101" y="109"/>
                    </a:cubicBezTo>
                    <a:cubicBezTo>
                      <a:pt x="100" y="108"/>
                      <a:pt x="99" y="107"/>
                      <a:pt x="98" y="107"/>
                    </a:cubicBezTo>
                    <a:cubicBezTo>
                      <a:pt x="94" y="104"/>
                      <a:pt x="90" y="100"/>
                      <a:pt x="86" y="96"/>
                    </a:cubicBezTo>
                    <a:cubicBezTo>
                      <a:pt x="94" y="99"/>
                      <a:pt x="101" y="101"/>
                      <a:pt x="107" y="102"/>
                    </a:cubicBezTo>
                    <a:cubicBezTo>
                      <a:pt x="109" y="103"/>
                      <a:pt x="111" y="103"/>
                      <a:pt x="112" y="103"/>
                    </a:cubicBezTo>
                    <a:cubicBezTo>
                      <a:pt x="113" y="104"/>
                      <a:pt x="114" y="105"/>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73">
                <a:extLst>
                  <a:ext uri="{FF2B5EF4-FFF2-40B4-BE49-F238E27FC236}">
                    <a16:creationId xmlns:a16="http://schemas.microsoft.com/office/drawing/2014/main" id="{E2CBEAE3-4F5E-44D0-8A6B-CBF1D0E0D3D5}"/>
                  </a:ext>
                </a:extLst>
              </p:cNvPr>
              <p:cNvSpPr>
                <a:spLocks noEditPoints="1"/>
              </p:cNvSpPr>
              <p:nvPr/>
            </p:nvSpPr>
            <p:spPr bwMode="auto">
              <a:xfrm>
                <a:off x="15796578" y="3251200"/>
                <a:ext cx="533400" cy="571500"/>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7 w 126"/>
                  <a:gd name="T11" fmla="*/ 24 h 135"/>
                  <a:gd name="T12" fmla="*/ 75 w 126"/>
                  <a:gd name="T13" fmla="*/ 14 h 135"/>
                  <a:gd name="T14" fmla="*/ 34 w 126"/>
                  <a:gd name="T15" fmla="*/ 14 h 135"/>
                  <a:gd name="T16" fmla="*/ 36 w 126"/>
                  <a:gd name="T17" fmla="*/ 68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4 h 135"/>
                  <a:gd name="T32" fmla="*/ 52 w 126"/>
                  <a:gd name="T33" fmla="*/ 132 h 135"/>
                  <a:gd name="T34" fmla="*/ 58 w 126"/>
                  <a:gd name="T35" fmla="*/ 127 h 135"/>
                  <a:gd name="T36" fmla="*/ 89 w 126"/>
                  <a:gd name="T37" fmla="*/ 135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1 w 126"/>
                  <a:gd name="T63" fmla="*/ 116 h 135"/>
                  <a:gd name="T64" fmla="*/ 95 w 126"/>
                  <a:gd name="T65" fmla="*/ 119 h 135"/>
                  <a:gd name="T66" fmla="*/ 109 w 126"/>
                  <a:gd name="T67" fmla="*/ 108 h 135"/>
                  <a:gd name="T68" fmla="*/ 101 w 126"/>
                  <a:gd name="T69" fmla="*/ 109 h 135"/>
                  <a:gd name="T70" fmla="*/ 86 w 126"/>
                  <a:gd name="T71" fmla="*/ 96 h 135"/>
                  <a:gd name="T72" fmla="*/ 112 w 126"/>
                  <a:gd name="T73" fmla="*/ 103 h 135"/>
                  <a:gd name="T74" fmla="*/ 109 w 126"/>
                  <a:gd name="T75"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1"/>
                      <a:pt x="120" y="51"/>
                    </a:cubicBezTo>
                    <a:cubicBezTo>
                      <a:pt x="121" y="48"/>
                      <a:pt x="120" y="46"/>
                      <a:pt x="118" y="44"/>
                    </a:cubicBezTo>
                    <a:cubicBezTo>
                      <a:pt x="117" y="44"/>
                      <a:pt x="104" y="34"/>
                      <a:pt x="87" y="38"/>
                    </a:cubicBezTo>
                    <a:cubicBezTo>
                      <a:pt x="91" y="19"/>
                      <a:pt x="84" y="4"/>
                      <a:pt x="84" y="4"/>
                    </a:cubicBezTo>
                    <a:cubicBezTo>
                      <a:pt x="82" y="1"/>
                      <a:pt x="80" y="0"/>
                      <a:pt x="77" y="1"/>
                    </a:cubicBezTo>
                    <a:cubicBezTo>
                      <a:pt x="65" y="3"/>
                      <a:pt x="56" y="15"/>
                      <a:pt x="55" y="16"/>
                    </a:cubicBezTo>
                    <a:cubicBezTo>
                      <a:pt x="53" y="18"/>
                      <a:pt x="54" y="22"/>
                      <a:pt x="57" y="24"/>
                    </a:cubicBezTo>
                    <a:cubicBezTo>
                      <a:pt x="59" y="26"/>
                      <a:pt x="63" y="25"/>
                      <a:pt x="65" y="23"/>
                    </a:cubicBezTo>
                    <a:cubicBezTo>
                      <a:pt x="65" y="23"/>
                      <a:pt x="69" y="17"/>
                      <a:pt x="75" y="14"/>
                    </a:cubicBezTo>
                    <a:cubicBezTo>
                      <a:pt x="77" y="22"/>
                      <a:pt x="79" y="39"/>
                      <a:pt x="64" y="56"/>
                    </a:cubicBezTo>
                    <a:cubicBezTo>
                      <a:pt x="59" y="29"/>
                      <a:pt x="45" y="18"/>
                      <a:pt x="34" y="14"/>
                    </a:cubicBezTo>
                    <a:cubicBezTo>
                      <a:pt x="31" y="13"/>
                      <a:pt x="27" y="14"/>
                      <a:pt x="26" y="17"/>
                    </a:cubicBezTo>
                    <a:cubicBezTo>
                      <a:pt x="21" y="28"/>
                      <a:pt x="16" y="54"/>
                      <a:pt x="36" y="68"/>
                    </a:cubicBezTo>
                    <a:cubicBezTo>
                      <a:pt x="39" y="69"/>
                      <a:pt x="43" y="69"/>
                      <a:pt x="45" y="66"/>
                    </a:cubicBezTo>
                    <a:cubicBezTo>
                      <a:pt x="47" y="63"/>
                      <a:pt x="46" y="59"/>
                      <a:pt x="43" y="58"/>
                    </a:cubicBezTo>
                    <a:cubicBezTo>
                      <a:pt x="31" y="49"/>
                      <a:pt x="33" y="36"/>
                      <a:pt x="35" y="28"/>
                    </a:cubicBezTo>
                    <a:cubicBezTo>
                      <a:pt x="46" y="34"/>
                      <a:pt x="52" y="49"/>
                      <a:pt x="53" y="71"/>
                    </a:cubicBezTo>
                    <a:cubicBezTo>
                      <a:pt x="53" y="71"/>
                      <a:pt x="53" y="71"/>
                      <a:pt x="53" y="71"/>
                    </a:cubicBezTo>
                    <a:cubicBezTo>
                      <a:pt x="49" y="77"/>
                      <a:pt x="46" y="82"/>
                      <a:pt x="35" y="86"/>
                    </a:cubicBezTo>
                    <a:cubicBezTo>
                      <a:pt x="29" y="88"/>
                      <a:pt x="22" y="89"/>
                      <a:pt x="18" y="90"/>
                    </a:cubicBezTo>
                    <a:cubicBezTo>
                      <a:pt x="14" y="91"/>
                      <a:pt x="12" y="91"/>
                      <a:pt x="10" y="92"/>
                    </a:cubicBezTo>
                    <a:cubicBezTo>
                      <a:pt x="4" y="94"/>
                      <a:pt x="0" y="99"/>
                      <a:pt x="0" y="105"/>
                    </a:cubicBezTo>
                    <a:cubicBezTo>
                      <a:pt x="1" y="112"/>
                      <a:pt x="6" y="117"/>
                      <a:pt x="14" y="120"/>
                    </a:cubicBezTo>
                    <a:cubicBezTo>
                      <a:pt x="15" y="120"/>
                      <a:pt x="15" y="120"/>
                      <a:pt x="15" y="120"/>
                    </a:cubicBezTo>
                    <a:cubicBezTo>
                      <a:pt x="15" y="120"/>
                      <a:pt x="18" y="120"/>
                      <a:pt x="22" y="120"/>
                    </a:cubicBezTo>
                    <a:cubicBezTo>
                      <a:pt x="28" y="120"/>
                      <a:pt x="39" y="119"/>
                      <a:pt x="49" y="113"/>
                    </a:cubicBezTo>
                    <a:cubicBezTo>
                      <a:pt x="48" y="120"/>
                      <a:pt x="47" y="124"/>
                      <a:pt x="47" y="124"/>
                    </a:cubicBezTo>
                    <a:cubicBezTo>
                      <a:pt x="47" y="125"/>
                      <a:pt x="47" y="125"/>
                      <a:pt x="47" y="126"/>
                    </a:cubicBezTo>
                    <a:cubicBezTo>
                      <a:pt x="47" y="129"/>
                      <a:pt x="49" y="132"/>
                      <a:pt x="52" y="132"/>
                    </a:cubicBezTo>
                    <a:cubicBezTo>
                      <a:pt x="53" y="132"/>
                      <a:pt x="53" y="132"/>
                      <a:pt x="53" y="132"/>
                    </a:cubicBezTo>
                    <a:cubicBezTo>
                      <a:pt x="55" y="132"/>
                      <a:pt x="58" y="130"/>
                      <a:pt x="58" y="127"/>
                    </a:cubicBezTo>
                    <a:cubicBezTo>
                      <a:pt x="59" y="127"/>
                      <a:pt x="59" y="123"/>
                      <a:pt x="61" y="118"/>
                    </a:cubicBezTo>
                    <a:cubicBezTo>
                      <a:pt x="72" y="132"/>
                      <a:pt x="88" y="135"/>
                      <a:pt x="89" y="135"/>
                    </a:cubicBezTo>
                    <a:cubicBezTo>
                      <a:pt x="90" y="135"/>
                      <a:pt x="91" y="135"/>
                      <a:pt x="92" y="135"/>
                    </a:cubicBezTo>
                    <a:cubicBezTo>
                      <a:pt x="99" y="135"/>
                      <a:pt x="104" y="132"/>
                      <a:pt x="107" y="126"/>
                    </a:cubicBezTo>
                    <a:cubicBezTo>
                      <a:pt x="108" y="124"/>
                      <a:pt x="108" y="122"/>
                      <a:pt x="108" y="120"/>
                    </a:cubicBezTo>
                    <a:cubicBezTo>
                      <a:pt x="110" y="120"/>
                      <a:pt x="111" y="120"/>
                      <a:pt x="112" y="120"/>
                    </a:cubicBezTo>
                    <a:cubicBezTo>
                      <a:pt x="112" y="120"/>
                      <a:pt x="112" y="120"/>
                      <a:pt x="112" y="120"/>
                    </a:cubicBezTo>
                    <a:cubicBezTo>
                      <a:pt x="120" y="117"/>
                      <a:pt x="126" y="112"/>
                      <a:pt x="126" y="105"/>
                    </a:cubicBezTo>
                    <a:cubicBezTo>
                      <a:pt x="126" y="99"/>
                      <a:pt x="122" y="94"/>
                      <a:pt x="116" y="92"/>
                    </a:cubicBezTo>
                    <a:close/>
                    <a:moveTo>
                      <a:pt x="107" y="52"/>
                    </a:moveTo>
                    <a:cubicBezTo>
                      <a:pt x="105" y="56"/>
                      <a:pt x="102" y="59"/>
                      <a:pt x="98" y="62"/>
                    </a:cubicBezTo>
                    <a:cubicBezTo>
                      <a:pt x="90" y="66"/>
                      <a:pt x="79" y="65"/>
                      <a:pt x="73" y="64"/>
                    </a:cubicBezTo>
                    <a:cubicBezTo>
                      <a:pt x="76" y="61"/>
                      <a:pt x="78" y="57"/>
                      <a:pt x="80" y="54"/>
                    </a:cubicBezTo>
                    <a:cubicBezTo>
                      <a:pt x="91" y="46"/>
                      <a:pt x="102" y="49"/>
                      <a:pt x="107" y="52"/>
                    </a:cubicBezTo>
                    <a:close/>
                    <a:moveTo>
                      <a:pt x="17" y="108"/>
                    </a:moveTo>
                    <a:cubicBezTo>
                      <a:pt x="14" y="107"/>
                      <a:pt x="13" y="106"/>
                      <a:pt x="12" y="105"/>
                    </a:cubicBezTo>
                    <a:cubicBezTo>
                      <a:pt x="12" y="104"/>
                      <a:pt x="13" y="104"/>
                      <a:pt x="14" y="103"/>
                    </a:cubicBezTo>
                    <a:cubicBezTo>
                      <a:pt x="15" y="103"/>
                      <a:pt x="18" y="102"/>
                      <a:pt x="20" y="102"/>
                    </a:cubicBezTo>
                    <a:cubicBezTo>
                      <a:pt x="25" y="101"/>
                      <a:pt x="32" y="100"/>
                      <a:pt x="38" y="97"/>
                    </a:cubicBezTo>
                    <a:cubicBezTo>
                      <a:pt x="43" y="96"/>
                      <a:pt x="47" y="94"/>
                      <a:pt x="50" y="92"/>
                    </a:cubicBezTo>
                    <a:cubicBezTo>
                      <a:pt x="50" y="94"/>
                      <a:pt x="50" y="96"/>
                      <a:pt x="51" y="97"/>
                    </a:cubicBezTo>
                    <a:cubicBezTo>
                      <a:pt x="37" y="110"/>
                      <a:pt x="19" y="108"/>
                      <a:pt x="17" y="108"/>
                    </a:cubicBezTo>
                    <a:close/>
                    <a:moveTo>
                      <a:pt x="96" y="122"/>
                    </a:moveTo>
                    <a:cubicBezTo>
                      <a:pt x="95" y="122"/>
                      <a:pt x="94" y="123"/>
                      <a:pt x="90" y="123"/>
                    </a:cubicBezTo>
                    <a:cubicBezTo>
                      <a:pt x="90" y="123"/>
                      <a:pt x="72" y="120"/>
                      <a:pt x="64" y="101"/>
                    </a:cubicBezTo>
                    <a:cubicBezTo>
                      <a:pt x="61" y="93"/>
                      <a:pt x="61" y="87"/>
                      <a:pt x="62" y="82"/>
                    </a:cubicBezTo>
                    <a:cubicBezTo>
                      <a:pt x="64" y="88"/>
                      <a:pt x="68" y="95"/>
                      <a:pt x="74" y="101"/>
                    </a:cubicBezTo>
                    <a:cubicBezTo>
                      <a:pt x="79" y="107"/>
                      <a:pt x="85" y="112"/>
                      <a:pt x="91" y="116"/>
                    </a:cubicBezTo>
                    <a:cubicBezTo>
                      <a:pt x="92" y="117"/>
                      <a:pt x="94" y="118"/>
                      <a:pt x="95" y="119"/>
                    </a:cubicBezTo>
                    <a:cubicBezTo>
                      <a:pt x="95" y="119"/>
                      <a:pt x="95" y="119"/>
                      <a:pt x="95" y="119"/>
                    </a:cubicBezTo>
                    <a:cubicBezTo>
                      <a:pt x="96" y="120"/>
                      <a:pt x="96" y="121"/>
                      <a:pt x="96" y="122"/>
                    </a:cubicBezTo>
                    <a:close/>
                    <a:moveTo>
                      <a:pt x="109" y="108"/>
                    </a:moveTo>
                    <a:cubicBezTo>
                      <a:pt x="109" y="108"/>
                      <a:pt x="106" y="109"/>
                      <a:pt x="102" y="109"/>
                    </a:cubicBezTo>
                    <a:cubicBezTo>
                      <a:pt x="102" y="109"/>
                      <a:pt x="101" y="109"/>
                      <a:pt x="101" y="109"/>
                    </a:cubicBezTo>
                    <a:cubicBezTo>
                      <a:pt x="100" y="108"/>
                      <a:pt x="99" y="107"/>
                      <a:pt x="98" y="107"/>
                    </a:cubicBezTo>
                    <a:cubicBezTo>
                      <a:pt x="94" y="104"/>
                      <a:pt x="90" y="100"/>
                      <a:pt x="86" y="96"/>
                    </a:cubicBezTo>
                    <a:cubicBezTo>
                      <a:pt x="94" y="99"/>
                      <a:pt x="101" y="101"/>
                      <a:pt x="107" y="102"/>
                    </a:cubicBezTo>
                    <a:cubicBezTo>
                      <a:pt x="109" y="103"/>
                      <a:pt x="111" y="103"/>
                      <a:pt x="112" y="103"/>
                    </a:cubicBezTo>
                    <a:cubicBezTo>
                      <a:pt x="113" y="104"/>
                      <a:pt x="114" y="104"/>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74">
                <a:extLst>
                  <a:ext uri="{FF2B5EF4-FFF2-40B4-BE49-F238E27FC236}">
                    <a16:creationId xmlns:a16="http://schemas.microsoft.com/office/drawing/2014/main" id="{3A088B79-0E10-4456-830E-7371B67D2F6A}"/>
                  </a:ext>
                </a:extLst>
              </p:cNvPr>
              <p:cNvSpPr>
                <a:spLocks noEditPoints="1"/>
              </p:cNvSpPr>
              <p:nvPr/>
            </p:nvSpPr>
            <p:spPr bwMode="auto">
              <a:xfrm>
                <a:off x="15796578" y="4405313"/>
                <a:ext cx="533400" cy="571500"/>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7 w 126"/>
                  <a:gd name="T11" fmla="*/ 24 h 135"/>
                  <a:gd name="T12" fmla="*/ 75 w 126"/>
                  <a:gd name="T13" fmla="*/ 14 h 135"/>
                  <a:gd name="T14" fmla="*/ 34 w 126"/>
                  <a:gd name="T15" fmla="*/ 14 h 135"/>
                  <a:gd name="T16" fmla="*/ 36 w 126"/>
                  <a:gd name="T17" fmla="*/ 67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0 h 135"/>
                  <a:gd name="T30" fmla="*/ 47 w 126"/>
                  <a:gd name="T31" fmla="*/ 124 h 135"/>
                  <a:gd name="T32" fmla="*/ 53 w 126"/>
                  <a:gd name="T33" fmla="*/ 132 h 135"/>
                  <a:gd name="T34" fmla="*/ 61 w 126"/>
                  <a:gd name="T35" fmla="*/ 118 h 135"/>
                  <a:gd name="T36" fmla="*/ 92 w 126"/>
                  <a:gd name="T37" fmla="*/ 135 h 135"/>
                  <a:gd name="T38" fmla="*/ 108 w 126"/>
                  <a:gd name="T39" fmla="*/ 120 h 135"/>
                  <a:gd name="T40" fmla="*/ 112 w 126"/>
                  <a:gd name="T41" fmla="*/ 120 h 135"/>
                  <a:gd name="T42" fmla="*/ 116 w 126"/>
                  <a:gd name="T43" fmla="*/ 92 h 135"/>
                  <a:gd name="T44" fmla="*/ 98 w 126"/>
                  <a:gd name="T45" fmla="*/ 62 h 135"/>
                  <a:gd name="T46" fmla="*/ 80 w 126"/>
                  <a:gd name="T47" fmla="*/ 54 h 135"/>
                  <a:gd name="T48" fmla="*/ 17 w 126"/>
                  <a:gd name="T49" fmla="*/ 108 h 135"/>
                  <a:gd name="T50" fmla="*/ 14 w 126"/>
                  <a:gd name="T51" fmla="*/ 103 h 135"/>
                  <a:gd name="T52" fmla="*/ 38 w 126"/>
                  <a:gd name="T53" fmla="*/ 97 h 135"/>
                  <a:gd name="T54" fmla="*/ 51 w 126"/>
                  <a:gd name="T55" fmla="*/ 97 h 135"/>
                  <a:gd name="T56" fmla="*/ 96 w 126"/>
                  <a:gd name="T57" fmla="*/ 122 h 135"/>
                  <a:gd name="T58" fmla="*/ 64 w 126"/>
                  <a:gd name="T59" fmla="*/ 100 h 135"/>
                  <a:gd name="T60" fmla="*/ 74 w 126"/>
                  <a:gd name="T61" fmla="*/ 101 h 135"/>
                  <a:gd name="T62" fmla="*/ 95 w 126"/>
                  <a:gd name="T63" fmla="*/ 119 h 135"/>
                  <a:gd name="T64" fmla="*/ 96 w 126"/>
                  <a:gd name="T65" fmla="*/ 122 h 135"/>
                  <a:gd name="T66" fmla="*/ 102 w 126"/>
                  <a:gd name="T67" fmla="*/ 108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0"/>
                      <a:pt x="120" y="51"/>
                    </a:cubicBezTo>
                    <a:cubicBezTo>
                      <a:pt x="121" y="48"/>
                      <a:pt x="120" y="46"/>
                      <a:pt x="118" y="44"/>
                    </a:cubicBezTo>
                    <a:cubicBezTo>
                      <a:pt x="117" y="44"/>
                      <a:pt x="104" y="34"/>
                      <a:pt x="87" y="38"/>
                    </a:cubicBezTo>
                    <a:cubicBezTo>
                      <a:pt x="91" y="19"/>
                      <a:pt x="84" y="4"/>
                      <a:pt x="84" y="4"/>
                    </a:cubicBezTo>
                    <a:cubicBezTo>
                      <a:pt x="82" y="1"/>
                      <a:pt x="80" y="0"/>
                      <a:pt x="77" y="1"/>
                    </a:cubicBezTo>
                    <a:cubicBezTo>
                      <a:pt x="65" y="3"/>
                      <a:pt x="56" y="15"/>
                      <a:pt x="55" y="15"/>
                    </a:cubicBezTo>
                    <a:cubicBezTo>
                      <a:pt x="53" y="18"/>
                      <a:pt x="54" y="22"/>
                      <a:pt x="57" y="24"/>
                    </a:cubicBezTo>
                    <a:cubicBezTo>
                      <a:pt x="59" y="26"/>
                      <a:pt x="63" y="25"/>
                      <a:pt x="65" y="23"/>
                    </a:cubicBezTo>
                    <a:cubicBezTo>
                      <a:pt x="65" y="23"/>
                      <a:pt x="69" y="17"/>
                      <a:pt x="75" y="14"/>
                    </a:cubicBezTo>
                    <a:cubicBezTo>
                      <a:pt x="77" y="22"/>
                      <a:pt x="79" y="39"/>
                      <a:pt x="64" y="56"/>
                    </a:cubicBezTo>
                    <a:cubicBezTo>
                      <a:pt x="59" y="29"/>
                      <a:pt x="45" y="18"/>
                      <a:pt x="34" y="14"/>
                    </a:cubicBezTo>
                    <a:cubicBezTo>
                      <a:pt x="31" y="13"/>
                      <a:pt x="27" y="14"/>
                      <a:pt x="26" y="17"/>
                    </a:cubicBezTo>
                    <a:cubicBezTo>
                      <a:pt x="21" y="28"/>
                      <a:pt x="16" y="54"/>
                      <a:pt x="36" y="67"/>
                    </a:cubicBezTo>
                    <a:cubicBezTo>
                      <a:pt x="39" y="69"/>
                      <a:pt x="43" y="69"/>
                      <a:pt x="45" y="66"/>
                    </a:cubicBezTo>
                    <a:cubicBezTo>
                      <a:pt x="47" y="63"/>
                      <a:pt x="46" y="59"/>
                      <a:pt x="43" y="58"/>
                    </a:cubicBezTo>
                    <a:cubicBezTo>
                      <a:pt x="31" y="49"/>
                      <a:pt x="33" y="35"/>
                      <a:pt x="35" y="28"/>
                    </a:cubicBezTo>
                    <a:cubicBezTo>
                      <a:pt x="46" y="34"/>
                      <a:pt x="52" y="49"/>
                      <a:pt x="53" y="71"/>
                    </a:cubicBezTo>
                    <a:cubicBezTo>
                      <a:pt x="53" y="71"/>
                      <a:pt x="53" y="71"/>
                      <a:pt x="53" y="71"/>
                    </a:cubicBezTo>
                    <a:cubicBezTo>
                      <a:pt x="49" y="77"/>
                      <a:pt x="46" y="82"/>
                      <a:pt x="35" y="86"/>
                    </a:cubicBezTo>
                    <a:cubicBezTo>
                      <a:pt x="29" y="88"/>
                      <a:pt x="22" y="89"/>
                      <a:pt x="18" y="90"/>
                    </a:cubicBezTo>
                    <a:cubicBezTo>
                      <a:pt x="14" y="91"/>
                      <a:pt x="12" y="91"/>
                      <a:pt x="10" y="92"/>
                    </a:cubicBezTo>
                    <a:cubicBezTo>
                      <a:pt x="4" y="94"/>
                      <a:pt x="0" y="99"/>
                      <a:pt x="0" y="105"/>
                    </a:cubicBezTo>
                    <a:cubicBezTo>
                      <a:pt x="1" y="112"/>
                      <a:pt x="6" y="117"/>
                      <a:pt x="14" y="120"/>
                    </a:cubicBezTo>
                    <a:cubicBezTo>
                      <a:pt x="15" y="120"/>
                      <a:pt x="15" y="120"/>
                      <a:pt x="15" y="120"/>
                    </a:cubicBezTo>
                    <a:cubicBezTo>
                      <a:pt x="15" y="120"/>
                      <a:pt x="18" y="120"/>
                      <a:pt x="22" y="120"/>
                    </a:cubicBezTo>
                    <a:cubicBezTo>
                      <a:pt x="28" y="120"/>
                      <a:pt x="39" y="119"/>
                      <a:pt x="49" y="113"/>
                    </a:cubicBezTo>
                    <a:cubicBezTo>
                      <a:pt x="48" y="120"/>
                      <a:pt x="47" y="124"/>
                      <a:pt x="47" y="124"/>
                    </a:cubicBezTo>
                    <a:cubicBezTo>
                      <a:pt x="47" y="125"/>
                      <a:pt x="47" y="125"/>
                      <a:pt x="47" y="126"/>
                    </a:cubicBezTo>
                    <a:cubicBezTo>
                      <a:pt x="47" y="129"/>
                      <a:pt x="49" y="132"/>
                      <a:pt x="53" y="132"/>
                    </a:cubicBezTo>
                    <a:cubicBezTo>
                      <a:pt x="55" y="132"/>
                      <a:pt x="58" y="130"/>
                      <a:pt x="58" y="127"/>
                    </a:cubicBezTo>
                    <a:cubicBezTo>
                      <a:pt x="59" y="126"/>
                      <a:pt x="59" y="123"/>
                      <a:pt x="61" y="118"/>
                    </a:cubicBezTo>
                    <a:cubicBezTo>
                      <a:pt x="72" y="132"/>
                      <a:pt x="88" y="134"/>
                      <a:pt x="89" y="135"/>
                    </a:cubicBezTo>
                    <a:cubicBezTo>
                      <a:pt x="90" y="135"/>
                      <a:pt x="91" y="135"/>
                      <a:pt x="92" y="135"/>
                    </a:cubicBezTo>
                    <a:cubicBezTo>
                      <a:pt x="99" y="135"/>
                      <a:pt x="104" y="132"/>
                      <a:pt x="107" y="126"/>
                    </a:cubicBezTo>
                    <a:cubicBezTo>
                      <a:pt x="108" y="124"/>
                      <a:pt x="108" y="122"/>
                      <a:pt x="108" y="120"/>
                    </a:cubicBezTo>
                    <a:cubicBezTo>
                      <a:pt x="110" y="120"/>
                      <a:pt x="111" y="120"/>
                      <a:pt x="112" y="120"/>
                    </a:cubicBezTo>
                    <a:cubicBezTo>
                      <a:pt x="112" y="120"/>
                      <a:pt x="112" y="120"/>
                      <a:pt x="112" y="120"/>
                    </a:cubicBezTo>
                    <a:cubicBezTo>
                      <a:pt x="120" y="117"/>
                      <a:pt x="126" y="112"/>
                      <a:pt x="126" y="105"/>
                    </a:cubicBezTo>
                    <a:cubicBezTo>
                      <a:pt x="126" y="99"/>
                      <a:pt x="122" y="94"/>
                      <a:pt x="116" y="92"/>
                    </a:cubicBezTo>
                    <a:close/>
                    <a:moveTo>
                      <a:pt x="107" y="52"/>
                    </a:moveTo>
                    <a:cubicBezTo>
                      <a:pt x="105" y="56"/>
                      <a:pt x="102" y="59"/>
                      <a:pt x="98" y="62"/>
                    </a:cubicBezTo>
                    <a:cubicBezTo>
                      <a:pt x="90" y="66"/>
                      <a:pt x="79" y="65"/>
                      <a:pt x="73" y="64"/>
                    </a:cubicBezTo>
                    <a:cubicBezTo>
                      <a:pt x="76" y="60"/>
                      <a:pt x="78" y="57"/>
                      <a:pt x="80" y="54"/>
                    </a:cubicBezTo>
                    <a:cubicBezTo>
                      <a:pt x="91" y="46"/>
                      <a:pt x="102" y="49"/>
                      <a:pt x="107" y="52"/>
                    </a:cubicBezTo>
                    <a:close/>
                    <a:moveTo>
                      <a:pt x="17" y="108"/>
                    </a:moveTo>
                    <a:cubicBezTo>
                      <a:pt x="14" y="107"/>
                      <a:pt x="13" y="106"/>
                      <a:pt x="12" y="105"/>
                    </a:cubicBezTo>
                    <a:cubicBezTo>
                      <a:pt x="12" y="104"/>
                      <a:pt x="13" y="104"/>
                      <a:pt x="14" y="103"/>
                    </a:cubicBezTo>
                    <a:cubicBezTo>
                      <a:pt x="15" y="103"/>
                      <a:pt x="18" y="102"/>
                      <a:pt x="20" y="102"/>
                    </a:cubicBezTo>
                    <a:cubicBezTo>
                      <a:pt x="25" y="101"/>
                      <a:pt x="32" y="99"/>
                      <a:pt x="38" y="97"/>
                    </a:cubicBezTo>
                    <a:cubicBezTo>
                      <a:pt x="43" y="96"/>
                      <a:pt x="47" y="94"/>
                      <a:pt x="50" y="92"/>
                    </a:cubicBezTo>
                    <a:cubicBezTo>
                      <a:pt x="50" y="94"/>
                      <a:pt x="50" y="95"/>
                      <a:pt x="51" y="97"/>
                    </a:cubicBezTo>
                    <a:cubicBezTo>
                      <a:pt x="37" y="110"/>
                      <a:pt x="19" y="108"/>
                      <a:pt x="17" y="108"/>
                    </a:cubicBezTo>
                    <a:close/>
                    <a:moveTo>
                      <a:pt x="96" y="122"/>
                    </a:moveTo>
                    <a:cubicBezTo>
                      <a:pt x="95" y="122"/>
                      <a:pt x="94" y="123"/>
                      <a:pt x="90" y="123"/>
                    </a:cubicBezTo>
                    <a:cubicBezTo>
                      <a:pt x="90" y="123"/>
                      <a:pt x="72" y="120"/>
                      <a:pt x="64" y="100"/>
                    </a:cubicBezTo>
                    <a:cubicBezTo>
                      <a:pt x="61" y="93"/>
                      <a:pt x="61" y="87"/>
                      <a:pt x="62" y="82"/>
                    </a:cubicBezTo>
                    <a:cubicBezTo>
                      <a:pt x="64" y="88"/>
                      <a:pt x="68" y="95"/>
                      <a:pt x="74" y="101"/>
                    </a:cubicBezTo>
                    <a:cubicBezTo>
                      <a:pt x="79" y="107"/>
                      <a:pt x="85" y="112"/>
                      <a:pt x="91" y="116"/>
                    </a:cubicBezTo>
                    <a:cubicBezTo>
                      <a:pt x="92" y="117"/>
                      <a:pt x="94" y="118"/>
                      <a:pt x="95" y="119"/>
                    </a:cubicBezTo>
                    <a:cubicBezTo>
                      <a:pt x="95" y="119"/>
                      <a:pt x="95" y="119"/>
                      <a:pt x="95" y="119"/>
                    </a:cubicBezTo>
                    <a:cubicBezTo>
                      <a:pt x="96" y="120"/>
                      <a:pt x="96" y="121"/>
                      <a:pt x="96" y="122"/>
                    </a:cubicBezTo>
                    <a:close/>
                    <a:moveTo>
                      <a:pt x="109" y="108"/>
                    </a:moveTo>
                    <a:cubicBezTo>
                      <a:pt x="109" y="108"/>
                      <a:pt x="106" y="109"/>
                      <a:pt x="102" y="108"/>
                    </a:cubicBezTo>
                    <a:cubicBezTo>
                      <a:pt x="102" y="108"/>
                      <a:pt x="101" y="109"/>
                      <a:pt x="101" y="109"/>
                    </a:cubicBezTo>
                    <a:cubicBezTo>
                      <a:pt x="100" y="108"/>
                      <a:pt x="99" y="107"/>
                      <a:pt x="98" y="107"/>
                    </a:cubicBezTo>
                    <a:cubicBezTo>
                      <a:pt x="94" y="103"/>
                      <a:pt x="90" y="100"/>
                      <a:pt x="86" y="96"/>
                    </a:cubicBezTo>
                    <a:cubicBezTo>
                      <a:pt x="94" y="99"/>
                      <a:pt x="101" y="101"/>
                      <a:pt x="107" y="102"/>
                    </a:cubicBezTo>
                    <a:cubicBezTo>
                      <a:pt x="109" y="102"/>
                      <a:pt x="111" y="103"/>
                      <a:pt x="112" y="103"/>
                    </a:cubicBezTo>
                    <a:cubicBezTo>
                      <a:pt x="113" y="104"/>
                      <a:pt x="114" y="104"/>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75">
                <a:extLst>
                  <a:ext uri="{FF2B5EF4-FFF2-40B4-BE49-F238E27FC236}">
                    <a16:creationId xmlns:a16="http://schemas.microsoft.com/office/drawing/2014/main" id="{9DA51194-5081-4465-9F7A-D94D4347DC8C}"/>
                  </a:ext>
                </a:extLst>
              </p:cNvPr>
              <p:cNvSpPr>
                <a:spLocks noEditPoints="1"/>
              </p:cNvSpPr>
              <p:nvPr/>
            </p:nvSpPr>
            <p:spPr bwMode="auto">
              <a:xfrm>
                <a:off x="15236191" y="3089275"/>
                <a:ext cx="534988" cy="573088"/>
              </a:xfrm>
              <a:custGeom>
                <a:avLst/>
                <a:gdLst>
                  <a:gd name="T0" fmla="*/ 109 w 126"/>
                  <a:gd name="T1" fmla="*/ 91 h 135"/>
                  <a:gd name="T2" fmla="*/ 83 w 126"/>
                  <a:gd name="T3" fmla="*/ 77 h 135"/>
                  <a:gd name="T4" fmla="*/ 120 w 126"/>
                  <a:gd name="T5" fmla="*/ 51 h 135"/>
                  <a:gd name="T6" fmla="*/ 87 w 126"/>
                  <a:gd name="T7" fmla="*/ 38 h 135"/>
                  <a:gd name="T8" fmla="*/ 77 w 126"/>
                  <a:gd name="T9" fmla="*/ 1 h 135"/>
                  <a:gd name="T10" fmla="*/ 56 w 126"/>
                  <a:gd name="T11" fmla="*/ 24 h 135"/>
                  <a:gd name="T12" fmla="*/ 75 w 126"/>
                  <a:gd name="T13" fmla="*/ 15 h 135"/>
                  <a:gd name="T14" fmla="*/ 33 w 126"/>
                  <a:gd name="T15" fmla="*/ 14 h 135"/>
                  <a:gd name="T16" fmla="*/ 36 w 126"/>
                  <a:gd name="T17" fmla="*/ 68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1 h 135"/>
                  <a:gd name="T30" fmla="*/ 47 w 126"/>
                  <a:gd name="T31" fmla="*/ 125 h 135"/>
                  <a:gd name="T32" fmla="*/ 52 w 126"/>
                  <a:gd name="T33" fmla="*/ 132 h 135"/>
                  <a:gd name="T34" fmla="*/ 60 w 126"/>
                  <a:gd name="T35" fmla="*/ 118 h 135"/>
                  <a:gd name="T36" fmla="*/ 92 w 126"/>
                  <a:gd name="T37" fmla="*/ 135 h 135"/>
                  <a:gd name="T38" fmla="*/ 108 w 126"/>
                  <a:gd name="T39" fmla="*/ 121 h 135"/>
                  <a:gd name="T40" fmla="*/ 112 w 126"/>
                  <a:gd name="T41" fmla="*/ 120 h 135"/>
                  <a:gd name="T42" fmla="*/ 116 w 126"/>
                  <a:gd name="T43" fmla="*/ 92 h 135"/>
                  <a:gd name="T44" fmla="*/ 98 w 126"/>
                  <a:gd name="T45" fmla="*/ 62 h 135"/>
                  <a:gd name="T46" fmla="*/ 80 w 126"/>
                  <a:gd name="T47" fmla="*/ 54 h 135"/>
                  <a:gd name="T48" fmla="*/ 17 w 126"/>
                  <a:gd name="T49" fmla="*/ 108 h 135"/>
                  <a:gd name="T50" fmla="*/ 14 w 126"/>
                  <a:gd name="T51" fmla="*/ 104 h 135"/>
                  <a:gd name="T52" fmla="*/ 38 w 126"/>
                  <a:gd name="T53" fmla="*/ 98 h 135"/>
                  <a:gd name="T54" fmla="*/ 51 w 126"/>
                  <a:gd name="T55" fmla="*/ 98 h 135"/>
                  <a:gd name="T56" fmla="*/ 96 w 126"/>
                  <a:gd name="T57" fmla="*/ 122 h 135"/>
                  <a:gd name="T58" fmla="*/ 64 w 126"/>
                  <a:gd name="T59" fmla="*/ 101 h 135"/>
                  <a:gd name="T60" fmla="*/ 74 w 126"/>
                  <a:gd name="T61" fmla="*/ 102 h 135"/>
                  <a:gd name="T62" fmla="*/ 95 w 126"/>
                  <a:gd name="T63" fmla="*/ 120 h 135"/>
                  <a:gd name="T64" fmla="*/ 109 w 126"/>
                  <a:gd name="T65" fmla="*/ 108 h 135"/>
                  <a:gd name="T66" fmla="*/ 101 w 126"/>
                  <a:gd name="T67" fmla="*/ 109 h 135"/>
                  <a:gd name="T68" fmla="*/ 86 w 126"/>
                  <a:gd name="T69" fmla="*/ 97 h 135"/>
                  <a:gd name="T70" fmla="*/ 112 w 126"/>
                  <a:gd name="T71" fmla="*/ 104 h 135"/>
                  <a:gd name="T72" fmla="*/ 109 w 126"/>
                  <a:gd name="T73"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2"/>
                      <a:pt x="112" y="91"/>
                      <a:pt x="109" y="91"/>
                    </a:cubicBezTo>
                    <a:cubicBezTo>
                      <a:pt x="100" y="89"/>
                      <a:pt x="84" y="85"/>
                      <a:pt x="75" y="77"/>
                    </a:cubicBezTo>
                    <a:cubicBezTo>
                      <a:pt x="78" y="77"/>
                      <a:pt x="80" y="77"/>
                      <a:pt x="83" y="77"/>
                    </a:cubicBezTo>
                    <a:cubicBezTo>
                      <a:pt x="90" y="77"/>
                      <a:pt x="97" y="76"/>
                      <a:pt x="104" y="72"/>
                    </a:cubicBezTo>
                    <a:cubicBezTo>
                      <a:pt x="112" y="68"/>
                      <a:pt x="117" y="61"/>
                      <a:pt x="120" y="51"/>
                    </a:cubicBezTo>
                    <a:cubicBezTo>
                      <a:pt x="121" y="48"/>
                      <a:pt x="120" y="46"/>
                      <a:pt x="118" y="44"/>
                    </a:cubicBezTo>
                    <a:cubicBezTo>
                      <a:pt x="117" y="44"/>
                      <a:pt x="104" y="34"/>
                      <a:pt x="87" y="38"/>
                    </a:cubicBezTo>
                    <a:cubicBezTo>
                      <a:pt x="91" y="19"/>
                      <a:pt x="84" y="4"/>
                      <a:pt x="84" y="4"/>
                    </a:cubicBezTo>
                    <a:cubicBezTo>
                      <a:pt x="82" y="2"/>
                      <a:pt x="80" y="0"/>
                      <a:pt x="77" y="1"/>
                    </a:cubicBezTo>
                    <a:cubicBezTo>
                      <a:pt x="65" y="4"/>
                      <a:pt x="56" y="15"/>
                      <a:pt x="55" y="16"/>
                    </a:cubicBezTo>
                    <a:cubicBezTo>
                      <a:pt x="53" y="18"/>
                      <a:pt x="54" y="22"/>
                      <a:pt x="56" y="24"/>
                    </a:cubicBezTo>
                    <a:cubicBezTo>
                      <a:pt x="59" y="26"/>
                      <a:pt x="63" y="26"/>
                      <a:pt x="65" y="23"/>
                    </a:cubicBezTo>
                    <a:cubicBezTo>
                      <a:pt x="65" y="23"/>
                      <a:pt x="69" y="18"/>
                      <a:pt x="75" y="15"/>
                    </a:cubicBezTo>
                    <a:cubicBezTo>
                      <a:pt x="77" y="23"/>
                      <a:pt x="79" y="39"/>
                      <a:pt x="63" y="57"/>
                    </a:cubicBezTo>
                    <a:cubicBezTo>
                      <a:pt x="59" y="29"/>
                      <a:pt x="45" y="18"/>
                      <a:pt x="33" y="14"/>
                    </a:cubicBezTo>
                    <a:cubicBezTo>
                      <a:pt x="31" y="13"/>
                      <a:pt x="27" y="14"/>
                      <a:pt x="26" y="17"/>
                    </a:cubicBezTo>
                    <a:cubicBezTo>
                      <a:pt x="21" y="29"/>
                      <a:pt x="16" y="54"/>
                      <a:pt x="36" y="68"/>
                    </a:cubicBezTo>
                    <a:cubicBezTo>
                      <a:pt x="39" y="70"/>
                      <a:pt x="43" y="69"/>
                      <a:pt x="45" y="66"/>
                    </a:cubicBezTo>
                    <a:cubicBezTo>
                      <a:pt x="47" y="63"/>
                      <a:pt x="46" y="60"/>
                      <a:pt x="43" y="58"/>
                    </a:cubicBezTo>
                    <a:cubicBezTo>
                      <a:pt x="31" y="50"/>
                      <a:pt x="33" y="36"/>
                      <a:pt x="35" y="28"/>
                    </a:cubicBezTo>
                    <a:cubicBezTo>
                      <a:pt x="46" y="35"/>
                      <a:pt x="52" y="49"/>
                      <a:pt x="53" y="71"/>
                    </a:cubicBezTo>
                    <a:cubicBezTo>
                      <a:pt x="53" y="71"/>
                      <a:pt x="53" y="71"/>
                      <a:pt x="53" y="71"/>
                    </a:cubicBezTo>
                    <a:cubicBezTo>
                      <a:pt x="49" y="77"/>
                      <a:pt x="46" y="83"/>
                      <a:pt x="35" y="86"/>
                    </a:cubicBezTo>
                    <a:cubicBezTo>
                      <a:pt x="28" y="88"/>
                      <a:pt x="22" y="89"/>
                      <a:pt x="18" y="90"/>
                    </a:cubicBezTo>
                    <a:cubicBezTo>
                      <a:pt x="14" y="91"/>
                      <a:pt x="12" y="92"/>
                      <a:pt x="10" y="92"/>
                    </a:cubicBezTo>
                    <a:cubicBezTo>
                      <a:pt x="4" y="94"/>
                      <a:pt x="0" y="100"/>
                      <a:pt x="0" y="106"/>
                    </a:cubicBezTo>
                    <a:cubicBezTo>
                      <a:pt x="1" y="112"/>
                      <a:pt x="6" y="118"/>
                      <a:pt x="14" y="120"/>
                    </a:cubicBezTo>
                    <a:cubicBezTo>
                      <a:pt x="15" y="120"/>
                      <a:pt x="15" y="120"/>
                      <a:pt x="15" y="120"/>
                    </a:cubicBezTo>
                    <a:cubicBezTo>
                      <a:pt x="15" y="120"/>
                      <a:pt x="18" y="121"/>
                      <a:pt x="22" y="121"/>
                    </a:cubicBezTo>
                    <a:cubicBezTo>
                      <a:pt x="28" y="121"/>
                      <a:pt x="39" y="119"/>
                      <a:pt x="49" y="114"/>
                    </a:cubicBezTo>
                    <a:cubicBezTo>
                      <a:pt x="48" y="120"/>
                      <a:pt x="47" y="124"/>
                      <a:pt x="47" y="125"/>
                    </a:cubicBezTo>
                    <a:cubicBezTo>
                      <a:pt x="47" y="125"/>
                      <a:pt x="46" y="126"/>
                      <a:pt x="46" y="126"/>
                    </a:cubicBezTo>
                    <a:cubicBezTo>
                      <a:pt x="46" y="130"/>
                      <a:pt x="49" y="132"/>
                      <a:pt x="52" y="132"/>
                    </a:cubicBezTo>
                    <a:cubicBezTo>
                      <a:pt x="55" y="132"/>
                      <a:pt x="58" y="130"/>
                      <a:pt x="58" y="128"/>
                    </a:cubicBezTo>
                    <a:cubicBezTo>
                      <a:pt x="59" y="127"/>
                      <a:pt x="59" y="123"/>
                      <a:pt x="60" y="118"/>
                    </a:cubicBezTo>
                    <a:cubicBezTo>
                      <a:pt x="72" y="133"/>
                      <a:pt x="88" y="135"/>
                      <a:pt x="89" y="135"/>
                    </a:cubicBezTo>
                    <a:cubicBezTo>
                      <a:pt x="90" y="135"/>
                      <a:pt x="91" y="135"/>
                      <a:pt x="92" y="135"/>
                    </a:cubicBezTo>
                    <a:cubicBezTo>
                      <a:pt x="99" y="135"/>
                      <a:pt x="104" y="132"/>
                      <a:pt x="107" y="127"/>
                    </a:cubicBezTo>
                    <a:cubicBezTo>
                      <a:pt x="108" y="125"/>
                      <a:pt x="108" y="123"/>
                      <a:pt x="108" y="121"/>
                    </a:cubicBezTo>
                    <a:cubicBezTo>
                      <a:pt x="110" y="120"/>
                      <a:pt x="111" y="120"/>
                      <a:pt x="112" y="120"/>
                    </a:cubicBezTo>
                    <a:cubicBezTo>
                      <a:pt x="112" y="120"/>
                      <a:pt x="112" y="120"/>
                      <a:pt x="112" y="120"/>
                    </a:cubicBezTo>
                    <a:cubicBezTo>
                      <a:pt x="120" y="118"/>
                      <a:pt x="125" y="112"/>
                      <a:pt x="126" y="106"/>
                    </a:cubicBezTo>
                    <a:cubicBezTo>
                      <a:pt x="126" y="100"/>
                      <a:pt x="122" y="94"/>
                      <a:pt x="116" y="92"/>
                    </a:cubicBezTo>
                    <a:close/>
                    <a:moveTo>
                      <a:pt x="107" y="52"/>
                    </a:moveTo>
                    <a:cubicBezTo>
                      <a:pt x="105" y="56"/>
                      <a:pt x="102" y="60"/>
                      <a:pt x="98" y="62"/>
                    </a:cubicBezTo>
                    <a:cubicBezTo>
                      <a:pt x="90" y="67"/>
                      <a:pt x="79" y="65"/>
                      <a:pt x="73" y="64"/>
                    </a:cubicBezTo>
                    <a:cubicBezTo>
                      <a:pt x="76" y="61"/>
                      <a:pt x="78" y="57"/>
                      <a:pt x="80" y="54"/>
                    </a:cubicBezTo>
                    <a:cubicBezTo>
                      <a:pt x="91" y="47"/>
                      <a:pt x="102" y="50"/>
                      <a:pt x="107" y="52"/>
                    </a:cubicBezTo>
                    <a:close/>
                    <a:moveTo>
                      <a:pt x="17" y="108"/>
                    </a:moveTo>
                    <a:cubicBezTo>
                      <a:pt x="14" y="107"/>
                      <a:pt x="12" y="106"/>
                      <a:pt x="12" y="105"/>
                    </a:cubicBezTo>
                    <a:cubicBezTo>
                      <a:pt x="12" y="105"/>
                      <a:pt x="13" y="104"/>
                      <a:pt x="14" y="104"/>
                    </a:cubicBezTo>
                    <a:cubicBezTo>
                      <a:pt x="15" y="103"/>
                      <a:pt x="18" y="103"/>
                      <a:pt x="20" y="102"/>
                    </a:cubicBezTo>
                    <a:cubicBezTo>
                      <a:pt x="25" y="101"/>
                      <a:pt x="32" y="100"/>
                      <a:pt x="38" y="98"/>
                    </a:cubicBezTo>
                    <a:cubicBezTo>
                      <a:pt x="43" y="96"/>
                      <a:pt x="47" y="94"/>
                      <a:pt x="50" y="92"/>
                    </a:cubicBezTo>
                    <a:cubicBezTo>
                      <a:pt x="50" y="94"/>
                      <a:pt x="50" y="96"/>
                      <a:pt x="51" y="98"/>
                    </a:cubicBezTo>
                    <a:cubicBezTo>
                      <a:pt x="37" y="111"/>
                      <a:pt x="19" y="109"/>
                      <a:pt x="17" y="108"/>
                    </a:cubicBezTo>
                    <a:close/>
                    <a:moveTo>
                      <a:pt x="96" y="122"/>
                    </a:moveTo>
                    <a:cubicBezTo>
                      <a:pt x="95" y="123"/>
                      <a:pt x="94" y="123"/>
                      <a:pt x="90" y="123"/>
                    </a:cubicBezTo>
                    <a:cubicBezTo>
                      <a:pt x="90" y="123"/>
                      <a:pt x="72" y="121"/>
                      <a:pt x="64" y="101"/>
                    </a:cubicBezTo>
                    <a:cubicBezTo>
                      <a:pt x="61" y="93"/>
                      <a:pt x="61" y="87"/>
                      <a:pt x="62" y="83"/>
                    </a:cubicBezTo>
                    <a:cubicBezTo>
                      <a:pt x="64" y="88"/>
                      <a:pt x="68" y="95"/>
                      <a:pt x="74" y="102"/>
                    </a:cubicBezTo>
                    <a:cubicBezTo>
                      <a:pt x="79" y="107"/>
                      <a:pt x="85" y="112"/>
                      <a:pt x="90" y="116"/>
                    </a:cubicBezTo>
                    <a:cubicBezTo>
                      <a:pt x="92" y="117"/>
                      <a:pt x="93" y="119"/>
                      <a:pt x="95" y="120"/>
                    </a:cubicBezTo>
                    <a:cubicBezTo>
                      <a:pt x="96" y="120"/>
                      <a:pt x="96" y="121"/>
                      <a:pt x="96" y="122"/>
                    </a:cubicBezTo>
                    <a:close/>
                    <a:moveTo>
                      <a:pt x="109" y="108"/>
                    </a:moveTo>
                    <a:cubicBezTo>
                      <a:pt x="108" y="108"/>
                      <a:pt x="106" y="109"/>
                      <a:pt x="102" y="109"/>
                    </a:cubicBezTo>
                    <a:cubicBezTo>
                      <a:pt x="102" y="109"/>
                      <a:pt x="101" y="109"/>
                      <a:pt x="101" y="109"/>
                    </a:cubicBezTo>
                    <a:cubicBezTo>
                      <a:pt x="100" y="108"/>
                      <a:pt x="99" y="108"/>
                      <a:pt x="98" y="107"/>
                    </a:cubicBezTo>
                    <a:cubicBezTo>
                      <a:pt x="94" y="104"/>
                      <a:pt x="90" y="100"/>
                      <a:pt x="86" y="97"/>
                    </a:cubicBezTo>
                    <a:cubicBezTo>
                      <a:pt x="94" y="99"/>
                      <a:pt x="101" y="101"/>
                      <a:pt x="107" y="102"/>
                    </a:cubicBezTo>
                    <a:cubicBezTo>
                      <a:pt x="109" y="103"/>
                      <a:pt x="111" y="103"/>
                      <a:pt x="112" y="104"/>
                    </a:cubicBezTo>
                    <a:cubicBezTo>
                      <a:pt x="113" y="104"/>
                      <a:pt x="114" y="105"/>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76">
                <a:extLst>
                  <a:ext uri="{FF2B5EF4-FFF2-40B4-BE49-F238E27FC236}">
                    <a16:creationId xmlns:a16="http://schemas.microsoft.com/office/drawing/2014/main" id="{AC7F3147-F279-466A-BF27-B52DD6DC55AE}"/>
                  </a:ext>
                </a:extLst>
              </p:cNvPr>
              <p:cNvSpPr>
                <a:spLocks noEditPoints="1"/>
              </p:cNvSpPr>
              <p:nvPr/>
            </p:nvSpPr>
            <p:spPr bwMode="auto">
              <a:xfrm>
                <a:off x="15236191" y="3667125"/>
                <a:ext cx="534988" cy="571500"/>
              </a:xfrm>
              <a:custGeom>
                <a:avLst/>
                <a:gdLst>
                  <a:gd name="T0" fmla="*/ 109 w 126"/>
                  <a:gd name="T1" fmla="*/ 91 h 135"/>
                  <a:gd name="T2" fmla="*/ 83 w 126"/>
                  <a:gd name="T3" fmla="*/ 77 h 135"/>
                  <a:gd name="T4" fmla="*/ 120 w 126"/>
                  <a:gd name="T5" fmla="*/ 51 h 135"/>
                  <a:gd name="T6" fmla="*/ 87 w 126"/>
                  <a:gd name="T7" fmla="*/ 38 h 135"/>
                  <a:gd name="T8" fmla="*/ 77 w 126"/>
                  <a:gd name="T9" fmla="*/ 1 h 135"/>
                  <a:gd name="T10" fmla="*/ 56 w 126"/>
                  <a:gd name="T11" fmla="*/ 24 h 135"/>
                  <a:gd name="T12" fmla="*/ 75 w 126"/>
                  <a:gd name="T13" fmla="*/ 15 h 135"/>
                  <a:gd name="T14" fmla="*/ 33 w 126"/>
                  <a:gd name="T15" fmla="*/ 14 h 135"/>
                  <a:gd name="T16" fmla="*/ 36 w 126"/>
                  <a:gd name="T17" fmla="*/ 68 h 135"/>
                  <a:gd name="T18" fmla="*/ 43 w 126"/>
                  <a:gd name="T19" fmla="*/ 58 h 135"/>
                  <a:gd name="T20" fmla="*/ 53 w 126"/>
                  <a:gd name="T21" fmla="*/ 71 h 135"/>
                  <a:gd name="T22" fmla="*/ 35 w 126"/>
                  <a:gd name="T23" fmla="*/ 86 h 135"/>
                  <a:gd name="T24" fmla="*/ 10 w 126"/>
                  <a:gd name="T25" fmla="*/ 92 h 135"/>
                  <a:gd name="T26" fmla="*/ 14 w 126"/>
                  <a:gd name="T27" fmla="*/ 120 h 135"/>
                  <a:gd name="T28" fmla="*/ 22 w 126"/>
                  <a:gd name="T29" fmla="*/ 121 h 135"/>
                  <a:gd name="T30" fmla="*/ 47 w 126"/>
                  <a:gd name="T31" fmla="*/ 125 h 135"/>
                  <a:gd name="T32" fmla="*/ 52 w 126"/>
                  <a:gd name="T33" fmla="*/ 132 h 135"/>
                  <a:gd name="T34" fmla="*/ 58 w 126"/>
                  <a:gd name="T35" fmla="*/ 128 h 135"/>
                  <a:gd name="T36" fmla="*/ 89 w 126"/>
                  <a:gd name="T37" fmla="*/ 135 h 135"/>
                  <a:gd name="T38" fmla="*/ 107 w 126"/>
                  <a:gd name="T39" fmla="*/ 127 h 135"/>
                  <a:gd name="T40" fmla="*/ 112 w 126"/>
                  <a:gd name="T41" fmla="*/ 120 h 135"/>
                  <a:gd name="T42" fmla="*/ 126 w 126"/>
                  <a:gd name="T43" fmla="*/ 106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3 h 135"/>
                  <a:gd name="T62" fmla="*/ 90 w 126"/>
                  <a:gd name="T63" fmla="*/ 116 h 135"/>
                  <a:gd name="T64" fmla="*/ 96 w 126"/>
                  <a:gd name="T65" fmla="*/ 122 h 135"/>
                  <a:gd name="T66" fmla="*/ 102 w 126"/>
                  <a:gd name="T67" fmla="*/ 109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2"/>
                      <a:pt x="112" y="91"/>
                      <a:pt x="109" y="91"/>
                    </a:cubicBezTo>
                    <a:cubicBezTo>
                      <a:pt x="100" y="89"/>
                      <a:pt x="84" y="85"/>
                      <a:pt x="75" y="77"/>
                    </a:cubicBezTo>
                    <a:cubicBezTo>
                      <a:pt x="78" y="77"/>
                      <a:pt x="80" y="77"/>
                      <a:pt x="83" y="77"/>
                    </a:cubicBezTo>
                    <a:cubicBezTo>
                      <a:pt x="90" y="77"/>
                      <a:pt x="97" y="76"/>
                      <a:pt x="104" y="73"/>
                    </a:cubicBezTo>
                    <a:cubicBezTo>
                      <a:pt x="112" y="68"/>
                      <a:pt x="117" y="61"/>
                      <a:pt x="120" y="51"/>
                    </a:cubicBezTo>
                    <a:cubicBezTo>
                      <a:pt x="121" y="49"/>
                      <a:pt x="120" y="46"/>
                      <a:pt x="118" y="45"/>
                    </a:cubicBezTo>
                    <a:cubicBezTo>
                      <a:pt x="117" y="44"/>
                      <a:pt x="104" y="34"/>
                      <a:pt x="87" y="38"/>
                    </a:cubicBezTo>
                    <a:cubicBezTo>
                      <a:pt x="91" y="19"/>
                      <a:pt x="84" y="4"/>
                      <a:pt x="84" y="4"/>
                    </a:cubicBezTo>
                    <a:cubicBezTo>
                      <a:pt x="82" y="2"/>
                      <a:pt x="80" y="0"/>
                      <a:pt x="77" y="1"/>
                    </a:cubicBezTo>
                    <a:cubicBezTo>
                      <a:pt x="65" y="4"/>
                      <a:pt x="56" y="15"/>
                      <a:pt x="55" y="16"/>
                    </a:cubicBezTo>
                    <a:cubicBezTo>
                      <a:pt x="53" y="19"/>
                      <a:pt x="54" y="22"/>
                      <a:pt x="56" y="24"/>
                    </a:cubicBezTo>
                    <a:cubicBezTo>
                      <a:pt x="59" y="26"/>
                      <a:pt x="63" y="26"/>
                      <a:pt x="65" y="23"/>
                    </a:cubicBezTo>
                    <a:cubicBezTo>
                      <a:pt x="65" y="23"/>
                      <a:pt x="69" y="18"/>
                      <a:pt x="75" y="15"/>
                    </a:cubicBezTo>
                    <a:cubicBezTo>
                      <a:pt x="77" y="23"/>
                      <a:pt x="79" y="40"/>
                      <a:pt x="63" y="57"/>
                    </a:cubicBezTo>
                    <a:cubicBezTo>
                      <a:pt x="59" y="29"/>
                      <a:pt x="45" y="18"/>
                      <a:pt x="33" y="14"/>
                    </a:cubicBezTo>
                    <a:cubicBezTo>
                      <a:pt x="31" y="13"/>
                      <a:pt x="27" y="15"/>
                      <a:pt x="26" y="17"/>
                    </a:cubicBezTo>
                    <a:cubicBezTo>
                      <a:pt x="21" y="29"/>
                      <a:pt x="16" y="54"/>
                      <a:pt x="36" y="68"/>
                    </a:cubicBezTo>
                    <a:cubicBezTo>
                      <a:pt x="39" y="70"/>
                      <a:pt x="43" y="69"/>
                      <a:pt x="45" y="66"/>
                    </a:cubicBezTo>
                    <a:cubicBezTo>
                      <a:pt x="47" y="64"/>
                      <a:pt x="46" y="60"/>
                      <a:pt x="43" y="58"/>
                    </a:cubicBezTo>
                    <a:cubicBezTo>
                      <a:pt x="31" y="50"/>
                      <a:pt x="33" y="36"/>
                      <a:pt x="35" y="28"/>
                    </a:cubicBezTo>
                    <a:cubicBezTo>
                      <a:pt x="46" y="35"/>
                      <a:pt x="52" y="49"/>
                      <a:pt x="53" y="71"/>
                    </a:cubicBezTo>
                    <a:cubicBezTo>
                      <a:pt x="53" y="71"/>
                      <a:pt x="53" y="71"/>
                      <a:pt x="53" y="71"/>
                    </a:cubicBezTo>
                    <a:cubicBezTo>
                      <a:pt x="49" y="77"/>
                      <a:pt x="46" y="83"/>
                      <a:pt x="35" y="86"/>
                    </a:cubicBezTo>
                    <a:cubicBezTo>
                      <a:pt x="28" y="88"/>
                      <a:pt x="22" y="90"/>
                      <a:pt x="18" y="91"/>
                    </a:cubicBezTo>
                    <a:cubicBezTo>
                      <a:pt x="14" y="91"/>
                      <a:pt x="12" y="92"/>
                      <a:pt x="10" y="92"/>
                    </a:cubicBezTo>
                    <a:cubicBezTo>
                      <a:pt x="4" y="94"/>
                      <a:pt x="0" y="100"/>
                      <a:pt x="0" y="106"/>
                    </a:cubicBezTo>
                    <a:cubicBezTo>
                      <a:pt x="1" y="112"/>
                      <a:pt x="6" y="118"/>
                      <a:pt x="14" y="120"/>
                    </a:cubicBezTo>
                    <a:cubicBezTo>
                      <a:pt x="15" y="120"/>
                      <a:pt x="15" y="120"/>
                      <a:pt x="15" y="120"/>
                    </a:cubicBezTo>
                    <a:cubicBezTo>
                      <a:pt x="15" y="120"/>
                      <a:pt x="18" y="121"/>
                      <a:pt x="22" y="121"/>
                    </a:cubicBezTo>
                    <a:cubicBezTo>
                      <a:pt x="28" y="121"/>
                      <a:pt x="39" y="119"/>
                      <a:pt x="49" y="114"/>
                    </a:cubicBezTo>
                    <a:cubicBezTo>
                      <a:pt x="48" y="120"/>
                      <a:pt x="47" y="124"/>
                      <a:pt x="47" y="125"/>
                    </a:cubicBezTo>
                    <a:cubicBezTo>
                      <a:pt x="47" y="125"/>
                      <a:pt x="46" y="126"/>
                      <a:pt x="46" y="126"/>
                    </a:cubicBezTo>
                    <a:cubicBezTo>
                      <a:pt x="46" y="129"/>
                      <a:pt x="49" y="132"/>
                      <a:pt x="52" y="132"/>
                    </a:cubicBezTo>
                    <a:cubicBezTo>
                      <a:pt x="52" y="132"/>
                      <a:pt x="52" y="132"/>
                      <a:pt x="52" y="132"/>
                    </a:cubicBezTo>
                    <a:cubicBezTo>
                      <a:pt x="55" y="132"/>
                      <a:pt x="58" y="130"/>
                      <a:pt x="58" y="128"/>
                    </a:cubicBezTo>
                    <a:cubicBezTo>
                      <a:pt x="58" y="127"/>
                      <a:pt x="59" y="124"/>
                      <a:pt x="60" y="118"/>
                    </a:cubicBezTo>
                    <a:cubicBezTo>
                      <a:pt x="72" y="133"/>
                      <a:pt x="88" y="135"/>
                      <a:pt x="89" y="135"/>
                    </a:cubicBezTo>
                    <a:cubicBezTo>
                      <a:pt x="90" y="135"/>
                      <a:pt x="91" y="135"/>
                      <a:pt x="92" y="135"/>
                    </a:cubicBezTo>
                    <a:cubicBezTo>
                      <a:pt x="99" y="135"/>
                      <a:pt x="104" y="132"/>
                      <a:pt x="107" y="127"/>
                    </a:cubicBezTo>
                    <a:cubicBezTo>
                      <a:pt x="108" y="125"/>
                      <a:pt x="108" y="123"/>
                      <a:pt x="108" y="121"/>
                    </a:cubicBezTo>
                    <a:cubicBezTo>
                      <a:pt x="110" y="121"/>
                      <a:pt x="111" y="120"/>
                      <a:pt x="112" y="120"/>
                    </a:cubicBezTo>
                    <a:cubicBezTo>
                      <a:pt x="112" y="120"/>
                      <a:pt x="112" y="120"/>
                      <a:pt x="112" y="120"/>
                    </a:cubicBezTo>
                    <a:cubicBezTo>
                      <a:pt x="120" y="118"/>
                      <a:pt x="125" y="112"/>
                      <a:pt x="126" y="106"/>
                    </a:cubicBezTo>
                    <a:cubicBezTo>
                      <a:pt x="126" y="100"/>
                      <a:pt x="122" y="94"/>
                      <a:pt x="116" y="92"/>
                    </a:cubicBezTo>
                    <a:close/>
                    <a:moveTo>
                      <a:pt x="107" y="52"/>
                    </a:moveTo>
                    <a:cubicBezTo>
                      <a:pt x="105" y="57"/>
                      <a:pt x="102" y="60"/>
                      <a:pt x="98" y="62"/>
                    </a:cubicBezTo>
                    <a:cubicBezTo>
                      <a:pt x="90" y="67"/>
                      <a:pt x="79" y="65"/>
                      <a:pt x="73" y="64"/>
                    </a:cubicBezTo>
                    <a:cubicBezTo>
                      <a:pt x="76" y="61"/>
                      <a:pt x="78" y="57"/>
                      <a:pt x="80" y="54"/>
                    </a:cubicBezTo>
                    <a:cubicBezTo>
                      <a:pt x="91" y="47"/>
                      <a:pt x="102" y="50"/>
                      <a:pt x="107" y="52"/>
                    </a:cubicBezTo>
                    <a:close/>
                    <a:moveTo>
                      <a:pt x="17" y="108"/>
                    </a:moveTo>
                    <a:cubicBezTo>
                      <a:pt x="14" y="107"/>
                      <a:pt x="12" y="106"/>
                      <a:pt x="12" y="105"/>
                    </a:cubicBezTo>
                    <a:cubicBezTo>
                      <a:pt x="12" y="105"/>
                      <a:pt x="13" y="104"/>
                      <a:pt x="14" y="104"/>
                    </a:cubicBezTo>
                    <a:cubicBezTo>
                      <a:pt x="15" y="103"/>
                      <a:pt x="18" y="103"/>
                      <a:pt x="20" y="102"/>
                    </a:cubicBezTo>
                    <a:cubicBezTo>
                      <a:pt x="25" y="101"/>
                      <a:pt x="32" y="100"/>
                      <a:pt x="38" y="98"/>
                    </a:cubicBezTo>
                    <a:cubicBezTo>
                      <a:pt x="43" y="96"/>
                      <a:pt x="47" y="94"/>
                      <a:pt x="50" y="92"/>
                    </a:cubicBezTo>
                    <a:cubicBezTo>
                      <a:pt x="50" y="94"/>
                      <a:pt x="50" y="96"/>
                      <a:pt x="51" y="98"/>
                    </a:cubicBezTo>
                    <a:cubicBezTo>
                      <a:pt x="37" y="111"/>
                      <a:pt x="19" y="109"/>
                      <a:pt x="17" y="108"/>
                    </a:cubicBezTo>
                    <a:close/>
                    <a:moveTo>
                      <a:pt x="96" y="122"/>
                    </a:moveTo>
                    <a:cubicBezTo>
                      <a:pt x="95" y="123"/>
                      <a:pt x="94" y="124"/>
                      <a:pt x="90" y="123"/>
                    </a:cubicBezTo>
                    <a:cubicBezTo>
                      <a:pt x="90" y="123"/>
                      <a:pt x="72" y="121"/>
                      <a:pt x="64" y="101"/>
                    </a:cubicBezTo>
                    <a:cubicBezTo>
                      <a:pt x="61" y="94"/>
                      <a:pt x="61" y="87"/>
                      <a:pt x="62" y="83"/>
                    </a:cubicBezTo>
                    <a:cubicBezTo>
                      <a:pt x="64" y="88"/>
                      <a:pt x="68" y="95"/>
                      <a:pt x="74" y="102"/>
                    </a:cubicBezTo>
                    <a:cubicBezTo>
                      <a:pt x="79" y="107"/>
                      <a:pt x="85" y="112"/>
                      <a:pt x="90" y="116"/>
                    </a:cubicBezTo>
                    <a:cubicBezTo>
                      <a:pt x="92" y="118"/>
                      <a:pt x="93" y="119"/>
                      <a:pt x="95" y="120"/>
                    </a:cubicBezTo>
                    <a:cubicBezTo>
                      <a:pt x="96" y="121"/>
                      <a:pt x="96" y="121"/>
                      <a:pt x="96" y="122"/>
                    </a:cubicBezTo>
                    <a:close/>
                    <a:moveTo>
                      <a:pt x="109" y="108"/>
                    </a:moveTo>
                    <a:cubicBezTo>
                      <a:pt x="108" y="109"/>
                      <a:pt x="106" y="109"/>
                      <a:pt x="102" y="109"/>
                    </a:cubicBezTo>
                    <a:cubicBezTo>
                      <a:pt x="102" y="109"/>
                      <a:pt x="101" y="109"/>
                      <a:pt x="101" y="109"/>
                    </a:cubicBezTo>
                    <a:cubicBezTo>
                      <a:pt x="100" y="108"/>
                      <a:pt x="99" y="108"/>
                      <a:pt x="98" y="107"/>
                    </a:cubicBezTo>
                    <a:cubicBezTo>
                      <a:pt x="94" y="104"/>
                      <a:pt x="90" y="100"/>
                      <a:pt x="86" y="97"/>
                    </a:cubicBezTo>
                    <a:cubicBezTo>
                      <a:pt x="94" y="100"/>
                      <a:pt x="101" y="101"/>
                      <a:pt x="107" y="102"/>
                    </a:cubicBezTo>
                    <a:cubicBezTo>
                      <a:pt x="109" y="103"/>
                      <a:pt x="111" y="103"/>
                      <a:pt x="112" y="104"/>
                    </a:cubicBezTo>
                    <a:cubicBezTo>
                      <a:pt x="113" y="104"/>
                      <a:pt x="114" y="105"/>
                      <a:pt x="114" y="105"/>
                    </a:cubicBezTo>
                    <a:cubicBezTo>
                      <a:pt x="114" y="106"/>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77">
                <a:extLst>
                  <a:ext uri="{FF2B5EF4-FFF2-40B4-BE49-F238E27FC236}">
                    <a16:creationId xmlns:a16="http://schemas.microsoft.com/office/drawing/2014/main" id="{DF2B802A-2A16-4EBE-BD30-45A49B959AC7}"/>
                  </a:ext>
                </a:extLst>
              </p:cNvPr>
              <p:cNvSpPr>
                <a:spLocks noEditPoints="1"/>
              </p:cNvSpPr>
              <p:nvPr/>
            </p:nvSpPr>
            <p:spPr bwMode="auto">
              <a:xfrm>
                <a:off x="15236191" y="2516188"/>
                <a:ext cx="534988" cy="573088"/>
              </a:xfrm>
              <a:custGeom>
                <a:avLst/>
                <a:gdLst>
                  <a:gd name="T0" fmla="*/ 109 w 126"/>
                  <a:gd name="T1" fmla="*/ 90 h 135"/>
                  <a:gd name="T2" fmla="*/ 83 w 126"/>
                  <a:gd name="T3" fmla="*/ 77 h 135"/>
                  <a:gd name="T4" fmla="*/ 120 w 126"/>
                  <a:gd name="T5" fmla="*/ 50 h 135"/>
                  <a:gd name="T6" fmla="*/ 87 w 126"/>
                  <a:gd name="T7" fmla="*/ 38 h 135"/>
                  <a:gd name="T8" fmla="*/ 77 w 126"/>
                  <a:gd name="T9" fmla="*/ 0 h 135"/>
                  <a:gd name="T10" fmla="*/ 56 w 126"/>
                  <a:gd name="T11" fmla="*/ 24 h 135"/>
                  <a:gd name="T12" fmla="*/ 75 w 126"/>
                  <a:gd name="T13" fmla="*/ 14 h 135"/>
                  <a:gd name="T14" fmla="*/ 33 w 126"/>
                  <a:gd name="T15" fmla="*/ 14 h 135"/>
                  <a:gd name="T16" fmla="*/ 36 w 126"/>
                  <a:gd name="T17" fmla="*/ 67 h 135"/>
                  <a:gd name="T18" fmla="*/ 43 w 126"/>
                  <a:gd name="T19" fmla="*/ 57 h 135"/>
                  <a:gd name="T20" fmla="*/ 53 w 126"/>
                  <a:gd name="T21" fmla="*/ 70 h 135"/>
                  <a:gd name="T22" fmla="*/ 35 w 126"/>
                  <a:gd name="T23" fmla="*/ 86 h 135"/>
                  <a:gd name="T24" fmla="*/ 10 w 126"/>
                  <a:gd name="T25" fmla="*/ 92 h 135"/>
                  <a:gd name="T26" fmla="*/ 14 w 126"/>
                  <a:gd name="T27" fmla="*/ 119 h 135"/>
                  <a:gd name="T28" fmla="*/ 22 w 126"/>
                  <a:gd name="T29" fmla="*/ 120 h 135"/>
                  <a:gd name="T30" fmla="*/ 47 w 126"/>
                  <a:gd name="T31" fmla="*/ 124 h 135"/>
                  <a:gd name="T32" fmla="*/ 52 w 126"/>
                  <a:gd name="T33" fmla="*/ 132 h 135"/>
                  <a:gd name="T34" fmla="*/ 58 w 126"/>
                  <a:gd name="T35" fmla="*/ 127 h 135"/>
                  <a:gd name="T36" fmla="*/ 89 w 126"/>
                  <a:gd name="T37" fmla="*/ 134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6 w 126"/>
                  <a:gd name="T65" fmla="*/ 121 h 135"/>
                  <a:gd name="T66" fmla="*/ 102 w 126"/>
                  <a:gd name="T67" fmla="*/ 108 h 135"/>
                  <a:gd name="T68" fmla="*/ 98 w 126"/>
                  <a:gd name="T69" fmla="*/ 106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0"/>
                      <a:pt x="120" y="50"/>
                    </a:cubicBezTo>
                    <a:cubicBezTo>
                      <a:pt x="121" y="48"/>
                      <a:pt x="120" y="45"/>
                      <a:pt x="118" y="44"/>
                    </a:cubicBezTo>
                    <a:cubicBezTo>
                      <a:pt x="117" y="43"/>
                      <a:pt x="104" y="34"/>
                      <a:pt x="87" y="38"/>
                    </a:cubicBezTo>
                    <a:cubicBezTo>
                      <a:pt x="91" y="19"/>
                      <a:pt x="84" y="4"/>
                      <a:pt x="84" y="4"/>
                    </a:cubicBezTo>
                    <a:cubicBezTo>
                      <a:pt x="82" y="1"/>
                      <a:pt x="80" y="0"/>
                      <a:pt x="77" y="0"/>
                    </a:cubicBezTo>
                    <a:cubicBezTo>
                      <a:pt x="65" y="3"/>
                      <a:pt x="56" y="15"/>
                      <a:pt x="55" y="15"/>
                    </a:cubicBezTo>
                    <a:cubicBezTo>
                      <a:pt x="53" y="18"/>
                      <a:pt x="54" y="22"/>
                      <a:pt x="56" y="24"/>
                    </a:cubicBezTo>
                    <a:cubicBezTo>
                      <a:pt x="59" y="26"/>
                      <a:pt x="63" y="25"/>
                      <a:pt x="65" y="23"/>
                    </a:cubicBezTo>
                    <a:cubicBezTo>
                      <a:pt x="65" y="22"/>
                      <a:pt x="69" y="17"/>
                      <a:pt x="75" y="14"/>
                    </a:cubicBezTo>
                    <a:cubicBezTo>
                      <a:pt x="77" y="22"/>
                      <a:pt x="79" y="39"/>
                      <a:pt x="63" y="56"/>
                    </a:cubicBezTo>
                    <a:cubicBezTo>
                      <a:pt x="59" y="28"/>
                      <a:pt x="45" y="18"/>
                      <a:pt x="33" y="14"/>
                    </a:cubicBezTo>
                    <a:cubicBezTo>
                      <a:pt x="31" y="13"/>
                      <a:pt x="27" y="14"/>
                      <a:pt x="26" y="17"/>
                    </a:cubicBezTo>
                    <a:cubicBezTo>
                      <a:pt x="21" y="28"/>
                      <a:pt x="16" y="53"/>
                      <a:pt x="36" y="67"/>
                    </a:cubicBezTo>
                    <a:cubicBezTo>
                      <a:pt x="39" y="69"/>
                      <a:pt x="43" y="68"/>
                      <a:pt x="45" y="66"/>
                    </a:cubicBezTo>
                    <a:cubicBezTo>
                      <a:pt x="47" y="63"/>
                      <a:pt x="46" y="59"/>
                      <a:pt x="43" y="57"/>
                    </a:cubicBezTo>
                    <a:cubicBezTo>
                      <a:pt x="31" y="49"/>
                      <a:pt x="33" y="35"/>
                      <a:pt x="35" y="27"/>
                    </a:cubicBezTo>
                    <a:cubicBezTo>
                      <a:pt x="46" y="34"/>
                      <a:pt x="52" y="49"/>
                      <a:pt x="53" y="70"/>
                    </a:cubicBezTo>
                    <a:cubicBezTo>
                      <a:pt x="53" y="71"/>
                      <a:pt x="53" y="71"/>
                      <a:pt x="53" y="71"/>
                    </a:cubicBezTo>
                    <a:cubicBezTo>
                      <a:pt x="49" y="77"/>
                      <a:pt x="46" y="82"/>
                      <a:pt x="35" y="86"/>
                    </a:cubicBezTo>
                    <a:cubicBezTo>
                      <a:pt x="28" y="88"/>
                      <a:pt x="22" y="89"/>
                      <a:pt x="18" y="90"/>
                    </a:cubicBezTo>
                    <a:cubicBezTo>
                      <a:pt x="14" y="91"/>
                      <a:pt x="12" y="91"/>
                      <a:pt x="10" y="92"/>
                    </a:cubicBezTo>
                    <a:cubicBezTo>
                      <a:pt x="4" y="94"/>
                      <a:pt x="0" y="99"/>
                      <a:pt x="0" y="105"/>
                    </a:cubicBezTo>
                    <a:cubicBezTo>
                      <a:pt x="1" y="112"/>
                      <a:pt x="6" y="117"/>
                      <a:pt x="14" y="119"/>
                    </a:cubicBezTo>
                    <a:cubicBezTo>
                      <a:pt x="15" y="120"/>
                      <a:pt x="15" y="120"/>
                      <a:pt x="15" y="120"/>
                    </a:cubicBezTo>
                    <a:cubicBezTo>
                      <a:pt x="15" y="120"/>
                      <a:pt x="18" y="120"/>
                      <a:pt x="22" y="120"/>
                    </a:cubicBezTo>
                    <a:cubicBezTo>
                      <a:pt x="28" y="120"/>
                      <a:pt x="39" y="119"/>
                      <a:pt x="49" y="113"/>
                    </a:cubicBezTo>
                    <a:cubicBezTo>
                      <a:pt x="48" y="119"/>
                      <a:pt x="47" y="124"/>
                      <a:pt x="47" y="124"/>
                    </a:cubicBezTo>
                    <a:cubicBezTo>
                      <a:pt x="47" y="125"/>
                      <a:pt x="46" y="125"/>
                      <a:pt x="46" y="126"/>
                    </a:cubicBezTo>
                    <a:cubicBezTo>
                      <a:pt x="46" y="129"/>
                      <a:pt x="49" y="131"/>
                      <a:pt x="52" y="132"/>
                    </a:cubicBezTo>
                    <a:cubicBezTo>
                      <a:pt x="52" y="132"/>
                      <a:pt x="52" y="132"/>
                      <a:pt x="52" y="132"/>
                    </a:cubicBezTo>
                    <a:cubicBezTo>
                      <a:pt x="55" y="132"/>
                      <a:pt x="58" y="130"/>
                      <a:pt x="58" y="127"/>
                    </a:cubicBezTo>
                    <a:cubicBezTo>
                      <a:pt x="58" y="127"/>
                      <a:pt x="59" y="123"/>
                      <a:pt x="60" y="117"/>
                    </a:cubicBezTo>
                    <a:cubicBezTo>
                      <a:pt x="72" y="132"/>
                      <a:pt x="88" y="134"/>
                      <a:pt x="89" y="134"/>
                    </a:cubicBezTo>
                    <a:cubicBezTo>
                      <a:pt x="90" y="135"/>
                      <a:pt x="91" y="135"/>
                      <a:pt x="92" y="135"/>
                    </a:cubicBezTo>
                    <a:cubicBezTo>
                      <a:pt x="99" y="135"/>
                      <a:pt x="104" y="132"/>
                      <a:pt x="107" y="126"/>
                    </a:cubicBezTo>
                    <a:cubicBezTo>
                      <a:pt x="108" y="124"/>
                      <a:pt x="108" y="122"/>
                      <a:pt x="108" y="120"/>
                    </a:cubicBezTo>
                    <a:cubicBezTo>
                      <a:pt x="110" y="120"/>
                      <a:pt x="111" y="120"/>
                      <a:pt x="112" y="120"/>
                    </a:cubicBezTo>
                    <a:cubicBezTo>
                      <a:pt x="112" y="119"/>
                      <a:pt x="112" y="119"/>
                      <a:pt x="112" y="119"/>
                    </a:cubicBezTo>
                    <a:cubicBezTo>
                      <a:pt x="120" y="117"/>
                      <a:pt x="125" y="112"/>
                      <a:pt x="126" y="105"/>
                    </a:cubicBezTo>
                    <a:cubicBezTo>
                      <a:pt x="126" y="99"/>
                      <a:pt x="122" y="94"/>
                      <a:pt x="116" y="92"/>
                    </a:cubicBezTo>
                    <a:close/>
                    <a:moveTo>
                      <a:pt x="107" y="52"/>
                    </a:moveTo>
                    <a:cubicBezTo>
                      <a:pt x="105" y="56"/>
                      <a:pt x="102" y="59"/>
                      <a:pt x="98" y="61"/>
                    </a:cubicBezTo>
                    <a:cubicBezTo>
                      <a:pt x="90" y="66"/>
                      <a:pt x="79" y="65"/>
                      <a:pt x="73" y="64"/>
                    </a:cubicBezTo>
                    <a:cubicBezTo>
                      <a:pt x="76" y="60"/>
                      <a:pt x="78" y="57"/>
                      <a:pt x="80" y="54"/>
                    </a:cubicBezTo>
                    <a:cubicBezTo>
                      <a:pt x="91" y="46"/>
                      <a:pt x="102" y="49"/>
                      <a:pt x="107" y="52"/>
                    </a:cubicBezTo>
                    <a:close/>
                    <a:moveTo>
                      <a:pt x="17" y="108"/>
                    </a:moveTo>
                    <a:cubicBezTo>
                      <a:pt x="14" y="107"/>
                      <a:pt x="12" y="105"/>
                      <a:pt x="12" y="105"/>
                    </a:cubicBezTo>
                    <a:cubicBezTo>
                      <a:pt x="12" y="104"/>
                      <a:pt x="13" y="103"/>
                      <a:pt x="14" y="103"/>
                    </a:cubicBezTo>
                    <a:cubicBezTo>
                      <a:pt x="15" y="103"/>
                      <a:pt x="18" y="102"/>
                      <a:pt x="20" y="102"/>
                    </a:cubicBezTo>
                    <a:cubicBezTo>
                      <a:pt x="25" y="101"/>
                      <a:pt x="32" y="99"/>
                      <a:pt x="38" y="97"/>
                    </a:cubicBezTo>
                    <a:cubicBezTo>
                      <a:pt x="43" y="96"/>
                      <a:pt x="47" y="94"/>
                      <a:pt x="50" y="92"/>
                    </a:cubicBezTo>
                    <a:cubicBezTo>
                      <a:pt x="50" y="93"/>
                      <a:pt x="50" y="95"/>
                      <a:pt x="51" y="97"/>
                    </a:cubicBezTo>
                    <a:cubicBezTo>
                      <a:pt x="37" y="110"/>
                      <a:pt x="19" y="108"/>
                      <a:pt x="17" y="108"/>
                    </a:cubicBezTo>
                    <a:close/>
                    <a:moveTo>
                      <a:pt x="96" y="121"/>
                    </a:moveTo>
                    <a:cubicBezTo>
                      <a:pt x="95" y="122"/>
                      <a:pt x="94" y="123"/>
                      <a:pt x="90" y="123"/>
                    </a:cubicBezTo>
                    <a:cubicBezTo>
                      <a:pt x="90" y="123"/>
                      <a:pt x="72" y="120"/>
                      <a:pt x="64" y="100"/>
                    </a:cubicBezTo>
                    <a:cubicBezTo>
                      <a:pt x="61" y="93"/>
                      <a:pt x="61" y="87"/>
                      <a:pt x="62" y="82"/>
                    </a:cubicBezTo>
                    <a:cubicBezTo>
                      <a:pt x="64" y="88"/>
                      <a:pt x="68" y="94"/>
                      <a:pt x="74" y="101"/>
                    </a:cubicBezTo>
                    <a:cubicBezTo>
                      <a:pt x="79" y="106"/>
                      <a:pt x="85" y="112"/>
                      <a:pt x="90" y="116"/>
                    </a:cubicBezTo>
                    <a:cubicBezTo>
                      <a:pt x="92" y="117"/>
                      <a:pt x="93" y="118"/>
                      <a:pt x="95" y="119"/>
                    </a:cubicBezTo>
                    <a:cubicBezTo>
                      <a:pt x="96" y="120"/>
                      <a:pt x="96" y="121"/>
                      <a:pt x="96" y="121"/>
                    </a:cubicBezTo>
                    <a:close/>
                    <a:moveTo>
                      <a:pt x="109" y="108"/>
                    </a:moveTo>
                    <a:cubicBezTo>
                      <a:pt x="108" y="108"/>
                      <a:pt x="106" y="108"/>
                      <a:pt x="102" y="108"/>
                    </a:cubicBezTo>
                    <a:cubicBezTo>
                      <a:pt x="102" y="108"/>
                      <a:pt x="101" y="108"/>
                      <a:pt x="101" y="109"/>
                    </a:cubicBezTo>
                    <a:cubicBezTo>
                      <a:pt x="100" y="108"/>
                      <a:pt x="99" y="107"/>
                      <a:pt x="98" y="106"/>
                    </a:cubicBezTo>
                    <a:cubicBezTo>
                      <a:pt x="94" y="103"/>
                      <a:pt x="90" y="100"/>
                      <a:pt x="86" y="96"/>
                    </a:cubicBezTo>
                    <a:cubicBezTo>
                      <a:pt x="94" y="99"/>
                      <a:pt x="101" y="101"/>
                      <a:pt x="107" y="102"/>
                    </a:cubicBezTo>
                    <a:cubicBezTo>
                      <a:pt x="109" y="102"/>
                      <a:pt x="111" y="103"/>
                      <a:pt x="112" y="103"/>
                    </a:cubicBezTo>
                    <a:cubicBezTo>
                      <a:pt x="113" y="103"/>
                      <a:pt x="114" y="104"/>
                      <a:pt x="114" y="105"/>
                    </a:cubicBezTo>
                    <a:cubicBezTo>
                      <a:pt x="114" y="105"/>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78">
                <a:extLst>
                  <a:ext uri="{FF2B5EF4-FFF2-40B4-BE49-F238E27FC236}">
                    <a16:creationId xmlns:a16="http://schemas.microsoft.com/office/drawing/2014/main" id="{7004153D-4ED3-418E-A6FA-1613E892D1B0}"/>
                  </a:ext>
                </a:extLst>
              </p:cNvPr>
              <p:cNvSpPr>
                <a:spLocks noEditPoints="1"/>
              </p:cNvSpPr>
              <p:nvPr/>
            </p:nvSpPr>
            <p:spPr bwMode="auto">
              <a:xfrm>
                <a:off x="15236191" y="4248150"/>
                <a:ext cx="534988" cy="571500"/>
              </a:xfrm>
              <a:custGeom>
                <a:avLst/>
                <a:gdLst>
                  <a:gd name="T0" fmla="*/ 109 w 126"/>
                  <a:gd name="T1" fmla="*/ 90 h 135"/>
                  <a:gd name="T2" fmla="*/ 83 w 126"/>
                  <a:gd name="T3" fmla="*/ 77 h 135"/>
                  <a:gd name="T4" fmla="*/ 120 w 126"/>
                  <a:gd name="T5" fmla="*/ 50 h 135"/>
                  <a:gd name="T6" fmla="*/ 87 w 126"/>
                  <a:gd name="T7" fmla="*/ 38 h 135"/>
                  <a:gd name="T8" fmla="*/ 77 w 126"/>
                  <a:gd name="T9" fmla="*/ 0 h 135"/>
                  <a:gd name="T10" fmla="*/ 56 w 126"/>
                  <a:gd name="T11" fmla="*/ 24 h 135"/>
                  <a:gd name="T12" fmla="*/ 75 w 126"/>
                  <a:gd name="T13" fmla="*/ 14 h 135"/>
                  <a:gd name="T14" fmla="*/ 33 w 126"/>
                  <a:gd name="T15" fmla="*/ 14 h 135"/>
                  <a:gd name="T16" fmla="*/ 36 w 126"/>
                  <a:gd name="T17" fmla="*/ 67 h 135"/>
                  <a:gd name="T18" fmla="*/ 43 w 126"/>
                  <a:gd name="T19" fmla="*/ 57 h 135"/>
                  <a:gd name="T20" fmla="*/ 53 w 126"/>
                  <a:gd name="T21" fmla="*/ 70 h 135"/>
                  <a:gd name="T22" fmla="*/ 35 w 126"/>
                  <a:gd name="T23" fmla="*/ 86 h 135"/>
                  <a:gd name="T24" fmla="*/ 10 w 126"/>
                  <a:gd name="T25" fmla="*/ 92 h 135"/>
                  <a:gd name="T26" fmla="*/ 14 w 126"/>
                  <a:gd name="T27" fmla="*/ 119 h 135"/>
                  <a:gd name="T28" fmla="*/ 22 w 126"/>
                  <a:gd name="T29" fmla="*/ 120 h 135"/>
                  <a:gd name="T30" fmla="*/ 47 w 126"/>
                  <a:gd name="T31" fmla="*/ 124 h 135"/>
                  <a:gd name="T32" fmla="*/ 52 w 126"/>
                  <a:gd name="T33" fmla="*/ 132 h 135"/>
                  <a:gd name="T34" fmla="*/ 58 w 126"/>
                  <a:gd name="T35" fmla="*/ 127 h 135"/>
                  <a:gd name="T36" fmla="*/ 89 w 126"/>
                  <a:gd name="T37" fmla="*/ 134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2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0 w 126"/>
                  <a:gd name="T63" fmla="*/ 116 h 135"/>
                  <a:gd name="T64" fmla="*/ 96 w 126"/>
                  <a:gd name="T65" fmla="*/ 121 h 135"/>
                  <a:gd name="T66" fmla="*/ 102 w 126"/>
                  <a:gd name="T67" fmla="*/ 108 h 135"/>
                  <a:gd name="T68" fmla="*/ 98 w 126"/>
                  <a:gd name="T69" fmla="*/ 106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7" y="60"/>
                      <a:pt x="120" y="50"/>
                    </a:cubicBezTo>
                    <a:cubicBezTo>
                      <a:pt x="121" y="48"/>
                      <a:pt x="120" y="45"/>
                      <a:pt x="118" y="44"/>
                    </a:cubicBezTo>
                    <a:cubicBezTo>
                      <a:pt x="117" y="43"/>
                      <a:pt x="104" y="34"/>
                      <a:pt x="87" y="38"/>
                    </a:cubicBezTo>
                    <a:cubicBezTo>
                      <a:pt x="91" y="19"/>
                      <a:pt x="84" y="4"/>
                      <a:pt x="84" y="4"/>
                    </a:cubicBezTo>
                    <a:cubicBezTo>
                      <a:pt x="82" y="1"/>
                      <a:pt x="80" y="0"/>
                      <a:pt x="77" y="0"/>
                    </a:cubicBezTo>
                    <a:cubicBezTo>
                      <a:pt x="65" y="3"/>
                      <a:pt x="56" y="15"/>
                      <a:pt x="55" y="15"/>
                    </a:cubicBezTo>
                    <a:cubicBezTo>
                      <a:pt x="53" y="18"/>
                      <a:pt x="54" y="22"/>
                      <a:pt x="56" y="24"/>
                    </a:cubicBezTo>
                    <a:cubicBezTo>
                      <a:pt x="59" y="26"/>
                      <a:pt x="63" y="25"/>
                      <a:pt x="65" y="23"/>
                    </a:cubicBezTo>
                    <a:cubicBezTo>
                      <a:pt x="65" y="22"/>
                      <a:pt x="69" y="17"/>
                      <a:pt x="75" y="14"/>
                    </a:cubicBezTo>
                    <a:cubicBezTo>
                      <a:pt x="77" y="22"/>
                      <a:pt x="79" y="39"/>
                      <a:pt x="63" y="56"/>
                    </a:cubicBezTo>
                    <a:cubicBezTo>
                      <a:pt x="59" y="28"/>
                      <a:pt x="45" y="18"/>
                      <a:pt x="33" y="14"/>
                    </a:cubicBezTo>
                    <a:cubicBezTo>
                      <a:pt x="31" y="13"/>
                      <a:pt x="27" y="14"/>
                      <a:pt x="26" y="17"/>
                    </a:cubicBezTo>
                    <a:cubicBezTo>
                      <a:pt x="21" y="28"/>
                      <a:pt x="16" y="53"/>
                      <a:pt x="36" y="67"/>
                    </a:cubicBezTo>
                    <a:cubicBezTo>
                      <a:pt x="39" y="69"/>
                      <a:pt x="43" y="68"/>
                      <a:pt x="45" y="66"/>
                    </a:cubicBezTo>
                    <a:cubicBezTo>
                      <a:pt x="47" y="63"/>
                      <a:pt x="46" y="59"/>
                      <a:pt x="43" y="57"/>
                    </a:cubicBezTo>
                    <a:cubicBezTo>
                      <a:pt x="31" y="49"/>
                      <a:pt x="33" y="35"/>
                      <a:pt x="35" y="27"/>
                    </a:cubicBezTo>
                    <a:cubicBezTo>
                      <a:pt x="46" y="34"/>
                      <a:pt x="52" y="49"/>
                      <a:pt x="53" y="70"/>
                    </a:cubicBezTo>
                    <a:cubicBezTo>
                      <a:pt x="53" y="71"/>
                      <a:pt x="53" y="71"/>
                      <a:pt x="53" y="71"/>
                    </a:cubicBezTo>
                    <a:cubicBezTo>
                      <a:pt x="49" y="77"/>
                      <a:pt x="46" y="82"/>
                      <a:pt x="35" y="86"/>
                    </a:cubicBezTo>
                    <a:cubicBezTo>
                      <a:pt x="28" y="88"/>
                      <a:pt x="22" y="89"/>
                      <a:pt x="18" y="90"/>
                    </a:cubicBezTo>
                    <a:cubicBezTo>
                      <a:pt x="14" y="91"/>
                      <a:pt x="12" y="91"/>
                      <a:pt x="10" y="92"/>
                    </a:cubicBezTo>
                    <a:cubicBezTo>
                      <a:pt x="4" y="94"/>
                      <a:pt x="0" y="99"/>
                      <a:pt x="0" y="105"/>
                    </a:cubicBezTo>
                    <a:cubicBezTo>
                      <a:pt x="1" y="112"/>
                      <a:pt x="6" y="117"/>
                      <a:pt x="14" y="119"/>
                    </a:cubicBezTo>
                    <a:cubicBezTo>
                      <a:pt x="15" y="120"/>
                      <a:pt x="15" y="120"/>
                      <a:pt x="15" y="120"/>
                    </a:cubicBezTo>
                    <a:cubicBezTo>
                      <a:pt x="15" y="120"/>
                      <a:pt x="18" y="120"/>
                      <a:pt x="22" y="120"/>
                    </a:cubicBezTo>
                    <a:cubicBezTo>
                      <a:pt x="28" y="120"/>
                      <a:pt x="39" y="119"/>
                      <a:pt x="49" y="113"/>
                    </a:cubicBezTo>
                    <a:cubicBezTo>
                      <a:pt x="48" y="119"/>
                      <a:pt x="47" y="124"/>
                      <a:pt x="47" y="124"/>
                    </a:cubicBezTo>
                    <a:cubicBezTo>
                      <a:pt x="47" y="125"/>
                      <a:pt x="46" y="125"/>
                      <a:pt x="46" y="126"/>
                    </a:cubicBezTo>
                    <a:cubicBezTo>
                      <a:pt x="46" y="129"/>
                      <a:pt x="49" y="131"/>
                      <a:pt x="52" y="132"/>
                    </a:cubicBezTo>
                    <a:cubicBezTo>
                      <a:pt x="52" y="132"/>
                      <a:pt x="52" y="132"/>
                      <a:pt x="52" y="132"/>
                    </a:cubicBezTo>
                    <a:cubicBezTo>
                      <a:pt x="55" y="132"/>
                      <a:pt x="58" y="130"/>
                      <a:pt x="58" y="127"/>
                    </a:cubicBezTo>
                    <a:cubicBezTo>
                      <a:pt x="58" y="127"/>
                      <a:pt x="59" y="123"/>
                      <a:pt x="60" y="117"/>
                    </a:cubicBezTo>
                    <a:cubicBezTo>
                      <a:pt x="72" y="132"/>
                      <a:pt x="88" y="134"/>
                      <a:pt x="89" y="134"/>
                    </a:cubicBezTo>
                    <a:cubicBezTo>
                      <a:pt x="90" y="135"/>
                      <a:pt x="91" y="135"/>
                      <a:pt x="92" y="135"/>
                    </a:cubicBezTo>
                    <a:cubicBezTo>
                      <a:pt x="99" y="135"/>
                      <a:pt x="104" y="132"/>
                      <a:pt x="107" y="126"/>
                    </a:cubicBezTo>
                    <a:cubicBezTo>
                      <a:pt x="108" y="124"/>
                      <a:pt x="108" y="122"/>
                      <a:pt x="108" y="120"/>
                    </a:cubicBezTo>
                    <a:cubicBezTo>
                      <a:pt x="110" y="120"/>
                      <a:pt x="111" y="120"/>
                      <a:pt x="112" y="120"/>
                    </a:cubicBezTo>
                    <a:cubicBezTo>
                      <a:pt x="112" y="119"/>
                      <a:pt x="112" y="119"/>
                      <a:pt x="112" y="119"/>
                    </a:cubicBezTo>
                    <a:cubicBezTo>
                      <a:pt x="120" y="117"/>
                      <a:pt x="125" y="112"/>
                      <a:pt x="126" y="105"/>
                    </a:cubicBezTo>
                    <a:cubicBezTo>
                      <a:pt x="126" y="99"/>
                      <a:pt x="122" y="94"/>
                      <a:pt x="116" y="92"/>
                    </a:cubicBezTo>
                    <a:close/>
                    <a:moveTo>
                      <a:pt x="107" y="52"/>
                    </a:moveTo>
                    <a:cubicBezTo>
                      <a:pt x="105" y="56"/>
                      <a:pt x="102" y="59"/>
                      <a:pt x="98" y="61"/>
                    </a:cubicBezTo>
                    <a:cubicBezTo>
                      <a:pt x="90" y="66"/>
                      <a:pt x="79" y="65"/>
                      <a:pt x="73" y="64"/>
                    </a:cubicBezTo>
                    <a:cubicBezTo>
                      <a:pt x="76" y="60"/>
                      <a:pt x="78" y="57"/>
                      <a:pt x="80" y="54"/>
                    </a:cubicBezTo>
                    <a:cubicBezTo>
                      <a:pt x="91" y="46"/>
                      <a:pt x="102" y="49"/>
                      <a:pt x="107" y="52"/>
                    </a:cubicBezTo>
                    <a:close/>
                    <a:moveTo>
                      <a:pt x="17" y="108"/>
                    </a:moveTo>
                    <a:cubicBezTo>
                      <a:pt x="14" y="107"/>
                      <a:pt x="12" y="105"/>
                      <a:pt x="12" y="105"/>
                    </a:cubicBezTo>
                    <a:cubicBezTo>
                      <a:pt x="12" y="104"/>
                      <a:pt x="13" y="103"/>
                      <a:pt x="14" y="103"/>
                    </a:cubicBezTo>
                    <a:cubicBezTo>
                      <a:pt x="15" y="103"/>
                      <a:pt x="18" y="102"/>
                      <a:pt x="20" y="102"/>
                    </a:cubicBezTo>
                    <a:cubicBezTo>
                      <a:pt x="25" y="101"/>
                      <a:pt x="32" y="99"/>
                      <a:pt x="38" y="97"/>
                    </a:cubicBezTo>
                    <a:cubicBezTo>
                      <a:pt x="43" y="96"/>
                      <a:pt x="47" y="94"/>
                      <a:pt x="50" y="92"/>
                    </a:cubicBezTo>
                    <a:cubicBezTo>
                      <a:pt x="50" y="93"/>
                      <a:pt x="50" y="95"/>
                      <a:pt x="51" y="97"/>
                    </a:cubicBezTo>
                    <a:cubicBezTo>
                      <a:pt x="37" y="110"/>
                      <a:pt x="19" y="108"/>
                      <a:pt x="17" y="108"/>
                    </a:cubicBezTo>
                    <a:close/>
                    <a:moveTo>
                      <a:pt x="96" y="121"/>
                    </a:moveTo>
                    <a:cubicBezTo>
                      <a:pt x="95" y="122"/>
                      <a:pt x="94" y="123"/>
                      <a:pt x="90" y="123"/>
                    </a:cubicBezTo>
                    <a:cubicBezTo>
                      <a:pt x="90" y="123"/>
                      <a:pt x="72" y="120"/>
                      <a:pt x="64" y="100"/>
                    </a:cubicBezTo>
                    <a:cubicBezTo>
                      <a:pt x="61" y="93"/>
                      <a:pt x="61" y="87"/>
                      <a:pt x="62" y="82"/>
                    </a:cubicBezTo>
                    <a:cubicBezTo>
                      <a:pt x="64" y="88"/>
                      <a:pt x="68" y="94"/>
                      <a:pt x="74" y="101"/>
                    </a:cubicBezTo>
                    <a:cubicBezTo>
                      <a:pt x="79" y="106"/>
                      <a:pt x="85" y="112"/>
                      <a:pt x="90" y="116"/>
                    </a:cubicBezTo>
                    <a:cubicBezTo>
                      <a:pt x="92" y="117"/>
                      <a:pt x="93" y="118"/>
                      <a:pt x="95" y="119"/>
                    </a:cubicBezTo>
                    <a:cubicBezTo>
                      <a:pt x="96" y="120"/>
                      <a:pt x="96" y="121"/>
                      <a:pt x="96" y="121"/>
                    </a:cubicBezTo>
                    <a:close/>
                    <a:moveTo>
                      <a:pt x="109" y="108"/>
                    </a:moveTo>
                    <a:cubicBezTo>
                      <a:pt x="108" y="108"/>
                      <a:pt x="106" y="108"/>
                      <a:pt x="102" y="108"/>
                    </a:cubicBezTo>
                    <a:cubicBezTo>
                      <a:pt x="102" y="108"/>
                      <a:pt x="101" y="108"/>
                      <a:pt x="101" y="109"/>
                    </a:cubicBezTo>
                    <a:cubicBezTo>
                      <a:pt x="100" y="108"/>
                      <a:pt x="99" y="107"/>
                      <a:pt x="98" y="106"/>
                    </a:cubicBezTo>
                    <a:cubicBezTo>
                      <a:pt x="94" y="103"/>
                      <a:pt x="90" y="100"/>
                      <a:pt x="86" y="96"/>
                    </a:cubicBezTo>
                    <a:cubicBezTo>
                      <a:pt x="94" y="99"/>
                      <a:pt x="101" y="101"/>
                      <a:pt x="107" y="102"/>
                    </a:cubicBezTo>
                    <a:cubicBezTo>
                      <a:pt x="109" y="102"/>
                      <a:pt x="111" y="103"/>
                      <a:pt x="112" y="103"/>
                    </a:cubicBezTo>
                    <a:cubicBezTo>
                      <a:pt x="113" y="103"/>
                      <a:pt x="114" y="104"/>
                      <a:pt x="114" y="105"/>
                    </a:cubicBezTo>
                    <a:cubicBezTo>
                      <a:pt x="114" y="105"/>
                      <a:pt x="112"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79">
                <a:extLst>
                  <a:ext uri="{FF2B5EF4-FFF2-40B4-BE49-F238E27FC236}">
                    <a16:creationId xmlns:a16="http://schemas.microsoft.com/office/drawing/2014/main" id="{6D5C948A-DAC5-407D-B263-6A409F185E9A}"/>
                  </a:ext>
                </a:extLst>
              </p:cNvPr>
              <p:cNvSpPr>
                <a:spLocks noEditPoints="1"/>
              </p:cNvSpPr>
              <p:nvPr/>
            </p:nvSpPr>
            <p:spPr bwMode="auto">
              <a:xfrm>
                <a:off x="16355378" y="2516188"/>
                <a:ext cx="533400" cy="573088"/>
              </a:xfrm>
              <a:custGeom>
                <a:avLst/>
                <a:gdLst>
                  <a:gd name="T0" fmla="*/ 15 w 126"/>
                  <a:gd name="T1" fmla="*/ 120 h 135"/>
                  <a:gd name="T2" fmla="*/ 49 w 126"/>
                  <a:gd name="T3" fmla="*/ 113 h 135"/>
                  <a:gd name="T4" fmla="*/ 47 w 126"/>
                  <a:gd name="T5" fmla="*/ 126 h 135"/>
                  <a:gd name="T6" fmla="*/ 58 w 126"/>
                  <a:gd name="T7" fmla="*/ 127 h 135"/>
                  <a:gd name="T8" fmla="*/ 89 w 126"/>
                  <a:gd name="T9" fmla="*/ 134 h 135"/>
                  <a:gd name="T10" fmla="*/ 107 w 126"/>
                  <a:gd name="T11" fmla="*/ 126 h 135"/>
                  <a:gd name="T12" fmla="*/ 112 w 126"/>
                  <a:gd name="T13" fmla="*/ 120 h 135"/>
                  <a:gd name="T14" fmla="*/ 126 w 126"/>
                  <a:gd name="T15" fmla="*/ 105 h 135"/>
                  <a:gd name="T16" fmla="*/ 109 w 126"/>
                  <a:gd name="T17" fmla="*/ 90 h 135"/>
                  <a:gd name="T18" fmla="*/ 83 w 126"/>
                  <a:gd name="T19" fmla="*/ 77 h 135"/>
                  <a:gd name="T20" fmla="*/ 120 w 126"/>
                  <a:gd name="T21" fmla="*/ 50 h 135"/>
                  <a:gd name="T22" fmla="*/ 87 w 126"/>
                  <a:gd name="T23" fmla="*/ 38 h 135"/>
                  <a:gd name="T24" fmla="*/ 77 w 126"/>
                  <a:gd name="T25" fmla="*/ 0 h 135"/>
                  <a:gd name="T26" fmla="*/ 57 w 126"/>
                  <a:gd name="T27" fmla="*/ 24 h 135"/>
                  <a:gd name="T28" fmla="*/ 75 w 126"/>
                  <a:gd name="T29" fmla="*/ 14 h 135"/>
                  <a:gd name="T30" fmla="*/ 34 w 126"/>
                  <a:gd name="T31" fmla="*/ 14 h 135"/>
                  <a:gd name="T32" fmla="*/ 37 w 126"/>
                  <a:gd name="T33" fmla="*/ 67 h 135"/>
                  <a:gd name="T34" fmla="*/ 43 w 126"/>
                  <a:gd name="T35" fmla="*/ 57 h 135"/>
                  <a:gd name="T36" fmla="*/ 53 w 126"/>
                  <a:gd name="T37" fmla="*/ 70 h 135"/>
                  <a:gd name="T38" fmla="*/ 35 w 126"/>
                  <a:gd name="T39" fmla="*/ 86 h 135"/>
                  <a:gd name="T40" fmla="*/ 11 w 126"/>
                  <a:gd name="T41" fmla="*/ 92 h 135"/>
                  <a:gd name="T42" fmla="*/ 14 w 126"/>
                  <a:gd name="T43" fmla="*/ 119 h 135"/>
                  <a:gd name="T44" fmla="*/ 90 w 126"/>
                  <a:gd name="T45" fmla="*/ 123 h 135"/>
                  <a:gd name="T46" fmla="*/ 62 w 126"/>
                  <a:gd name="T47" fmla="*/ 82 h 135"/>
                  <a:gd name="T48" fmla="*/ 91 w 126"/>
                  <a:gd name="T49" fmla="*/ 116 h 135"/>
                  <a:gd name="T50" fmla="*/ 96 w 126"/>
                  <a:gd name="T51" fmla="*/ 121 h 135"/>
                  <a:gd name="T52" fmla="*/ 114 w 126"/>
                  <a:gd name="T53" fmla="*/ 105 h 135"/>
                  <a:gd name="T54" fmla="*/ 102 w 126"/>
                  <a:gd name="T55" fmla="*/ 108 h 135"/>
                  <a:gd name="T56" fmla="*/ 98 w 126"/>
                  <a:gd name="T57" fmla="*/ 106 h 135"/>
                  <a:gd name="T58" fmla="*/ 107 w 126"/>
                  <a:gd name="T59" fmla="*/ 102 h 135"/>
                  <a:gd name="T60" fmla="*/ 107 w 126"/>
                  <a:gd name="T61" fmla="*/ 52 h 135"/>
                  <a:gd name="T62" fmla="*/ 73 w 126"/>
                  <a:gd name="T63" fmla="*/ 64 h 135"/>
                  <a:gd name="T64" fmla="*/ 107 w 126"/>
                  <a:gd name="T65" fmla="*/ 52 h 135"/>
                  <a:gd name="T66" fmla="*/ 20 w 126"/>
                  <a:gd name="T67" fmla="*/ 102 h 135"/>
                  <a:gd name="T68" fmla="*/ 50 w 126"/>
                  <a:gd name="T69" fmla="*/ 92 h 135"/>
                  <a:gd name="T70" fmla="*/ 17 w 126"/>
                  <a:gd name="T71" fmla="*/ 108 h 135"/>
                  <a:gd name="T72" fmla="*/ 14 w 126"/>
                  <a:gd name="T73" fmla="*/ 10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4" y="119"/>
                    </a:moveTo>
                    <a:cubicBezTo>
                      <a:pt x="15" y="120"/>
                      <a:pt x="15" y="120"/>
                      <a:pt x="15" y="120"/>
                    </a:cubicBezTo>
                    <a:cubicBezTo>
                      <a:pt x="15" y="120"/>
                      <a:pt x="18" y="120"/>
                      <a:pt x="22" y="120"/>
                    </a:cubicBezTo>
                    <a:cubicBezTo>
                      <a:pt x="28" y="120"/>
                      <a:pt x="39" y="119"/>
                      <a:pt x="49" y="113"/>
                    </a:cubicBezTo>
                    <a:cubicBezTo>
                      <a:pt x="48" y="119"/>
                      <a:pt x="47" y="124"/>
                      <a:pt x="47" y="124"/>
                    </a:cubicBezTo>
                    <a:cubicBezTo>
                      <a:pt x="47" y="125"/>
                      <a:pt x="47" y="125"/>
                      <a:pt x="47" y="126"/>
                    </a:cubicBezTo>
                    <a:cubicBezTo>
                      <a:pt x="47" y="129"/>
                      <a:pt x="49" y="132"/>
                      <a:pt x="53" y="132"/>
                    </a:cubicBezTo>
                    <a:cubicBezTo>
                      <a:pt x="55" y="132"/>
                      <a:pt x="58" y="130"/>
                      <a:pt x="58" y="127"/>
                    </a:cubicBezTo>
                    <a:cubicBezTo>
                      <a:pt x="59" y="126"/>
                      <a:pt x="60" y="123"/>
                      <a:pt x="61" y="117"/>
                    </a:cubicBezTo>
                    <a:cubicBezTo>
                      <a:pt x="72" y="132"/>
                      <a:pt x="88" y="134"/>
                      <a:pt x="89" y="134"/>
                    </a:cubicBezTo>
                    <a:cubicBezTo>
                      <a:pt x="90" y="135"/>
                      <a:pt x="91" y="135"/>
                      <a:pt x="92" y="135"/>
                    </a:cubicBezTo>
                    <a:cubicBezTo>
                      <a:pt x="99" y="135"/>
                      <a:pt x="105" y="132"/>
                      <a:pt x="107" y="126"/>
                    </a:cubicBezTo>
                    <a:cubicBezTo>
                      <a:pt x="108" y="124"/>
                      <a:pt x="108" y="122"/>
                      <a:pt x="108" y="120"/>
                    </a:cubicBezTo>
                    <a:cubicBezTo>
                      <a:pt x="110" y="120"/>
                      <a:pt x="111" y="120"/>
                      <a:pt x="112" y="120"/>
                    </a:cubicBezTo>
                    <a:cubicBezTo>
                      <a:pt x="112" y="119"/>
                      <a:pt x="112" y="119"/>
                      <a:pt x="112" y="119"/>
                    </a:cubicBezTo>
                    <a:cubicBezTo>
                      <a:pt x="121" y="117"/>
                      <a:pt x="126" y="112"/>
                      <a:pt x="126" y="105"/>
                    </a:cubicBezTo>
                    <a:cubicBezTo>
                      <a:pt x="126" y="99"/>
                      <a:pt x="122" y="94"/>
                      <a:pt x="116" y="92"/>
                    </a:cubicBez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8" y="60"/>
                      <a:pt x="120" y="50"/>
                    </a:cubicBezTo>
                    <a:cubicBezTo>
                      <a:pt x="121" y="48"/>
                      <a:pt x="120" y="45"/>
                      <a:pt x="118" y="44"/>
                    </a:cubicBezTo>
                    <a:cubicBezTo>
                      <a:pt x="117" y="43"/>
                      <a:pt x="104" y="34"/>
                      <a:pt x="87" y="38"/>
                    </a:cubicBezTo>
                    <a:cubicBezTo>
                      <a:pt x="91" y="19"/>
                      <a:pt x="84" y="4"/>
                      <a:pt x="84" y="4"/>
                    </a:cubicBezTo>
                    <a:cubicBezTo>
                      <a:pt x="83" y="1"/>
                      <a:pt x="80" y="0"/>
                      <a:pt x="77" y="0"/>
                    </a:cubicBezTo>
                    <a:cubicBezTo>
                      <a:pt x="65" y="3"/>
                      <a:pt x="56" y="15"/>
                      <a:pt x="55" y="15"/>
                    </a:cubicBezTo>
                    <a:cubicBezTo>
                      <a:pt x="53" y="18"/>
                      <a:pt x="54" y="22"/>
                      <a:pt x="57" y="24"/>
                    </a:cubicBezTo>
                    <a:cubicBezTo>
                      <a:pt x="59" y="26"/>
                      <a:pt x="63" y="25"/>
                      <a:pt x="65" y="23"/>
                    </a:cubicBezTo>
                    <a:cubicBezTo>
                      <a:pt x="65" y="22"/>
                      <a:pt x="69" y="17"/>
                      <a:pt x="75" y="14"/>
                    </a:cubicBezTo>
                    <a:cubicBezTo>
                      <a:pt x="77" y="22"/>
                      <a:pt x="79" y="39"/>
                      <a:pt x="64" y="56"/>
                    </a:cubicBezTo>
                    <a:cubicBezTo>
                      <a:pt x="59" y="28"/>
                      <a:pt x="45" y="18"/>
                      <a:pt x="34" y="14"/>
                    </a:cubicBezTo>
                    <a:cubicBezTo>
                      <a:pt x="31" y="13"/>
                      <a:pt x="27" y="14"/>
                      <a:pt x="26" y="17"/>
                    </a:cubicBezTo>
                    <a:cubicBezTo>
                      <a:pt x="21" y="28"/>
                      <a:pt x="16" y="53"/>
                      <a:pt x="37" y="67"/>
                    </a:cubicBezTo>
                    <a:cubicBezTo>
                      <a:pt x="39" y="69"/>
                      <a:pt x="43" y="68"/>
                      <a:pt x="45" y="66"/>
                    </a:cubicBezTo>
                    <a:cubicBezTo>
                      <a:pt x="47" y="63"/>
                      <a:pt x="46" y="59"/>
                      <a:pt x="43" y="57"/>
                    </a:cubicBezTo>
                    <a:cubicBezTo>
                      <a:pt x="31" y="49"/>
                      <a:pt x="33" y="35"/>
                      <a:pt x="35" y="27"/>
                    </a:cubicBezTo>
                    <a:cubicBezTo>
                      <a:pt x="46" y="34"/>
                      <a:pt x="52" y="49"/>
                      <a:pt x="53" y="70"/>
                    </a:cubicBezTo>
                    <a:cubicBezTo>
                      <a:pt x="53" y="71"/>
                      <a:pt x="53" y="71"/>
                      <a:pt x="53" y="71"/>
                    </a:cubicBezTo>
                    <a:cubicBezTo>
                      <a:pt x="49" y="77"/>
                      <a:pt x="46" y="82"/>
                      <a:pt x="35" y="86"/>
                    </a:cubicBezTo>
                    <a:cubicBezTo>
                      <a:pt x="29" y="88"/>
                      <a:pt x="22" y="89"/>
                      <a:pt x="18" y="90"/>
                    </a:cubicBezTo>
                    <a:cubicBezTo>
                      <a:pt x="15" y="91"/>
                      <a:pt x="12" y="91"/>
                      <a:pt x="11" y="92"/>
                    </a:cubicBezTo>
                    <a:cubicBezTo>
                      <a:pt x="4" y="94"/>
                      <a:pt x="0" y="99"/>
                      <a:pt x="1" y="105"/>
                    </a:cubicBezTo>
                    <a:cubicBezTo>
                      <a:pt x="1" y="112"/>
                      <a:pt x="6" y="117"/>
                      <a:pt x="14" y="119"/>
                    </a:cubicBezTo>
                    <a:close/>
                    <a:moveTo>
                      <a:pt x="96" y="121"/>
                    </a:moveTo>
                    <a:cubicBezTo>
                      <a:pt x="96" y="122"/>
                      <a:pt x="94" y="123"/>
                      <a:pt x="90" y="123"/>
                    </a:cubicBezTo>
                    <a:cubicBezTo>
                      <a:pt x="90" y="123"/>
                      <a:pt x="73" y="120"/>
                      <a:pt x="64" y="100"/>
                    </a:cubicBezTo>
                    <a:cubicBezTo>
                      <a:pt x="61" y="93"/>
                      <a:pt x="61" y="87"/>
                      <a:pt x="62" y="82"/>
                    </a:cubicBezTo>
                    <a:cubicBezTo>
                      <a:pt x="64" y="88"/>
                      <a:pt x="68" y="94"/>
                      <a:pt x="74" y="101"/>
                    </a:cubicBezTo>
                    <a:cubicBezTo>
                      <a:pt x="79" y="106"/>
                      <a:pt x="85" y="112"/>
                      <a:pt x="91" y="116"/>
                    </a:cubicBezTo>
                    <a:cubicBezTo>
                      <a:pt x="92" y="117"/>
                      <a:pt x="94" y="118"/>
                      <a:pt x="95" y="119"/>
                    </a:cubicBezTo>
                    <a:cubicBezTo>
                      <a:pt x="96" y="120"/>
                      <a:pt x="96" y="121"/>
                      <a:pt x="96" y="121"/>
                    </a:cubicBezTo>
                    <a:close/>
                    <a:moveTo>
                      <a:pt x="112" y="103"/>
                    </a:moveTo>
                    <a:cubicBezTo>
                      <a:pt x="113" y="103"/>
                      <a:pt x="114" y="104"/>
                      <a:pt x="114" y="105"/>
                    </a:cubicBezTo>
                    <a:cubicBezTo>
                      <a:pt x="114" y="105"/>
                      <a:pt x="113" y="107"/>
                      <a:pt x="109" y="108"/>
                    </a:cubicBezTo>
                    <a:cubicBezTo>
                      <a:pt x="109" y="108"/>
                      <a:pt x="106" y="108"/>
                      <a:pt x="102" y="108"/>
                    </a:cubicBezTo>
                    <a:cubicBezTo>
                      <a:pt x="102" y="108"/>
                      <a:pt x="101" y="108"/>
                      <a:pt x="101" y="109"/>
                    </a:cubicBezTo>
                    <a:cubicBezTo>
                      <a:pt x="100" y="108"/>
                      <a:pt x="99" y="107"/>
                      <a:pt x="98" y="106"/>
                    </a:cubicBezTo>
                    <a:cubicBezTo>
                      <a:pt x="94" y="103"/>
                      <a:pt x="90" y="100"/>
                      <a:pt x="86" y="96"/>
                    </a:cubicBezTo>
                    <a:cubicBezTo>
                      <a:pt x="94" y="99"/>
                      <a:pt x="101" y="101"/>
                      <a:pt x="107" y="102"/>
                    </a:cubicBezTo>
                    <a:cubicBezTo>
                      <a:pt x="109" y="102"/>
                      <a:pt x="111" y="103"/>
                      <a:pt x="112" y="103"/>
                    </a:cubicBezTo>
                    <a:close/>
                    <a:moveTo>
                      <a:pt x="107" y="52"/>
                    </a:moveTo>
                    <a:cubicBezTo>
                      <a:pt x="105" y="56"/>
                      <a:pt x="102" y="59"/>
                      <a:pt x="98" y="61"/>
                    </a:cubicBezTo>
                    <a:cubicBezTo>
                      <a:pt x="90" y="66"/>
                      <a:pt x="79" y="65"/>
                      <a:pt x="73" y="64"/>
                    </a:cubicBezTo>
                    <a:cubicBezTo>
                      <a:pt x="76" y="60"/>
                      <a:pt x="78" y="57"/>
                      <a:pt x="80" y="54"/>
                    </a:cubicBezTo>
                    <a:cubicBezTo>
                      <a:pt x="91" y="46"/>
                      <a:pt x="102" y="49"/>
                      <a:pt x="107" y="52"/>
                    </a:cubicBezTo>
                    <a:close/>
                    <a:moveTo>
                      <a:pt x="14" y="103"/>
                    </a:moveTo>
                    <a:cubicBezTo>
                      <a:pt x="15" y="103"/>
                      <a:pt x="18" y="102"/>
                      <a:pt x="20" y="102"/>
                    </a:cubicBezTo>
                    <a:cubicBezTo>
                      <a:pt x="25" y="101"/>
                      <a:pt x="32" y="99"/>
                      <a:pt x="38" y="97"/>
                    </a:cubicBezTo>
                    <a:cubicBezTo>
                      <a:pt x="43" y="96"/>
                      <a:pt x="47" y="94"/>
                      <a:pt x="50" y="92"/>
                    </a:cubicBezTo>
                    <a:cubicBezTo>
                      <a:pt x="50" y="93"/>
                      <a:pt x="50" y="95"/>
                      <a:pt x="51" y="97"/>
                    </a:cubicBezTo>
                    <a:cubicBezTo>
                      <a:pt x="37" y="110"/>
                      <a:pt x="19" y="108"/>
                      <a:pt x="17" y="108"/>
                    </a:cubicBezTo>
                    <a:cubicBezTo>
                      <a:pt x="14" y="107"/>
                      <a:pt x="13" y="105"/>
                      <a:pt x="13" y="105"/>
                    </a:cubicBezTo>
                    <a:cubicBezTo>
                      <a:pt x="13" y="104"/>
                      <a:pt x="13" y="103"/>
                      <a:pt x="1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80">
                <a:extLst>
                  <a:ext uri="{FF2B5EF4-FFF2-40B4-BE49-F238E27FC236}">
                    <a16:creationId xmlns:a16="http://schemas.microsoft.com/office/drawing/2014/main" id="{FE3FED43-1562-4FB0-AC7D-9CD8B0B82E66}"/>
                  </a:ext>
                </a:extLst>
              </p:cNvPr>
              <p:cNvSpPr>
                <a:spLocks noEditPoints="1"/>
              </p:cNvSpPr>
              <p:nvPr/>
            </p:nvSpPr>
            <p:spPr bwMode="auto">
              <a:xfrm>
                <a:off x="16355378" y="3670300"/>
                <a:ext cx="533400" cy="573088"/>
              </a:xfrm>
              <a:custGeom>
                <a:avLst/>
                <a:gdLst>
                  <a:gd name="T0" fmla="*/ 109 w 126"/>
                  <a:gd name="T1" fmla="*/ 90 h 135"/>
                  <a:gd name="T2" fmla="*/ 83 w 126"/>
                  <a:gd name="T3" fmla="*/ 77 h 135"/>
                  <a:gd name="T4" fmla="*/ 120 w 126"/>
                  <a:gd name="T5" fmla="*/ 51 h 135"/>
                  <a:gd name="T6" fmla="*/ 87 w 126"/>
                  <a:gd name="T7" fmla="*/ 38 h 135"/>
                  <a:gd name="T8" fmla="*/ 77 w 126"/>
                  <a:gd name="T9" fmla="*/ 1 h 135"/>
                  <a:gd name="T10" fmla="*/ 57 w 126"/>
                  <a:gd name="T11" fmla="*/ 24 h 135"/>
                  <a:gd name="T12" fmla="*/ 75 w 126"/>
                  <a:gd name="T13" fmla="*/ 14 h 135"/>
                  <a:gd name="T14" fmla="*/ 34 w 126"/>
                  <a:gd name="T15" fmla="*/ 14 h 135"/>
                  <a:gd name="T16" fmla="*/ 37 w 126"/>
                  <a:gd name="T17" fmla="*/ 67 h 135"/>
                  <a:gd name="T18" fmla="*/ 43 w 126"/>
                  <a:gd name="T19" fmla="*/ 58 h 135"/>
                  <a:gd name="T20" fmla="*/ 53 w 126"/>
                  <a:gd name="T21" fmla="*/ 71 h 135"/>
                  <a:gd name="T22" fmla="*/ 35 w 126"/>
                  <a:gd name="T23" fmla="*/ 86 h 135"/>
                  <a:gd name="T24" fmla="*/ 11 w 126"/>
                  <a:gd name="T25" fmla="*/ 92 h 135"/>
                  <a:gd name="T26" fmla="*/ 14 w 126"/>
                  <a:gd name="T27" fmla="*/ 120 h 135"/>
                  <a:gd name="T28" fmla="*/ 22 w 126"/>
                  <a:gd name="T29" fmla="*/ 120 h 135"/>
                  <a:gd name="T30" fmla="*/ 47 w 126"/>
                  <a:gd name="T31" fmla="*/ 124 h 135"/>
                  <a:gd name="T32" fmla="*/ 52 w 126"/>
                  <a:gd name="T33" fmla="*/ 132 h 135"/>
                  <a:gd name="T34" fmla="*/ 58 w 126"/>
                  <a:gd name="T35" fmla="*/ 127 h 135"/>
                  <a:gd name="T36" fmla="*/ 89 w 126"/>
                  <a:gd name="T37" fmla="*/ 135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3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1 w 126"/>
                  <a:gd name="T63" fmla="*/ 116 h 135"/>
                  <a:gd name="T64" fmla="*/ 96 w 126"/>
                  <a:gd name="T65" fmla="*/ 122 h 135"/>
                  <a:gd name="T66" fmla="*/ 102 w 126"/>
                  <a:gd name="T67" fmla="*/ 108 h 135"/>
                  <a:gd name="T68" fmla="*/ 98 w 126"/>
                  <a:gd name="T69" fmla="*/ 107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8" y="60"/>
                      <a:pt x="120" y="51"/>
                    </a:cubicBezTo>
                    <a:cubicBezTo>
                      <a:pt x="121" y="48"/>
                      <a:pt x="120" y="46"/>
                      <a:pt x="118" y="44"/>
                    </a:cubicBezTo>
                    <a:cubicBezTo>
                      <a:pt x="117" y="44"/>
                      <a:pt x="104" y="34"/>
                      <a:pt x="87" y="38"/>
                    </a:cubicBezTo>
                    <a:cubicBezTo>
                      <a:pt x="91" y="19"/>
                      <a:pt x="84" y="4"/>
                      <a:pt x="84" y="4"/>
                    </a:cubicBezTo>
                    <a:cubicBezTo>
                      <a:pt x="83" y="1"/>
                      <a:pt x="80" y="0"/>
                      <a:pt x="77" y="1"/>
                    </a:cubicBezTo>
                    <a:cubicBezTo>
                      <a:pt x="65" y="3"/>
                      <a:pt x="56" y="15"/>
                      <a:pt x="55" y="15"/>
                    </a:cubicBezTo>
                    <a:cubicBezTo>
                      <a:pt x="53" y="18"/>
                      <a:pt x="54" y="22"/>
                      <a:pt x="57" y="24"/>
                    </a:cubicBezTo>
                    <a:cubicBezTo>
                      <a:pt x="59" y="26"/>
                      <a:pt x="63" y="25"/>
                      <a:pt x="65" y="23"/>
                    </a:cubicBezTo>
                    <a:cubicBezTo>
                      <a:pt x="65" y="23"/>
                      <a:pt x="69" y="17"/>
                      <a:pt x="75" y="14"/>
                    </a:cubicBezTo>
                    <a:cubicBezTo>
                      <a:pt x="77" y="22"/>
                      <a:pt x="79" y="39"/>
                      <a:pt x="64" y="56"/>
                    </a:cubicBezTo>
                    <a:cubicBezTo>
                      <a:pt x="59" y="29"/>
                      <a:pt x="45" y="18"/>
                      <a:pt x="34" y="14"/>
                    </a:cubicBezTo>
                    <a:cubicBezTo>
                      <a:pt x="31" y="13"/>
                      <a:pt x="27" y="14"/>
                      <a:pt x="26" y="17"/>
                    </a:cubicBezTo>
                    <a:cubicBezTo>
                      <a:pt x="21" y="28"/>
                      <a:pt x="16" y="54"/>
                      <a:pt x="37" y="67"/>
                    </a:cubicBezTo>
                    <a:cubicBezTo>
                      <a:pt x="39" y="69"/>
                      <a:pt x="43" y="69"/>
                      <a:pt x="45" y="66"/>
                    </a:cubicBezTo>
                    <a:cubicBezTo>
                      <a:pt x="47" y="63"/>
                      <a:pt x="46" y="59"/>
                      <a:pt x="43" y="58"/>
                    </a:cubicBezTo>
                    <a:cubicBezTo>
                      <a:pt x="31" y="49"/>
                      <a:pt x="33" y="35"/>
                      <a:pt x="35" y="28"/>
                    </a:cubicBezTo>
                    <a:cubicBezTo>
                      <a:pt x="46" y="34"/>
                      <a:pt x="52" y="49"/>
                      <a:pt x="53" y="71"/>
                    </a:cubicBezTo>
                    <a:cubicBezTo>
                      <a:pt x="53" y="71"/>
                      <a:pt x="53" y="71"/>
                      <a:pt x="53" y="71"/>
                    </a:cubicBezTo>
                    <a:cubicBezTo>
                      <a:pt x="49" y="77"/>
                      <a:pt x="46" y="82"/>
                      <a:pt x="35" y="86"/>
                    </a:cubicBezTo>
                    <a:cubicBezTo>
                      <a:pt x="29" y="88"/>
                      <a:pt x="22" y="89"/>
                      <a:pt x="18" y="90"/>
                    </a:cubicBezTo>
                    <a:cubicBezTo>
                      <a:pt x="15" y="91"/>
                      <a:pt x="12" y="91"/>
                      <a:pt x="11" y="92"/>
                    </a:cubicBezTo>
                    <a:cubicBezTo>
                      <a:pt x="4" y="94"/>
                      <a:pt x="0" y="99"/>
                      <a:pt x="1" y="105"/>
                    </a:cubicBezTo>
                    <a:cubicBezTo>
                      <a:pt x="1" y="112"/>
                      <a:pt x="6" y="117"/>
                      <a:pt x="14" y="120"/>
                    </a:cubicBezTo>
                    <a:cubicBezTo>
                      <a:pt x="15" y="120"/>
                      <a:pt x="15" y="120"/>
                      <a:pt x="15" y="120"/>
                    </a:cubicBezTo>
                    <a:cubicBezTo>
                      <a:pt x="15" y="120"/>
                      <a:pt x="18" y="120"/>
                      <a:pt x="22" y="120"/>
                    </a:cubicBezTo>
                    <a:cubicBezTo>
                      <a:pt x="28" y="120"/>
                      <a:pt x="39" y="119"/>
                      <a:pt x="49" y="113"/>
                    </a:cubicBezTo>
                    <a:cubicBezTo>
                      <a:pt x="48" y="120"/>
                      <a:pt x="47" y="124"/>
                      <a:pt x="47" y="124"/>
                    </a:cubicBezTo>
                    <a:cubicBezTo>
                      <a:pt x="47" y="125"/>
                      <a:pt x="47" y="125"/>
                      <a:pt x="47" y="126"/>
                    </a:cubicBezTo>
                    <a:cubicBezTo>
                      <a:pt x="47" y="129"/>
                      <a:pt x="49" y="131"/>
                      <a:pt x="52" y="132"/>
                    </a:cubicBezTo>
                    <a:cubicBezTo>
                      <a:pt x="53" y="132"/>
                      <a:pt x="53" y="132"/>
                      <a:pt x="53" y="132"/>
                    </a:cubicBezTo>
                    <a:cubicBezTo>
                      <a:pt x="55" y="132"/>
                      <a:pt x="58" y="130"/>
                      <a:pt x="58" y="127"/>
                    </a:cubicBezTo>
                    <a:cubicBezTo>
                      <a:pt x="59" y="127"/>
                      <a:pt x="60" y="123"/>
                      <a:pt x="61" y="118"/>
                    </a:cubicBezTo>
                    <a:cubicBezTo>
                      <a:pt x="72" y="132"/>
                      <a:pt x="88" y="135"/>
                      <a:pt x="89" y="135"/>
                    </a:cubicBezTo>
                    <a:cubicBezTo>
                      <a:pt x="90" y="135"/>
                      <a:pt x="91" y="135"/>
                      <a:pt x="92" y="135"/>
                    </a:cubicBezTo>
                    <a:cubicBezTo>
                      <a:pt x="99" y="135"/>
                      <a:pt x="105" y="132"/>
                      <a:pt x="107" y="126"/>
                    </a:cubicBezTo>
                    <a:cubicBezTo>
                      <a:pt x="108" y="124"/>
                      <a:pt x="108" y="122"/>
                      <a:pt x="108" y="120"/>
                    </a:cubicBezTo>
                    <a:cubicBezTo>
                      <a:pt x="110" y="120"/>
                      <a:pt x="111" y="120"/>
                      <a:pt x="112" y="120"/>
                    </a:cubicBezTo>
                    <a:cubicBezTo>
                      <a:pt x="112" y="120"/>
                      <a:pt x="112" y="120"/>
                      <a:pt x="112" y="120"/>
                    </a:cubicBezTo>
                    <a:cubicBezTo>
                      <a:pt x="121" y="117"/>
                      <a:pt x="126" y="112"/>
                      <a:pt x="126" y="105"/>
                    </a:cubicBezTo>
                    <a:cubicBezTo>
                      <a:pt x="126" y="99"/>
                      <a:pt x="122" y="94"/>
                      <a:pt x="116" y="92"/>
                    </a:cubicBezTo>
                    <a:close/>
                    <a:moveTo>
                      <a:pt x="107" y="52"/>
                    </a:moveTo>
                    <a:cubicBezTo>
                      <a:pt x="105" y="56"/>
                      <a:pt x="102" y="59"/>
                      <a:pt x="98" y="62"/>
                    </a:cubicBezTo>
                    <a:cubicBezTo>
                      <a:pt x="90" y="66"/>
                      <a:pt x="79" y="65"/>
                      <a:pt x="73" y="64"/>
                    </a:cubicBezTo>
                    <a:cubicBezTo>
                      <a:pt x="76" y="61"/>
                      <a:pt x="78" y="57"/>
                      <a:pt x="80" y="54"/>
                    </a:cubicBezTo>
                    <a:cubicBezTo>
                      <a:pt x="91" y="46"/>
                      <a:pt x="102" y="49"/>
                      <a:pt x="107" y="52"/>
                    </a:cubicBezTo>
                    <a:close/>
                    <a:moveTo>
                      <a:pt x="17" y="108"/>
                    </a:moveTo>
                    <a:cubicBezTo>
                      <a:pt x="14" y="107"/>
                      <a:pt x="13" y="106"/>
                      <a:pt x="13" y="105"/>
                    </a:cubicBezTo>
                    <a:cubicBezTo>
                      <a:pt x="13" y="104"/>
                      <a:pt x="13" y="104"/>
                      <a:pt x="14" y="103"/>
                    </a:cubicBezTo>
                    <a:cubicBezTo>
                      <a:pt x="15" y="103"/>
                      <a:pt x="18" y="102"/>
                      <a:pt x="20" y="102"/>
                    </a:cubicBezTo>
                    <a:cubicBezTo>
                      <a:pt x="25" y="101"/>
                      <a:pt x="32" y="99"/>
                      <a:pt x="38" y="97"/>
                    </a:cubicBezTo>
                    <a:cubicBezTo>
                      <a:pt x="43" y="96"/>
                      <a:pt x="47" y="94"/>
                      <a:pt x="50" y="92"/>
                    </a:cubicBezTo>
                    <a:cubicBezTo>
                      <a:pt x="50" y="94"/>
                      <a:pt x="50" y="96"/>
                      <a:pt x="51" y="97"/>
                    </a:cubicBezTo>
                    <a:cubicBezTo>
                      <a:pt x="37" y="110"/>
                      <a:pt x="19" y="108"/>
                      <a:pt x="17" y="108"/>
                    </a:cubicBezTo>
                    <a:close/>
                    <a:moveTo>
                      <a:pt x="96" y="122"/>
                    </a:moveTo>
                    <a:cubicBezTo>
                      <a:pt x="96" y="122"/>
                      <a:pt x="94" y="123"/>
                      <a:pt x="90" y="123"/>
                    </a:cubicBezTo>
                    <a:cubicBezTo>
                      <a:pt x="90" y="123"/>
                      <a:pt x="73" y="120"/>
                      <a:pt x="64" y="101"/>
                    </a:cubicBezTo>
                    <a:cubicBezTo>
                      <a:pt x="61" y="93"/>
                      <a:pt x="61" y="87"/>
                      <a:pt x="62" y="82"/>
                    </a:cubicBezTo>
                    <a:cubicBezTo>
                      <a:pt x="64" y="88"/>
                      <a:pt x="68" y="95"/>
                      <a:pt x="74" y="101"/>
                    </a:cubicBezTo>
                    <a:cubicBezTo>
                      <a:pt x="79" y="107"/>
                      <a:pt x="85" y="112"/>
                      <a:pt x="91" y="116"/>
                    </a:cubicBezTo>
                    <a:cubicBezTo>
                      <a:pt x="92" y="117"/>
                      <a:pt x="94" y="118"/>
                      <a:pt x="95" y="119"/>
                    </a:cubicBezTo>
                    <a:cubicBezTo>
                      <a:pt x="96" y="120"/>
                      <a:pt x="96" y="121"/>
                      <a:pt x="96" y="122"/>
                    </a:cubicBezTo>
                    <a:close/>
                    <a:moveTo>
                      <a:pt x="109" y="108"/>
                    </a:moveTo>
                    <a:cubicBezTo>
                      <a:pt x="109" y="108"/>
                      <a:pt x="106" y="109"/>
                      <a:pt x="102" y="108"/>
                    </a:cubicBezTo>
                    <a:cubicBezTo>
                      <a:pt x="102" y="108"/>
                      <a:pt x="101" y="109"/>
                      <a:pt x="101" y="109"/>
                    </a:cubicBezTo>
                    <a:cubicBezTo>
                      <a:pt x="100" y="108"/>
                      <a:pt x="99" y="107"/>
                      <a:pt x="98" y="107"/>
                    </a:cubicBezTo>
                    <a:cubicBezTo>
                      <a:pt x="94" y="104"/>
                      <a:pt x="90" y="100"/>
                      <a:pt x="86" y="96"/>
                    </a:cubicBezTo>
                    <a:cubicBezTo>
                      <a:pt x="94" y="99"/>
                      <a:pt x="101" y="101"/>
                      <a:pt x="107" y="102"/>
                    </a:cubicBezTo>
                    <a:cubicBezTo>
                      <a:pt x="109" y="102"/>
                      <a:pt x="111" y="103"/>
                      <a:pt x="112" y="103"/>
                    </a:cubicBezTo>
                    <a:cubicBezTo>
                      <a:pt x="113" y="104"/>
                      <a:pt x="114" y="104"/>
                      <a:pt x="114" y="105"/>
                    </a:cubicBezTo>
                    <a:cubicBezTo>
                      <a:pt x="114" y="106"/>
                      <a:pt x="113"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81">
                <a:extLst>
                  <a:ext uri="{FF2B5EF4-FFF2-40B4-BE49-F238E27FC236}">
                    <a16:creationId xmlns:a16="http://schemas.microsoft.com/office/drawing/2014/main" id="{977A061E-239D-4EC5-863B-5B24F078DE5B}"/>
                  </a:ext>
                </a:extLst>
              </p:cNvPr>
              <p:cNvSpPr>
                <a:spLocks noEditPoints="1"/>
              </p:cNvSpPr>
              <p:nvPr/>
            </p:nvSpPr>
            <p:spPr bwMode="auto">
              <a:xfrm>
                <a:off x="16355378" y="3094038"/>
                <a:ext cx="533400" cy="573088"/>
              </a:xfrm>
              <a:custGeom>
                <a:avLst/>
                <a:gdLst>
                  <a:gd name="T0" fmla="*/ 109 w 126"/>
                  <a:gd name="T1" fmla="*/ 90 h 135"/>
                  <a:gd name="T2" fmla="*/ 83 w 126"/>
                  <a:gd name="T3" fmla="*/ 77 h 135"/>
                  <a:gd name="T4" fmla="*/ 120 w 126"/>
                  <a:gd name="T5" fmla="*/ 50 h 135"/>
                  <a:gd name="T6" fmla="*/ 87 w 126"/>
                  <a:gd name="T7" fmla="*/ 38 h 135"/>
                  <a:gd name="T8" fmla="*/ 77 w 126"/>
                  <a:gd name="T9" fmla="*/ 1 h 135"/>
                  <a:gd name="T10" fmla="*/ 57 w 126"/>
                  <a:gd name="T11" fmla="*/ 24 h 135"/>
                  <a:gd name="T12" fmla="*/ 75 w 126"/>
                  <a:gd name="T13" fmla="*/ 14 h 135"/>
                  <a:gd name="T14" fmla="*/ 34 w 126"/>
                  <a:gd name="T15" fmla="*/ 14 h 135"/>
                  <a:gd name="T16" fmla="*/ 37 w 126"/>
                  <a:gd name="T17" fmla="*/ 67 h 135"/>
                  <a:gd name="T18" fmla="*/ 43 w 126"/>
                  <a:gd name="T19" fmla="*/ 57 h 135"/>
                  <a:gd name="T20" fmla="*/ 53 w 126"/>
                  <a:gd name="T21" fmla="*/ 71 h 135"/>
                  <a:gd name="T22" fmla="*/ 35 w 126"/>
                  <a:gd name="T23" fmla="*/ 86 h 135"/>
                  <a:gd name="T24" fmla="*/ 11 w 126"/>
                  <a:gd name="T25" fmla="*/ 92 h 135"/>
                  <a:gd name="T26" fmla="*/ 14 w 126"/>
                  <a:gd name="T27" fmla="*/ 120 h 135"/>
                  <a:gd name="T28" fmla="*/ 22 w 126"/>
                  <a:gd name="T29" fmla="*/ 120 h 135"/>
                  <a:gd name="T30" fmla="*/ 47 w 126"/>
                  <a:gd name="T31" fmla="*/ 124 h 135"/>
                  <a:gd name="T32" fmla="*/ 52 w 126"/>
                  <a:gd name="T33" fmla="*/ 132 h 135"/>
                  <a:gd name="T34" fmla="*/ 58 w 126"/>
                  <a:gd name="T35" fmla="*/ 127 h 135"/>
                  <a:gd name="T36" fmla="*/ 89 w 126"/>
                  <a:gd name="T37" fmla="*/ 135 h 135"/>
                  <a:gd name="T38" fmla="*/ 107 w 126"/>
                  <a:gd name="T39" fmla="*/ 126 h 135"/>
                  <a:gd name="T40" fmla="*/ 112 w 126"/>
                  <a:gd name="T41" fmla="*/ 120 h 135"/>
                  <a:gd name="T42" fmla="*/ 126 w 126"/>
                  <a:gd name="T43" fmla="*/ 105 h 135"/>
                  <a:gd name="T44" fmla="*/ 107 w 126"/>
                  <a:gd name="T45" fmla="*/ 52 h 135"/>
                  <a:gd name="T46" fmla="*/ 73 w 126"/>
                  <a:gd name="T47" fmla="*/ 64 h 135"/>
                  <a:gd name="T48" fmla="*/ 107 w 126"/>
                  <a:gd name="T49" fmla="*/ 52 h 135"/>
                  <a:gd name="T50" fmla="*/ 13 w 126"/>
                  <a:gd name="T51" fmla="*/ 105 h 135"/>
                  <a:gd name="T52" fmla="*/ 20 w 126"/>
                  <a:gd name="T53" fmla="*/ 102 h 135"/>
                  <a:gd name="T54" fmla="*/ 50 w 126"/>
                  <a:gd name="T55" fmla="*/ 92 h 135"/>
                  <a:gd name="T56" fmla="*/ 17 w 126"/>
                  <a:gd name="T57" fmla="*/ 108 h 135"/>
                  <a:gd name="T58" fmla="*/ 90 w 126"/>
                  <a:gd name="T59" fmla="*/ 123 h 135"/>
                  <a:gd name="T60" fmla="*/ 62 w 126"/>
                  <a:gd name="T61" fmla="*/ 82 h 135"/>
                  <a:gd name="T62" fmla="*/ 91 w 126"/>
                  <a:gd name="T63" fmla="*/ 116 h 135"/>
                  <a:gd name="T64" fmla="*/ 96 w 126"/>
                  <a:gd name="T65" fmla="*/ 121 h 135"/>
                  <a:gd name="T66" fmla="*/ 102 w 126"/>
                  <a:gd name="T67" fmla="*/ 108 h 135"/>
                  <a:gd name="T68" fmla="*/ 98 w 126"/>
                  <a:gd name="T69" fmla="*/ 106 h 135"/>
                  <a:gd name="T70" fmla="*/ 107 w 126"/>
                  <a:gd name="T71" fmla="*/ 102 h 135"/>
                  <a:gd name="T72" fmla="*/ 114 w 126"/>
                  <a:gd name="T73"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8" y="60"/>
                      <a:pt x="120" y="50"/>
                    </a:cubicBezTo>
                    <a:cubicBezTo>
                      <a:pt x="121" y="48"/>
                      <a:pt x="120" y="46"/>
                      <a:pt x="118" y="44"/>
                    </a:cubicBezTo>
                    <a:cubicBezTo>
                      <a:pt x="117" y="44"/>
                      <a:pt x="104" y="34"/>
                      <a:pt x="87" y="38"/>
                    </a:cubicBezTo>
                    <a:cubicBezTo>
                      <a:pt x="91" y="19"/>
                      <a:pt x="84" y="4"/>
                      <a:pt x="84" y="4"/>
                    </a:cubicBezTo>
                    <a:cubicBezTo>
                      <a:pt x="83" y="1"/>
                      <a:pt x="80" y="0"/>
                      <a:pt x="77" y="1"/>
                    </a:cubicBezTo>
                    <a:cubicBezTo>
                      <a:pt x="65" y="3"/>
                      <a:pt x="56" y="15"/>
                      <a:pt x="55" y="15"/>
                    </a:cubicBezTo>
                    <a:cubicBezTo>
                      <a:pt x="53" y="18"/>
                      <a:pt x="54" y="22"/>
                      <a:pt x="57" y="24"/>
                    </a:cubicBezTo>
                    <a:cubicBezTo>
                      <a:pt x="59" y="26"/>
                      <a:pt x="63" y="25"/>
                      <a:pt x="65" y="23"/>
                    </a:cubicBezTo>
                    <a:cubicBezTo>
                      <a:pt x="65" y="23"/>
                      <a:pt x="69" y="17"/>
                      <a:pt x="75" y="14"/>
                    </a:cubicBezTo>
                    <a:cubicBezTo>
                      <a:pt x="77" y="22"/>
                      <a:pt x="79" y="39"/>
                      <a:pt x="64" y="56"/>
                    </a:cubicBezTo>
                    <a:cubicBezTo>
                      <a:pt x="59" y="28"/>
                      <a:pt x="45" y="18"/>
                      <a:pt x="34" y="14"/>
                    </a:cubicBezTo>
                    <a:cubicBezTo>
                      <a:pt x="31" y="13"/>
                      <a:pt x="27" y="14"/>
                      <a:pt x="26" y="17"/>
                    </a:cubicBezTo>
                    <a:cubicBezTo>
                      <a:pt x="21" y="28"/>
                      <a:pt x="16" y="53"/>
                      <a:pt x="37" y="67"/>
                    </a:cubicBezTo>
                    <a:cubicBezTo>
                      <a:pt x="39" y="69"/>
                      <a:pt x="43" y="69"/>
                      <a:pt x="45" y="66"/>
                    </a:cubicBezTo>
                    <a:cubicBezTo>
                      <a:pt x="47" y="63"/>
                      <a:pt x="46" y="59"/>
                      <a:pt x="43" y="57"/>
                    </a:cubicBezTo>
                    <a:cubicBezTo>
                      <a:pt x="31" y="49"/>
                      <a:pt x="33" y="35"/>
                      <a:pt x="35" y="28"/>
                    </a:cubicBezTo>
                    <a:cubicBezTo>
                      <a:pt x="46" y="34"/>
                      <a:pt x="52" y="49"/>
                      <a:pt x="53" y="71"/>
                    </a:cubicBezTo>
                    <a:cubicBezTo>
                      <a:pt x="53" y="71"/>
                      <a:pt x="53" y="71"/>
                      <a:pt x="53" y="71"/>
                    </a:cubicBezTo>
                    <a:cubicBezTo>
                      <a:pt x="49" y="77"/>
                      <a:pt x="46" y="82"/>
                      <a:pt x="35" y="86"/>
                    </a:cubicBezTo>
                    <a:cubicBezTo>
                      <a:pt x="29" y="88"/>
                      <a:pt x="22" y="89"/>
                      <a:pt x="18" y="90"/>
                    </a:cubicBezTo>
                    <a:cubicBezTo>
                      <a:pt x="15" y="91"/>
                      <a:pt x="12" y="91"/>
                      <a:pt x="11" y="92"/>
                    </a:cubicBezTo>
                    <a:cubicBezTo>
                      <a:pt x="4" y="94"/>
                      <a:pt x="0" y="99"/>
                      <a:pt x="1" y="105"/>
                    </a:cubicBezTo>
                    <a:cubicBezTo>
                      <a:pt x="1" y="112"/>
                      <a:pt x="6" y="117"/>
                      <a:pt x="14" y="120"/>
                    </a:cubicBezTo>
                    <a:cubicBezTo>
                      <a:pt x="15" y="120"/>
                      <a:pt x="15" y="120"/>
                      <a:pt x="15" y="120"/>
                    </a:cubicBezTo>
                    <a:cubicBezTo>
                      <a:pt x="15" y="120"/>
                      <a:pt x="18" y="120"/>
                      <a:pt x="22" y="120"/>
                    </a:cubicBezTo>
                    <a:cubicBezTo>
                      <a:pt x="28" y="120"/>
                      <a:pt x="39" y="119"/>
                      <a:pt x="49" y="113"/>
                    </a:cubicBezTo>
                    <a:cubicBezTo>
                      <a:pt x="48" y="120"/>
                      <a:pt x="47" y="124"/>
                      <a:pt x="47" y="124"/>
                    </a:cubicBezTo>
                    <a:cubicBezTo>
                      <a:pt x="47" y="125"/>
                      <a:pt x="47" y="125"/>
                      <a:pt x="47" y="126"/>
                    </a:cubicBezTo>
                    <a:cubicBezTo>
                      <a:pt x="47" y="129"/>
                      <a:pt x="49" y="131"/>
                      <a:pt x="52" y="132"/>
                    </a:cubicBezTo>
                    <a:cubicBezTo>
                      <a:pt x="53" y="132"/>
                      <a:pt x="53" y="132"/>
                      <a:pt x="53" y="132"/>
                    </a:cubicBezTo>
                    <a:cubicBezTo>
                      <a:pt x="55" y="132"/>
                      <a:pt x="58" y="130"/>
                      <a:pt x="58" y="127"/>
                    </a:cubicBezTo>
                    <a:cubicBezTo>
                      <a:pt x="59" y="127"/>
                      <a:pt x="60" y="123"/>
                      <a:pt x="61" y="118"/>
                    </a:cubicBezTo>
                    <a:cubicBezTo>
                      <a:pt x="72" y="132"/>
                      <a:pt x="88" y="134"/>
                      <a:pt x="89" y="135"/>
                    </a:cubicBezTo>
                    <a:cubicBezTo>
                      <a:pt x="90" y="135"/>
                      <a:pt x="91" y="135"/>
                      <a:pt x="92" y="135"/>
                    </a:cubicBezTo>
                    <a:cubicBezTo>
                      <a:pt x="99" y="135"/>
                      <a:pt x="105" y="132"/>
                      <a:pt x="107" y="126"/>
                    </a:cubicBezTo>
                    <a:cubicBezTo>
                      <a:pt x="108" y="124"/>
                      <a:pt x="108" y="122"/>
                      <a:pt x="108" y="120"/>
                    </a:cubicBezTo>
                    <a:cubicBezTo>
                      <a:pt x="110" y="120"/>
                      <a:pt x="111" y="120"/>
                      <a:pt x="112" y="120"/>
                    </a:cubicBezTo>
                    <a:cubicBezTo>
                      <a:pt x="112" y="120"/>
                      <a:pt x="112" y="120"/>
                      <a:pt x="112" y="120"/>
                    </a:cubicBezTo>
                    <a:cubicBezTo>
                      <a:pt x="121" y="117"/>
                      <a:pt x="126" y="112"/>
                      <a:pt x="126" y="105"/>
                    </a:cubicBezTo>
                    <a:cubicBezTo>
                      <a:pt x="126" y="99"/>
                      <a:pt x="122" y="94"/>
                      <a:pt x="116" y="92"/>
                    </a:cubicBezTo>
                    <a:close/>
                    <a:moveTo>
                      <a:pt x="107" y="52"/>
                    </a:moveTo>
                    <a:cubicBezTo>
                      <a:pt x="105" y="56"/>
                      <a:pt x="102" y="59"/>
                      <a:pt x="98" y="62"/>
                    </a:cubicBezTo>
                    <a:cubicBezTo>
                      <a:pt x="90" y="66"/>
                      <a:pt x="79" y="65"/>
                      <a:pt x="73" y="64"/>
                    </a:cubicBezTo>
                    <a:cubicBezTo>
                      <a:pt x="76" y="60"/>
                      <a:pt x="78" y="57"/>
                      <a:pt x="80" y="54"/>
                    </a:cubicBezTo>
                    <a:cubicBezTo>
                      <a:pt x="91" y="46"/>
                      <a:pt x="102" y="49"/>
                      <a:pt x="107" y="52"/>
                    </a:cubicBezTo>
                    <a:close/>
                    <a:moveTo>
                      <a:pt x="17" y="108"/>
                    </a:moveTo>
                    <a:cubicBezTo>
                      <a:pt x="14" y="107"/>
                      <a:pt x="13" y="106"/>
                      <a:pt x="13" y="105"/>
                    </a:cubicBezTo>
                    <a:cubicBezTo>
                      <a:pt x="13" y="104"/>
                      <a:pt x="13" y="104"/>
                      <a:pt x="14" y="103"/>
                    </a:cubicBezTo>
                    <a:cubicBezTo>
                      <a:pt x="15" y="103"/>
                      <a:pt x="18" y="102"/>
                      <a:pt x="20" y="102"/>
                    </a:cubicBezTo>
                    <a:cubicBezTo>
                      <a:pt x="25" y="101"/>
                      <a:pt x="32" y="99"/>
                      <a:pt x="38" y="97"/>
                    </a:cubicBezTo>
                    <a:cubicBezTo>
                      <a:pt x="43" y="96"/>
                      <a:pt x="47" y="94"/>
                      <a:pt x="50" y="92"/>
                    </a:cubicBezTo>
                    <a:cubicBezTo>
                      <a:pt x="50" y="94"/>
                      <a:pt x="50" y="95"/>
                      <a:pt x="51" y="97"/>
                    </a:cubicBezTo>
                    <a:cubicBezTo>
                      <a:pt x="37" y="110"/>
                      <a:pt x="19" y="108"/>
                      <a:pt x="17" y="108"/>
                    </a:cubicBezTo>
                    <a:close/>
                    <a:moveTo>
                      <a:pt x="96" y="121"/>
                    </a:moveTo>
                    <a:cubicBezTo>
                      <a:pt x="96" y="122"/>
                      <a:pt x="94" y="123"/>
                      <a:pt x="90" y="123"/>
                    </a:cubicBezTo>
                    <a:cubicBezTo>
                      <a:pt x="90" y="123"/>
                      <a:pt x="73" y="120"/>
                      <a:pt x="64" y="100"/>
                    </a:cubicBezTo>
                    <a:cubicBezTo>
                      <a:pt x="61" y="93"/>
                      <a:pt x="61" y="87"/>
                      <a:pt x="62" y="82"/>
                    </a:cubicBezTo>
                    <a:cubicBezTo>
                      <a:pt x="64" y="88"/>
                      <a:pt x="68" y="95"/>
                      <a:pt x="74" y="101"/>
                    </a:cubicBezTo>
                    <a:cubicBezTo>
                      <a:pt x="79" y="106"/>
                      <a:pt x="85" y="112"/>
                      <a:pt x="91" y="116"/>
                    </a:cubicBezTo>
                    <a:cubicBezTo>
                      <a:pt x="92" y="117"/>
                      <a:pt x="94" y="118"/>
                      <a:pt x="95" y="119"/>
                    </a:cubicBezTo>
                    <a:cubicBezTo>
                      <a:pt x="96" y="120"/>
                      <a:pt x="96" y="121"/>
                      <a:pt x="96" y="121"/>
                    </a:cubicBezTo>
                    <a:close/>
                    <a:moveTo>
                      <a:pt x="109" y="108"/>
                    </a:moveTo>
                    <a:cubicBezTo>
                      <a:pt x="109" y="108"/>
                      <a:pt x="106" y="109"/>
                      <a:pt x="102" y="108"/>
                    </a:cubicBezTo>
                    <a:cubicBezTo>
                      <a:pt x="102" y="108"/>
                      <a:pt x="101" y="108"/>
                      <a:pt x="101" y="109"/>
                    </a:cubicBezTo>
                    <a:cubicBezTo>
                      <a:pt x="100" y="108"/>
                      <a:pt x="99" y="107"/>
                      <a:pt x="98" y="106"/>
                    </a:cubicBezTo>
                    <a:cubicBezTo>
                      <a:pt x="94" y="103"/>
                      <a:pt x="90" y="100"/>
                      <a:pt x="86" y="96"/>
                    </a:cubicBezTo>
                    <a:cubicBezTo>
                      <a:pt x="94" y="99"/>
                      <a:pt x="101" y="101"/>
                      <a:pt x="107" y="102"/>
                    </a:cubicBezTo>
                    <a:cubicBezTo>
                      <a:pt x="109" y="102"/>
                      <a:pt x="111" y="103"/>
                      <a:pt x="112" y="103"/>
                    </a:cubicBezTo>
                    <a:cubicBezTo>
                      <a:pt x="113" y="104"/>
                      <a:pt x="114" y="104"/>
                      <a:pt x="114" y="105"/>
                    </a:cubicBezTo>
                    <a:cubicBezTo>
                      <a:pt x="114" y="106"/>
                      <a:pt x="113"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82">
                <a:extLst>
                  <a:ext uri="{FF2B5EF4-FFF2-40B4-BE49-F238E27FC236}">
                    <a16:creationId xmlns:a16="http://schemas.microsoft.com/office/drawing/2014/main" id="{B7946995-FAFA-4E03-8CBB-A3A44B2A9CE8}"/>
                  </a:ext>
                </a:extLst>
              </p:cNvPr>
              <p:cNvSpPr>
                <a:spLocks noEditPoints="1"/>
              </p:cNvSpPr>
              <p:nvPr/>
            </p:nvSpPr>
            <p:spPr bwMode="auto">
              <a:xfrm>
                <a:off x="16355378" y="4248150"/>
                <a:ext cx="533400" cy="571500"/>
              </a:xfrm>
              <a:custGeom>
                <a:avLst/>
                <a:gdLst>
                  <a:gd name="T0" fmla="*/ 109 w 126"/>
                  <a:gd name="T1" fmla="*/ 90 h 135"/>
                  <a:gd name="T2" fmla="*/ 83 w 126"/>
                  <a:gd name="T3" fmla="*/ 77 h 135"/>
                  <a:gd name="T4" fmla="*/ 120 w 126"/>
                  <a:gd name="T5" fmla="*/ 50 h 135"/>
                  <a:gd name="T6" fmla="*/ 87 w 126"/>
                  <a:gd name="T7" fmla="*/ 38 h 135"/>
                  <a:gd name="T8" fmla="*/ 77 w 126"/>
                  <a:gd name="T9" fmla="*/ 0 h 135"/>
                  <a:gd name="T10" fmla="*/ 57 w 126"/>
                  <a:gd name="T11" fmla="*/ 24 h 135"/>
                  <a:gd name="T12" fmla="*/ 75 w 126"/>
                  <a:gd name="T13" fmla="*/ 14 h 135"/>
                  <a:gd name="T14" fmla="*/ 34 w 126"/>
                  <a:gd name="T15" fmla="*/ 14 h 135"/>
                  <a:gd name="T16" fmla="*/ 37 w 126"/>
                  <a:gd name="T17" fmla="*/ 67 h 135"/>
                  <a:gd name="T18" fmla="*/ 43 w 126"/>
                  <a:gd name="T19" fmla="*/ 57 h 135"/>
                  <a:gd name="T20" fmla="*/ 53 w 126"/>
                  <a:gd name="T21" fmla="*/ 70 h 135"/>
                  <a:gd name="T22" fmla="*/ 35 w 126"/>
                  <a:gd name="T23" fmla="*/ 86 h 135"/>
                  <a:gd name="T24" fmla="*/ 11 w 126"/>
                  <a:gd name="T25" fmla="*/ 92 h 135"/>
                  <a:gd name="T26" fmla="*/ 14 w 126"/>
                  <a:gd name="T27" fmla="*/ 119 h 135"/>
                  <a:gd name="T28" fmla="*/ 22 w 126"/>
                  <a:gd name="T29" fmla="*/ 120 h 135"/>
                  <a:gd name="T30" fmla="*/ 47 w 126"/>
                  <a:gd name="T31" fmla="*/ 124 h 135"/>
                  <a:gd name="T32" fmla="*/ 53 w 126"/>
                  <a:gd name="T33" fmla="*/ 132 h 135"/>
                  <a:gd name="T34" fmla="*/ 61 w 126"/>
                  <a:gd name="T35" fmla="*/ 117 h 135"/>
                  <a:gd name="T36" fmla="*/ 92 w 126"/>
                  <a:gd name="T37" fmla="*/ 135 h 135"/>
                  <a:gd name="T38" fmla="*/ 108 w 126"/>
                  <a:gd name="T39" fmla="*/ 120 h 135"/>
                  <a:gd name="T40" fmla="*/ 112 w 126"/>
                  <a:gd name="T41" fmla="*/ 119 h 135"/>
                  <a:gd name="T42" fmla="*/ 116 w 126"/>
                  <a:gd name="T43" fmla="*/ 92 h 135"/>
                  <a:gd name="T44" fmla="*/ 98 w 126"/>
                  <a:gd name="T45" fmla="*/ 61 h 135"/>
                  <a:gd name="T46" fmla="*/ 80 w 126"/>
                  <a:gd name="T47" fmla="*/ 54 h 135"/>
                  <a:gd name="T48" fmla="*/ 17 w 126"/>
                  <a:gd name="T49" fmla="*/ 108 h 135"/>
                  <a:gd name="T50" fmla="*/ 14 w 126"/>
                  <a:gd name="T51" fmla="*/ 103 h 135"/>
                  <a:gd name="T52" fmla="*/ 38 w 126"/>
                  <a:gd name="T53" fmla="*/ 97 h 135"/>
                  <a:gd name="T54" fmla="*/ 51 w 126"/>
                  <a:gd name="T55" fmla="*/ 97 h 135"/>
                  <a:gd name="T56" fmla="*/ 96 w 126"/>
                  <a:gd name="T57" fmla="*/ 121 h 135"/>
                  <a:gd name="T58" fmla="*/ 64 w 126"/>
                  <a:gd name="T59" fmla="*/ 100 h 135"/>
                  <a:gd name="T60" fmla="*/ 74 w 126"/>
                  <a:gd name="T61" fmla="*/ 101 h 135"/>
                  <a:gd name="T62" fmla="*/ 95 w 126"/>
                  <a:gd name="T63" fmla="*/ 119 h 135"/>
                  <a:gd name="T64" fmla="*/ 109 w 126"/>
                  <a:gd name="T65" fmla="*/ 108 h 135"/>
                  <a:gd name="T66" fmla="*/ 101 w 126"/>
                  <a:gd name="T67" fmla="*/ 109 h 135"/>
                  <a:gd name="T68" fmla="*/ 86 w 126"/>
                  <a:gd name="T69" fmla="*/ 96 h 135"/>
                  <a:gd name="T70" fmla="*/ 112 w 126"/>
                  <a:gd name="T71" fmla="*/ 103 h 135"/>
                  <a:gd name="T72" fmla="*/ 109 w 126"/>
                  <a:gd name="T73"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116" y="92"/>
                    </a:moveTo>
                    <a:cubicBezTo>
                      <a:pt x="114" y="91"/>
                      <a:pt x="112" y="91"/>
                      <a:pt x="109" y="90"/>
                    </a:cubicBezTo>
                    <a:cubicBezTo>
                      <a:pt x="100" y="88"/>
                      <a:pt x="84" y="85"/>
                      <a:pt x="75" y="76"/>
                    </a:cubicBezTo>
                    <a:cubicBezTo>
                      <a:pt x="78" y="77"/>
                      <a:pt x="80" y="77"/>
                      <a:pt x="83" y="77"/>
                    </a:cubicBezTo>
                    <a:cubicBezTo>
                      <a:pt x="90" y="77"/>
                      <a:pt x="97" y="76"/>
                      <a:pt x="104" y="72"/>
                    </a:cubicBezTo>
                    <a:cubicBezTo>
                      <a:pt x="112" y="68"/>
                      <a:pt x="118" y="60"/>
                      <a:pt x="120" y="50"/>
                    </a:cubicBezTo>
                    <a:cubicBezTo>
                      <a:pt x="121" y="48"/>
                      <a:pt x="120" y="45"/>
                      <a:pt x="118" y="44"/>
                    </a:cubicBezTo>
                    <a:cubicBezTo>
                      <a:pt x="117" y="43"/>
                      <a:pt x="104" y="34"/>
                      <a:pt x="87" y="38"/>
                    </a:cubicBezTo>
                    <a:cubicBezTo>
                      <a:pt x="91" y="19"/>
                      <a:pt x="84" y="4"/>
                      <a:pt x="84" y="4"/>
                    </a:cubicBezTo>
                    <a:cubicBezTo>
                      <a:pt x="83" y="1"/>
                      <a:pt x="80" y="0"/>
                      <a:pt x="77" y="0"/>
                    </a:cubicBezTo>
                    <a:cubicBezTo>
                      <a:pt x="65" y="3"/>
                      <a:pt x="56" y="15"/>
                      <a:pt x="55" y="15"/>
                    </a:cubicBezTo>
                    <a:cubicBezTo>
                      <a:pt x="53" y="18"/>
                      <a:pt x="54" y="22"/>
                      <a:pt x="57" y="24"/>
                    </a:cubicBezTo>
                    <a:cubicBezTo>
                      <a:pt x="59" y="26"/>
                      <a:pt x="63" y="25"/>
                      <a:pt x="65" y="23"/>
                    </a:cubicBezTo>
                    <a:cubicBezTo>
                      <a:pt x="65" y="22"/>
                      <a:pt x="69" y="17"/>
                      <a:pt x="75" y="14"/>
                    </a:cubicBezTo>
                    <a:cubicBezTo>
                      <a:pt x="77" y="22"/>
                      <a:pt x="79" y="39"/>
                      <a:pt x="64" y="56"/>
                    </a:cubicBezTo>
                    <a:cubicBezTo>
                      <a:pt x="59" y="28"/>
                      <a:pt x="45" y="18"/>
                      <a:pt x="34" y="14"/>
                    </a:cubicBezTo>
                    <a:cubicBezTo>
                      <a:pt x="31" y="13"/>
                      <a:pt x="27" y="14"/>
                      <a:pt x="26" y="17"/>
                    </a:cubicBezTo>
                    <a:cubicBezTo>
                      <a:pt x="21" y="28"/>
                      <a:pt x="16" y="53"/>
                      <a:pt x="37" y="67"/>
                    </a:cubicBezTo>
                    <a:cubicBezTo>
                      <a:pt x="39" y="69"/>
                      <a:pt x="43" y="68"/>
                      <a:pt x="45" y="66"/>
                    </a:cubicBezTo>
                    <a:cubicBezTo>
                      <a:pt x="47" y="63"/>
                      <a:pt x="46" y="59"/>
                      <a:pt x="43" y="57"/>
                    </a:cubicBezTo>
                    <a:cubicBezTo>
                      <a:pt x="31" y="49"/>
                      <a:pt x="33" y="35"/>
                      <a:pt x="35" y="27"/>
                    </a:cubicBezTo>
                    <a:cubicBezTo>
                      <a:pt x="46" y="34"/>
                      <a:pt x="52" y="49"/>
                      <a:pt x="53" y="70"/>
                    </a:cubicBezTo>
                    <a:cubicBezTo>
                      <a:pt x="53" y="71"/>
                      <a:pt x="53" y="71"/>
                      <a:pt x="53" y="71"/>
                    </a:cubicBezTo>
                    <a:cubicBezTo>
                      <a:pt x="49" y="77"/>
                      <a:pt x="46" y="82"/>
                      <a:pt x="35" y="86"/>
                    </a:cubicBezTo>
                    <a:cubicBezTo>
                      <a:pt x="29" y="88"/>
                      <a:pt x="22" y="89"/>
                      <a:pt x="18" y="90"/>
                    </a:cubicBezTo>
                    <a:cubicBezTo>
                      <a:pt x="15" y="91"/>
                      <a:pt x="12" y="91"/>
                      <a:pt x="11" y="92"/>
                    </a:cubicBezTo>
                    <a:cubicBezTo>
                      <a:pt x="4" y="94"/>
                      <a:pt x="0" y="99"/>
                      <a:pt x="1" y="105"/>
                    </a:cubicBezTo>
                    <a:cubicBezTo>
                      <a:pt x="1" y="112"/>
                      <a:pt x="6" y="117"/>
                      <a:pt x="14" y="119"/>
                    </a:cubicBezTo>
                    <a:cubicBezTo>
                      <a:pt x="15" y="120"/>
                      <a:pt x="15" y="120"/>
                      <a:pt x="15" y="120"/>
                    </a:cubicBezTo>
                    <a:cubicBezTo>
                      <a:pt x="15" y="120"/>
                      <a:pt x="18" y="120"/>
                      <a:pt x="22" y="120"/>
                    </a:cubicBezTo>
                    <a:cubicBezTo>
                      <a:pt x="28" y="120"/>
                      <a:pt x="39" y="119"/>
                      <a:pt x="49" y="113"/>
                    </a:cubicBezTo>
                    <a:cubicBezTo>
                      <a:pt x="48" y="119"/>
                      <a:pt x="47" y="124"/>
                      <a:pt x="47" y="124"/>
                    </a:cubicBezTo>
                    <a:cubicBezTo>
                      <a:pt x="47" y="125"/>
                      <a:pt x="47" y="125"/>
                      <a:pt x="47" y="126"/>
                    </a:cubicBezTo>
                    <a:cubicBezTo>
                      <a:pt x="47" y="129"/>
                      <a:pt x="49" y="132"/>
                      <a:pt x="53" y="132"/>
                    </a:cubicBezTo>
                    <a:cubicBezTo>
                      <a:pt x="55" y="132"/>
                      <a:pt x="58" y="130"/>
                      <a:pt x="58" y="127"/>
                    </a:cubicBezTo>
                    <a:cubicBezTo>
                      <a:pt x="59" y="126"/>
                      <a:pt x="60" y="123"/>
                      <a:pt x="61" y="117"/>
                    </a:cubicBezTo>
                    <a:cubicBezTo>
                      <a:pt x="72" y="132"/>
                      <a:pt x="88" y="134"/>
                      <a:pt x="89" y="134"/>
                    </a:cubicBezTo>
                    <a:cubicBezTo>
                      <a:pt x="90" y="135"/>
                      <a:pt x="91" y="135"/>
                      <a:pt x="92" y="135"/>
                    </a:cubicBezTo>
                    <a:cubicBezTo>
                      <a:pt x="99" y="135"/>
                      <a:pt x="105" y="132"/>
                      <a:pt x="107" y="126"/>
                    </a:cubicBezTo>
                    <a:cubicBezTo>
                      <a:pt x="108" y="124"/>
                      <a:pt x="108" y="122"/>
                      <a:pt x="108" y="120"/>
                    </a:cubicBezTo>
                    <a:cubicBezTo>
                      <a:pt x="110" y="120"/>
                      <a:pt x="111" y="120"/>
                      <a:pt x="112" y="120"/>
                    </a:cubicBezTo>
                    <a:cubicBezTo>
                      <a:pt x="112" y="119"/>
                      <a:pt x="112" y="119"/>
                      <a:pt x="112" y="119"/>
                    </a:cubicBezTo>
                    <a:cubicBezTo>
                      <a:pt x="121" y="117"/>
                      <a:pt x="126" y="112"/>
                      <a:pt x="126" y="105"/>
                    </a:cubicBezTo>
                    <a:cubicBezTo>
                      <a:pt x="126" y="99"/>
                      <a:pt x="122" y="94"/>
                      <a:pt x="116" y="92"/>
                    </a:cubicBezTo>
                    <a:close/>
                    <a:moveTo>
                      <a:pt x="107" y="52"/>
                    </a:moveTo>
                    <a:cubicBezTo>
                      <a:pt x="105" y="56"/>
                      <a:pt x="102" y="59"/>
                      <a:pt x="98" y="61"/>
                    </a:cubicBezTo>
                    <a:cubicBezTo>
                      <a:pt x="90" y="66"/>
                      <a:pt x="79" y="65"/>
                      <a:pt x="73" y="64"/>
                    </a:cubicBezTo>
                    <a:cubicBezTo>
                      <a:pt x="76" y="60"/>
                      <a:pt x="78" y="57"/>
                      <a:pt x="80" y="54"/>
                    </a:cubicBezTo>
                    <a:cubicBezTo>
                      <a:pt x="91" y="46"/>
                      <a:pt x="102" y="49"/>
                      <a:pt x="107" y="52"/>
                    </a:cubicBezTo>
                    <a:close/>
                    <a:moveTo>
                      <a:pt x="17" y="108"/>
                    </a:moveTo>
                    <a:cubicBezTo>
                      <a:pt x="14" y="107"/>
                      <a:pt x="13" y="105"/>
                      <a:pt x="13" y="105"/>
                    </a:cubicBezTo>
                    <a:cubicBezTo>
                      <a:pt x="13" y="104"/>
                      <a:pt x="13" y="103"/>
                      <a:pt x="14" y="103"/>
                    </a:cubicBezTo>
                    <a:cubicBezTo>
                      <a:pt x="15" y="103"/>
                      <a:pt x="18" y="102"/>
                      <a:pt x="20" y="102"/>
                    </a:cubicBezTo>
                    <a:cubicBezTo>
                      <a:pt x="25" y="101"/>
                      <a:pt x="32" y="99"/>
                      <a:pt x="38" y="97"/>
                    </a:cubicBezTo>
                    <a:cubicBezTo>
                      <a:pt x="43" y="96"/>
                      <a:pt x="47" y="94"/>
                      <a:pt x="50" y="92"/>
                    </a:cubicBezTo>
                    <a:cubicBezTo>
                      <a:pt x="50" y="93"/>
                      <a:pt x="50" y="95"/>
                      <a:pt x="51" y="97"/>
                    </a:cubicBezTo>
                    <a:cubicBezTo>
                      <a:pt x="37" y="110"/>
                      <a:pt x="19" y="108"/>
                      <a:pt x="17" y="108"/>
                    </a:cubicBezTo>
                    <a:close/>
                    <a:moveTo>
                      <a:pt x="96" y="121"/>
                    </a:moveTo>
                    <a:cubicBezTo>
                      <a:pt x="96" y="122"/>
                      <a:pt x="94" y="123"/>
                      <a:pt x="90" y="123"/>
                    </a:cubicBezTo>
                    <a:cubicBezTo>
                      <a:pt x="90" y="123"/>
                      <a:pt x="73" y="120"/>
                      <a:pt x="64" y="100"/>
                    </a:cubicBezTo>
                    <a:cubicBezTo>
                      <a:pt x="61" y="93"/>
                      <a:pt x="61" y="87"/>
                      <a:pt x="62" y="82"/>
                    </a:cubicBezTo>
                    <a:cubicBezTo>
                      <a:pt x="64" y="88"/>
                      <a:pt x="68" y="94"/>
                      <a:pt x="74" y="101"/>
                    </a:cubicBezTo>
                    <a:cubicBezTo>
                      <a:pt x="79" y="106"/>
                      <a:pt x="85" y="112"/>
                      <a:pt x="91" y="116"/>
                    </a:cubicBezTo>
                    <a:cubicBezTo>
                      <a:pt x="92" y="117"/>
                      <a:pt x="94" y="118"/>
                      <a:pt x="95" y="119"/>
                    </a:cubicBezTo>
                    <a:cubicBezTo>
                      <a:pt x="96" y="120"/>
                      <a:pt x="96" y="121"/>
                      <a:pt x="96" y="121"/>
                    </a:cubicBezTo>
                    <a:close/>
                    <a:moveTo>
                      <a:pt x="109" y="108"/>
                    </a:moveTo>
                    <a:cubicBezTo>
                      <a:pt x="109" y="108"/>
                      <a:pt x="106" y="108"/>
                      <a:pt x="102" y="108"/>
                    </a:cubicBezTo>
                    <a:cubicBezTo>
                      <a:pt x="102" y="108"/>
                      <a:pt x="101" y="108"/>
                      <a:pt x="101" y="109"/>
                    </a:cubicBezTo>
                    <a:cubicBezTo>
                      <a:pt x="100" y="108"/>
                      <a:pt x="99" y="107"/>
                      <a:pt x="98" y="106"/>
                    </a:cubicBezTo>
                    <a:cubicBezTo>
                      <a:pt x="94" y="103"/>
                      <a:pt x="90" y="100"/>
                      <a:pt x="86" y="96"/>
                    </a:cubicBezTo>
                    <a:cubicBezTo>
                      <a:pt x="94" y="99"/>
                      <a:pt x="101" y="101"/>
                      <a:pt x="107" y="102"/>
                    </a:cubicBezTo>
                    <a:cubicBezTo>
                      <a:pt x="109" y="102"/>
                      <a:pt x="111" y="103"/>
                      <a:pt x="112" y="103"/>
                    </a:cubicBezTo>
                    <a:cubicBezTo>
                      <a:pt x="113" y="103"/>
                      <a:pt x="114" y="104"/>
                      <a:pt x="114" y="105"/>
                    </a:cubicBezTo>
                    <a:cubicBezTo>
                      <a:pt x="114" y="105"/>
                      <a:pt x="113" y="107"/>
                      <a:pt x="10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7" name="Freeform 183">
              <a:extLst>
                <a:ext uri="{FF2B5EF4-FFF2-40B4-BE49-F238E27FC236}">
                  <a16:creationId xmlns:a16="http://schemas.microsoft.com/office/drawing/2014/main" id="{0D366902-C3CB-4BA3-BCA0-C8D053E000C0}"/>
                </a:ext>
              </a:extLst>
            </p:cNvPr>
            <p:cNvSpPr>
              <a:spLocks noEditPoints="1"/>
            </p:cNvSpPr>
            <p:nvPr/>
          </p:nvSpPr>
          <p:spPr bwMode="auto">
            <a:xfrm>
              <a:off x="12881928" y="234950"/>
              <a:ext cx="4037013" cy="4906963"/>
            </a:xfrm>
            <a:custGeom>
              <a:avLst/>
              <a:gdLst>
                <a:gd name="T0" fmla="*/ 2543 w 2543"/>
                <a:gd name="T1" fmla="*/ 3091 h 3091"/>
                <a:gd name="T2" fmla="*/ 0 w 2543"/>
                <a:gd name="T3" fmla="*/ 3091 h 3091"/>
                <a:gd name="T4" fmla="*/ 0 w 2543"/>
                <a:gd name="T5" fmla="*/ 0 h 3091"/>
                <a:gd name="T6" fmla="*/ 2543 w 2543"/>
                <a:gd name="T7" fmla="*/ 0 h 3091"/>
                <a:gd name="T8" fmla="*/ 2543 w 2543"/>
                <a:gd name="T9" fmla="*/ 3091 h 3091"/>
                <a:gd name="T10" fmla="*/ 64 w 2543"/>
                <a:gd name="T11" fmla="*/ 3027 h 3091"/>
                <a:gd name="T12" fmla="*/ 2479 w 2543"/>
                <a:gd name="T13" fmla="*/ 3027 h 3091"/>
                <a:gd name="T14" fmla="*/ 2479 w 2543"/>
                <a:gd name="T15" fmla="*/ 64 h 3091"/>
                <a:gd name="T16" fmla="*/ 64 w 2543"/>
                <a:gd name="T17" fmla="*/ 64 h 3091"/>
                <a:gd name="T18" fmla="*/ 64 w 2543"/>
                <a:gd name="T19" fmla="*/ 3027 h 3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3" h="3091">
                  <a:moveTo>
                    <a:pt x="2543" y="3091"/>
                  </a:moveTo>
                  <a:lnTo>
                    <a:pt x="0" y="3091"/>
                  </a:lnTo>
                  <a:lnTo>
                    <a:pt x="0" y="0"/>
                  </a:lnTo>
                  <a:lnTo>
                    <a:pt x="2543" y="0"/>
                  </a:lnTo>
                  <a:lnTo>
                    <a:pt x="2543" y="3091"/>
                  </a:lnTo>
                  <a:close/>
                  <a:moveTo>
                    <a:pt x="64" y="3027"/>
                  </a:moveTo>
                  <a:lnTo>
                    <a:pt x="2479" y="3027"/>
                  </a:lnTo>
                  <a:lnTo>
                    <a:pt x="2479" y="64"/>
                  </a:lnTo>
                  <a:lnTo>
                    <a:pt x="64" y="64"/>
                  </a:lnTo>
                  <a:lnTo>
                    <a:pt x="64" y="302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81" name="Group 280">
              <a:extLst>
                <a:ext uri="{FF2B5EF4-FFF2-40B4-BE49-F238E27FC236}">
                  <a16:creationId xmlns:a16="http://schemas.microsoft.com/office/drawing/2014/main" id="{923D837D-0779-4F84-A3C0-C49AAEC15367}"/>
                </a:ext>
              </a:extLst>
            </p:cNvPr>
            <p:cNvGrpSpPr/>
            <p:nvPr/>
          </p:nvGrpSpPr>
          <p:grpSpPr>
            <a:xfrm>
              <a:off x="12920028" y="1006475"/>
              <a:ext cx="3490913" cy="1379538"/>
              <a:chOff x="12920028" y="1006475"/>
              <a:chExt cx="3490913" cy="1379538"/>
            </a:xfrm>
            <a:solidFill>
              <a:schemeClr val="tx1"/>
            </a:solidFill>
          </p:grpSpPr>
          <p:sp>
            <p:nvSpPr>
              <p:cNvPr id="258" name="Freeform 184">
                <a:extLst>
                  <a:ext uri="{FF2B5EF4-FFF2-40B4-BE49-F238E27FC236}">
                    <a16:creationId xmlns:a16="http://schemas.microsoft.com/office/drawing/2014/main" id="{18DF483D-9FD7-4EAF-8D59-CF2B8C4EB40E}"/>
                  </a:ext>
                </a:extLst>
              </p:cNvPr>
              <p:cNvSpPr>
                <a:spLocks/>
              </p:cNvSpPr>
              <p:nvPr/>
            </p:nvSpPr>
            <p:spPr bwMode="auto">
              <a:xfrm>
                <a:off x="16177578" y="2025650"/>
                <a:ext cx="50800" cy="152400"/>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2" y="0"/>
                      <a:pt x="0" y="3"/>
                      <a:pt x="0" y="6"/>
                    </a:cubicBezTo>
                    <a:cubicBezTo>
                      <a:pt x="0" y="30"/>
                      <a:pt x="0" y="30"/>
                      <a:pt x="0" y="30"/>
                    </a:cubicBezTo>
                    <a:cubicBezTo>
                      <a:pt x="0" y="33"/>
                      <a:pt x="2"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85">
                <a:extLst>
                  <a:ext uri="{FF2B5EF4-FFF2-40B4-BE49-F238E27FC236}">
                    <a16:creationId xmlns:a16="http://schemas.microsoft.com/office/drawing/2014/main" id="{2F1455E9-0F57-4E75-9158-81888BC8B68E}"/>
                  </a:ext>
                </a:extLst>
              </p:cNvPr>
              <p:cNvSpPr>
                <a:spLocks/>
              </p:cNvSpPr>
              <p:nvPr/>
            </p:nvSpPr>
            <p:spPr bwMode="auto">
              <a:xfrm>
                <a:off x="16177578" y="2232025"/>
                <a:ext cx="50800" cy="153988"/>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2" y="0"/>
                      <a:pt x="0" y="3"/>
                      <a:pt x="0" y="6"/>
                    </a:cubicBezTo>
                    <a:cubicBezTo>
                      <a:pt x="0" y="30"/>
                      <a:pt x="0" y="30"/>
                      <a:pt x="0" y="30"/>
                    </a:cubicBezTo>
                    <a:cubicBezTo>
                      <a:pt x="0" y="33"/>
                      <a:pt x="2"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86">
                <a:extLst>
                  <a:ext uri="{FF2B5EF4-FFF2-40B4-BE49-F238E27FC236}">
                    <a16:creationId xmlns:a16="http://schemas.microsoft.com/office/drawing/2014/main" id="{25C78B1F-D086-4BC5-B8EE-DB7715377C99}"/>
                  </a:ext>
                </a:extLst>
              </p:cNvPr>
              <p:cNvSpPr>
                <a:spLocks/>
              </p:cNvSpPr>
              <p:nvPr/>
            </p:nvSpPr>
            <p:spPr bwMode="auto">
              <a:xfrm>
                <a:off x="16334741" y="2241550"/>
                <a:ext cx="76200" cy="114300"/>
              </a:xfrm>
              <a:custGeom>
                <a:avLst/>
                <a:gdLst>
                  <a:gd name="T0" fmla="*/ 17 w 18"/>
                  <a:gd name="T1" fmla="*/ 19 h 27"/>
                  <a:gd name="T2" fmla="*/ 12 w 18"/>
                  <a:gd name="T3" fmla="*/ 5 h 27"/>
                  <a:gd name="T4" fmla="*/ 5 w 18"/>
                  <a:gd name="T5" fmla="*/ 1 h 27"/>
                  <a:gd name="T6" fmla="*/ 1 w 18"/>
                  <a:gd name="T7" fmla="*/ 8 h 27"/>
                  <a:gd name="T8" fmla="*/ 6 w 18"/>
                  <a:gd name="T9" fmla="*/ 22 h 27"/>
                  <a:gd name="T10" fmla="*/ 11 w 18"/>
                  <a:gd name="T11" fmla="*/ 27 h 27"/>
                  <a:gd name="T12" fmla="*/ 13 w 18"/>
                  <a:gd name="T13" fmla="*/ 26 h 27"/>
                  <a:gd name="T14" fmla="*/ 17 w 18"/>
                  <a:gd name="T15" fmla="*/ 19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7">
                    <a:moveTo>
                      <a:pt x="17" y="19"/>
                    </a:moveTo>
                    <a:cubicBezTo>
                      <a:pt x="12" y="5"/>
                      <a:pt x="12" y="5"/>
                      <a:pt x="12" y="5"/>
                    </a:cubicBezTo>
                    <a:cubicBezTo>
                      <a:pt x="11" y="1"/>
                      <a:pt x="8" y="0"/>
                      <a:pt x="5" y="1"/>
                    </a:cubicBezTo>
                    <a:cubicBezTo>
                      <a:pt x="2" y="2"/>
                      <a:pt x="0" y="5"/>
                      <a:pt x="1" y="8"/>
                    </a:cubicBezTo>
                    <a:cubicBezTo>
                      <a:pt x="6" y="22"/>
                      <a:pt x="6" y="22"/>
                      <a:pt x="6" y="22"/>
                    </a:cubicBezTo>
                    <a:cubicBezTo>
                      <a:pt x="7" y="25"/>
                      <a:pt x="9" y="27"/>
                      <a:pt x="11" y="27"/>
                    </a:cubicBezTo>
                    <a:cubicBezTo>
                      <a:pt x="12" y="27"/>
                      <a:pt x="13" y="26"/>
                      <a:pt x="13" y="26"/>
                    </a:cubicBezTo>
                    <a:cubicBezTo>
                      <a:pt x="16" y="25"/>
                      <a:pt x="18" y="22"/>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87">
                <a:extLst>
                  <a:ext uri="{FF2B5EF4-FFF2-40B4-BE49-F238E27FC236}">
                    <a16:creationId xmlns:a16="http://schemas.microsoft.com/office/drawing/2014/main" id="{DE3B79EE-5579-462C-B173-15808A15B7EE}"/>
                  </a:ext>
                </a:extLst>
              </p:cNvPr>
              <p:cNvSpPr>
                <a:spLocks/>
              </p:cNvSpPr>
              <p:nvPr/>
            </p:nvSpPr>
            <p:spPr bwMode="auto">
              <a:xfrm>
                <a:off x="16279178" y="2079625"/>
                <a:ext cx="76200" cy="111125"/>
              </a:xfrm>
              <a:custGeom>
                <a:avLst/>
                <a:gdLst>
                  <a:gd name="T0" fmla="*/ 17 w 18"/>
                  <a:gd name="T1" fmla="*/ 18 h 26"/>
                  <a:gd name="T2" fmla="*/ 13 w 18"/>
                  <a:gd name="T3" fmla="*/ 5 h 26"/>
                  <a:gd name="T4" fmla="*/ 5 w 18"/>
                  <a:gd name="T5" fmla="*/ 1 h 26"/>
                  <a:gd name="T6" fmla="*/ 1 w 18"/>
                  <a:gd name="T7" fmla="*/ 9 h 26"/>
                  <a:gd name="T8" fmla="*/ 6 w 18"/>
                  <a:gd name="T9" fmla="*/ 22 h 26"/>
                  <a:gd name="T10" fmla="*/ 11 w 18"/>
                  <a:gd name="T11" fmla="*/ 26 h 26"/>
                  <a:gd name="T12" fmla="*/ 13 w 18"/>
                  <a:gd name="T13" fmla="*/ 26 h 26"/>
                  <a:gd name="T14" fmla="*/ 17 w 18"/>
                  <a:gd name="T15" fmla="*/ 1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7" y="18"/>
                    </a:moveTo>
                    <a:cubicBezTo>
                      <a:pt x="13" y="5"/>
                      <a:pt x="13" y="5"/>
                      <a:pt x="13" y="5"/>
                    </a:cubicBezTo>
                    <a:cubicBezTo>
                      <a:pt x="12" y="2"/>
                      <a:pt x="8" y="0"/>
                      <a:pt x="5" y="1"/>
                    </a:cubicBezTo>
                    <a:cubicBezTo>
                      <a:pt x="2" y="2"/>
                      <a:pt x="0" y="6"/>
                      <a:pt x="1" y="9"/>
                    </a:cubicBezTo>
                    <a:cubicBezTo>
                      <a:pt x="6" y="22"/>
                      <a:pt x="6" y="22"/>
                      <a:pt x="6" y="22"/>
                    </a:cubicBezTo>
                    <a:cubicBezTo>
                      <a:pt x="6" y="24"/>
                      <a:pt x="9" y="26"/>
                      <a:pt x="11" y="26"/>
                    </a:cubicBezTo>
                    <a:cubicBezTo>
                      <a:pt x="12" y="26"/>
                      <a:pt x="13" y="26"/>
                      <a:pt x="13" y="26"/>
                    </a:cubicBezTo>
                    <a:cubicBezTo>
                      <a:pt x="16" y="25"/>
                      <a:pt x="18" y="21"/>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88">
                <a:extLst>
                  <a:ext uri="{FF2B5EF4-FFF2-40B4-BE49-F238E27FC236}">
                    <a16:creationId xmlns:a16="http://schemas.microsoft.com/office/drawing/2014/main" id="{D4945920-179F-454C-BE00-F10232A6B4CE}"/>
                  </a:ext>
                </a:extLst>
              </p:cNvPr>
              <p:cNvSpPr>
                <a:spLocks/>
              </p:cNvSpPr>
              <p:nvPr/>
            </p:nvSpPr>
            <p:spPr bwMode="auto">
              <a:xfrm>
                <a:off x="15990253" y="2241550"/>
                <a:ext cx="80963" cy="114300"/>
              </a:xfrm>
              <a:custGeom>
                <a:avLst/>
                <a:gdLst>
                  <a:gd name="T0" fmla="*/ 14 w 19"/>
                  <a:gd name="T1" fmla="*/ 1 h 27"/>
                  <a:gd name="T2" fmla="*/ 6 w 19"/>
                  <a:gd name="T3" fmla="*/ 5 h 27"/>
                  <a:gd name="T4" fmla="*/ 1 w 19"/>
                  <a:gd name="T5" fmla="*/ 19 h 27"/>
                  <a:gd name="T6" fmla="*/ 5 w 19"/>
                  <a:gd name="T7" fmla="*/ 26 h 27"/>
                  <a:gd name="T8" fmla="*/ 7 w 19"/>
                  <a:gd name="T9" fmla="*/ 27 h 27"/>
                  <a:gd name="T10" fmla="*/ 13 w 19"/>
                  <a:gd name="T11" fmla="*/ 22 h 27"/>
                  <a:gd name="T12" fmla="*/ 18 w 19"/>
                  <a:gd name="T13" fmla="*/ 8 h 27"/>
                  <a:gd name="T14" fmla="*/ 14 w 19"/>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7">
                    <a:moveTo>
                      <a:pt x="14" y="1"/>
                    </a:moveTo>
                    <a:cubicBezTo>
                      <a:pt x="11" y="0"/>
                      <a:pt x="7" y="1"/>
                      <a:pt x="6" y="5"/>
                    </a:cubicBezTo>
                    <a:cubicBezTo>
                      <a:pt x="1" y="19"/>
                      <a:pt x="1" y="19"/>
                      <a:pt x="1" y="19"/>
                    </a:cubicBezTo>
                    <a:cubicBezTo>
                      <a:pt x="0" y="22"/>
                      <a:pt x="2" y="25"/>
                      <a:pt x="5" y="26"/>
                    </a:cubicBezTo>
                    <a:cubicBezTo>
                      <a:pt x="6" y="26"/>
                      <a:pt x="7" y="27"/>
                      <a:pt x="7" y="27"/>
                    </a:cubicBezTo>
                    <a:cubicBezTo>
                      <a:pt x="10" y="27"/>
                      <a:pt x="12" y="25"/>
                      <a:pt x="13" y="22"/>
                    </a:cubicBezTo>
                    <a:cubicBezTo>
                      <a:pt x="18" y="8"/>
                      <a:pt x="18" y="8"/>
                      <a:pt x="18" y="8"/>
                    </a:cubicBezTo>
                    <a:cubicBezTo>
                      <a:pt x="19" y="5"/>
                      <a:pt x="17" y="2"/>
                      <a:pt x="1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89">
                <a:extLst>
                  <a:ext uri="{FF2B5EF4-FFF2-40B4-BE49-F238E27FC236}">
                    <a16:creationId xmlns:a16="http://schemas.microsoft.com/office/drawing/2014/main" id="{D70309DF-7DDF-4828-8E2A-F1FE4A834A2E}"/>
                  </a:ext>
                </a:extLst>
              </p:cNvPr>
              <p:cNvSpPr>
                <a:spLocks/>
              </p:cNvSpPr>
              <p:nvPr/>
            </p:nvSpPr>
            <p:spPr bwMode="auto">
              <a:xfrm>
                <a:off x="16045816" y="2079625"/>
                <a:ext cx="76200" cy="111125"/>
              </a:xfrm>
              <a:custGeom>
                <a:avLst/>
                <a:gdLst>
                  <a:gd name="T0" fmla="*/ 13 w 18"/>
                  <a:gd name="T1" fmla="*/ 1 h 26"/>
                  <a:gd name="T2" fmla="*/ 6 w 18"/>
                  <a:gd name="T3" fmla="*/ 5 h 26"/>
                  <a:gd name="T4" fmla="*/ 1 w 18"/>
                  <a:gd name="T5" fmla="*/ 18 h 26"/>
                  <a:gd name="T6" fmla="*/ 5 w 18"/>
                  <a:gd name="T7" fmla="*/ 26 h 26"/>
                  <a:gd name="T8" fmla="*/ 7 w 18"/>
                  <a:gd name="T9" fmla="*/ 26 h 26"/>
                  <a:gd name="T10" fmla="*/ 13 w 18"/>
                  <a:gd name="T11" fmla="*/ 22 h 26"/>
                  <a:gd name="T12" fmla="*/ 17 w 18"/>
                  <a:gd name="T13" fmla="*/ 9 h 26"/>
                  <a:gd name="T14" fmla="*/ 13 w 18"/>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3" y="1"/>
                    </a:moveTo>
                    <a:cubicBezTo>
                      <a:pt x="10" y="0"/>
                      <a:pt x="7" y="2"/>
                      <a:pt x="6" y="5"/>
                    </a:cubicBezTo>
                    <a:cubicBezTo>
                      <a:pt x="1" y="18"/>
                      <a:pt x="1" y="18"/>
                      <a:pt x="1" y="18"/>
                    </a:cubicBezTo>
                    <a:cubicBezTo>
                      <a:pt x="0" y="21"/>
                      <a:pt x="2" y="25"/>
                      <a:pt x="5" y="26"/>
                    </a:cubicBezTo>
                    <a:cubicBezTo>
                      <a:pt x="6" y="26"/>
                      <a:pt x="7" y="26"/>
                      <a:pt x="7" y="26"/>
                    </a:cubicBezTo>
                    <a:cubicBezTo>
                      <a:pt x="10" y="26"/>
                      <a:pt x="12" y="24"/>
                      <a:pt x="13" y="22"/>
                    </a:cubicBezTo>
                    <a:cubicBezTo>
                      <a:pt x="17" y="9"/>
                      <a:pt x="17" y="9"/>
                      <a:pt x="17" y="9"/>
                    </a:cubicBezTo>
                    <a:cubicBezTo>
                      <a:pt x="18" y="6"/>
                      <a:pt x="17"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90">
                <a:extLst>
                  <a:ext uri="{FF2B5EF4-FFF2-40B4-BE49-F238E27FC236}">
                    <a16:creationId xmlns:a16="http://schemas.microsoft.com/office/drawing/2014/main" id="{D592D784-CDAD-43D1-963A-D53C3DC23DD7}"/>
                  </a:ext>
                </a:extLst>
              </p:cNvPr>
              <p:cNvSpPr>
                <a:spLocks/>
              </p:cNvSpPr>
              <p:nvPr/>
            </p:nvSpPr>
            <p:spPr bwMode="auto">
              <a:xfrm>
                <a:off x="15494953" y="2025650"/>
                <a:ext cx="50800" cy="152400"/>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3"/>
                      <a:pt x="3"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91">
                <a:extLst>
                  <a:ext uri="{FF2B5EF4-FFF2-40B4-BE49-F238E27FC236}">
                    <a16:creationId xmlns:a16="http://schemas.microsoft.com/office/drawing/2014/main" id="{96A3844A-80E0-4A02-BDC8-3E2340AB04BF}"/>
                  </a:ext>
                </a:extLst>
              </p:cNvPr>
              <p:cNvSpPr>
                <a:spLocks/>
              </p:cNvSpPr>
              <p:nvPr/>
            </p:nvSpPr>
            <p:spPr bwMode="auto">
              <a:xfrm>
                <a:off x="15494953" y="2232025"/>
                <a:ext cx="50800" cy="153988"/>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3"/>
                      <a:pt x="3"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92">
                <a:extLst>
                  <a:ext uri="{FF2B5EF4-FFF2-40B4-BE49-F238E27FC236}">
                    <a16:creationId xmlns:a16="http://schemas.microsoft.com/office/drawing/2014/main" id="{4E30AA96-F419-4A27-8F6F-34CC7D556E45}"/>
                  </a:ext>
                </a:extLst>
              </p:cNvPr>
              <p:cNvSpPr>
                <a:spLocks/>
              </p:cNvSpPr>
              <p:nvPr/>
            </p:nvSpPr>
            <p:spPr bwMode="auto">
              <a:xfrm>
                <a:off x="15652116" y="2241550"/>
                <a:ext cx="76200" cy="114300"/>
              </a:xfrm>
              <a:custGeom>
                <a:avLst/>
                <a:gdLst>
                  <a:gd name="T0" fmla="*/ 13 w 18"/>
                  <a:gd name="T1" fmla="*/ 5 h 27"/>
                  <a:gd name="T2" fmla="*/ 5 w 18"/>
                  <a:gd name="T3" fmla="*/ 1 h 27"/>
                  <a:gd name="T4" fmla="*/ 1 w 18"/>
                  <a:gd name="T5" fmla="*/ 8 h 27"/>
                  <a:gd name="T6" fmla="*/ 6 w 18"/>
                  <a:gd name="T7" fmla="*/ 22 h 27"/>
                  <a:gd name="T8" fmla="*/ 12 w 18"/>
                  <a:gd name="T9" fmla="*/ 27 h 27"/>
                  <a:gd name="T10" fmla="*/ 14 w 18"/>
                  <a:gd name="T11" fmla="*/ 26 h 27"/>
                  <a:gd name="T12" fmla="*/ 17 w 18"/>
                  <a:gd name="T13" fmla="*/ 19 h 27"/>
                  <a:gd name="T14" fmla="*/ 13 w 18"/>
                  <a:gd name="T15" fmla="*/ 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7">
                    <a:moveTo>
                      <a:pt x="13" y="5"/>
                    </a:moveTo>
                    <a:cubicBezTo>
                      <a:pt x="12" y="1"/>
                      <a:pt x="8" y="0"/>
                      <a:pt x="5" y="1"/>
                    </a:cubicBezTo>
                    <a:cubicBezTo>
                      <a:pt x="2" y="2"/>
                      <a:pt x="0" y="5"/>
                      <a:pt x="1" y="8"/>
                    </a:cubicBezTo>
                    <a:cubicBezTo>
                      <a:pt x="6" y="22"/>
                      <a:pt x="6" y="22"/>
                      <a:pt x="6" y="22"/>
                    </a:cubicBezTo>
                    <a:cubicBezTo>
                      <a:pt x="7" y="25"/>
                      <a:pt x="9" y="27"/>
                      <a:pt x="12" y="27"/>
                    </a:cubicBezTo>
                    <a:cubicBezTo>
                      <a:pt x="12" y="27"/>
                      <a:pt x="13" y="26"/>
                      <a:pt x="14" y="26"/>
                    </a:cubicBezTo>
                    <a:cubicBezTo>
                      <a:pt x="17" y="25"/>
                      <a:pt x="18" y="22"/>
                      <a:pt x="17" y="19"/>
                    </a:cubicBezTo>
                    <a:lnTo>
                      <a:pt x="1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93">
                <a:extLst>
                  <a:ext uri="{FF2B5EF4-FFF2-40B4-BE49-F238E27FC236}">
                    <a16:creationId xmlns:a16="http://schemas.microsoft.com/office/drawing/2014/main" id="{66827C72-6D3E-448A-B68B-FCAAC0590A4A}"/>
                  </a:ext>
                </a:extLst>
              </p:cNvPr>
              <p:cNvSpPr>
                <a:spLocks/>
              </p:cNvSpPr>
              <p:nvPr/>
            </p:nvSpPr>
            <p:spPr bwMode="auto">
              <a:xfrm>
                <a:off x="15596553" y="2079625"/>
                <a:ext cx="76200" cy="111125"/>
              </a:xfrm>
              <a:custGeom>
                <a:avLst/>
                <a:gdLst>
                  <a:gd name="T0" fmla="*/ 17 w 18"/>
                  <a:gd name="T1" fmla="*/ 18 h 26"/>
                  <a:gd name="T2" fmla="*/ 13 w 18"/>
                  <a:gd name="T3" fmla="*/ 5 h 26"/>
                  <a:gd name="T4" fmla="*/ 5 w 18"/>
                  <a:gd name="T5" fmla="*/ 1 h 26"/>
                  <a:gd name="T6" fmla="*/ 2 w 18"/>
                  <a:gd name="T7" fmla="*/ 9 h 26"/>
                  <a:gd name="T8" fmla="*/ 6 w 18"/>
                  <a:gd name="T9" fmla="*/ 22 h 26"/>
                  <a:gd name="T10" fmla="*/ 12 w 18"/>
                  <a:gd name="T11" fmla="*/ 26 h 26"/>
                  <a:gd name="T12" fmla="*/ 14 w 18"/>
                  <a:gd name="T13" fmla="*/ 26 h 26"/>
                  <a:gd name="T14" fmla="*/ 17 w 18"/>
                  <a:gd name="T15" fmla="*/ 1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7" y="18"/>
                    </a:moveTo>
                    <a:cubicBezTo>
                      <a:pt x="13" y="5"/>
                      <a:pt x="13" y="5"/>
                      <a:pt x="13" y="5"/>
                    </a:cubicBezTo>
                    <a:cubicBezTo>
                      <a:pt x="12" y="2"/>
                      <a:pt x="8" y="0"/>
                      <a:pt x="5" y="1"/>
                    </a:cubicBezTo>
                    <a:cubicBezTo>
                      <a:pt x="2" y="2"/>
                      <a:pt x="0" y="6"/>
                      <a:pt x="2" y="9"/>
                    </a:cubicBezTo>
                    <a:cubicBezTo>
                      <a:pt x="6" y="22"/>
                      <a:pt x="6" y="22"/>
                      <a:pt x="6" y="22"/>
                    </a:cubicBezTo>
                    <a:cubicBezTo>
                      <a:pt x="7" y="24"/>
                      <a:pt x="9" y="26"/>
                      <a:pt x="12" y="26"/>
                    </a:cubicBezTo>
                    <a:cubicBezTo>
                      <a:pt x="12" y="26"/>
                      <a:pt x="13" y="26"/>
                      <a:pt x="14" y="26"/>
                    </a:cubicBezTo>
                    <a:cubicBezTo>
                      <a:pt x="17" y="25"/>
                      <a:pt x="18" y="21"/>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94">
                <a:extLst>
                  <a:ext uri="{FF2B5EF4-FFF2-40B4-BE49-F238E27FC236}">
                    <a16:creationId xmlns:a16="http://schemas.microsoft.com/office/drawing/2014/main" id="{8B66A85B-14E3-4CBF-BC11-C55B02A17150}"/>
                  </a:ext>
                </a:extLst>
              </p:cNvPr>
              <p:cNvSpPr>
                <a:spLocks/>
              </p:cNvSpPr>
              <p:nvPr/>
            </p:nvSpPr>
            <p:spPr bwMode="auto">
              <a:xfrm>
                <a:off x="15312391" y="2241550"/>
                <a:ext cx="77788" cy="114300"/>
              </a:xfrm>
              <a:custGeom>
                <a:avLst/>
                <a:gdLst>
                  <a:gd name="T0" fmla="*/ 13 w 18"/>
                  <a:gd name="T1" fmla="*/ 1 h 27"/>
                  <a:gd name="T2" fmla="*/ 5 w 18"/>
                  <a:gd name="T3" fmla="*/ 5 h 27"/>
                  <a:gd name="T4" fmla="*/ 1 w 18"/>
                  <a:gd name="T5" fmla="*/ 19 h 27"/>
                  <a:gd name="T6" fmla="*/ 4 w 18"/>
                  <a:gd name="T7" fmla="*/ 26 h 27"/>
                  <a:gd name="T8" fmla="*/ 6 w 18"/>
                  <a:gd name="T9" fmla="*/ 27 h 27"/>
                  <a:gd name="T10" fmla="*/ 12 w 18"/>
                  <a:gd name="T11" fmla="*/ 22 h 27"/>
                  <a:gd name="T12" fmla="*/ 17 w 18"/>
                  <a:gd name="T13" fmla="*/ 8 h 27"/>
                  <a:gd name="T14" fmla="*/ 13 w 18"/>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7">
                    <a:moveTo>
                      <a:pt x="13" y="1"/>
                    </a:moveTo>
                    <a:cubicBezTo>
                      <a:pt x="10" y="0"/>
                      <a:pt x="7" y="1"/>
                      <a:pt x="5" y="5"/>
                    </a:cubicBezTo>
                    <a:cubicBezTo>
                      <a:pt x="1" y="19"/>
                      <a:pt x="1" y="19"/>
                      <a:pt x="1" y="19"/>
                    </a:cubicBezTo>
                    <a:cubicBezTo>
                      <a:pt x="0" y="22"/>
                      <a:pt x="1" y="25"/>
                      <a:pt x="4" y="26"/>
                    </a:cubicBezTo>
                    <a:cubicBezTo>
                      <a:pt x="5" y="26"/>
                      <a:pt x="6" y="27"/>
                      <a:pt x="6" y="27"/>
                    </a:cubicBezTo>
                    <a:cubicBezTo>
                      <a:pt x="9" y="27"/>
                      <a:pt x="11" y="25"/>
                      <a:pt x="12" y="22"/>
                    </a:cubicBezTo>
                    <a:cubicBezTo>
                      <a:pt x="17" y="8"/>
                      <a:pt x="17" y="8"/>
                      <a:pt x="17" y="8"/>
                    </a:cubicBezTo>
                    <a:cubicBezTo>
                      <a:pt x="18" y="5"/>
                      <a:pt x="16"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95">
                <a:extLst>
                  <a:ext uri="{FF2B5EF4-FFF2-40B4-BE49-F238E27FC236}">
                    <a16:creationId xmlns:a16="http://schemas.microsoft.com/office/drawing/2014/main" id="{2D3FC35A-8B54-49EC-82E0-865F19B2068B}"/>
                  </a:ext>
                </a:extLst>
              </p:cNvPr>
              <p:cNvSpPr>
                <a:spLocks/>
              </p:cNvSpPr>
              <p:nvPr/>
            </p:nvSpPr>
            <p:spPr bwMode="auto">
              <a:xfrm>
                <a:off x="15367953" y="2079625"/>
                <a:ext cx="76200" cy="111125"/>
              </a:xfrm>
              <a:custGeom>
                <a:avLst/>
                <a:gdLst>
                  <a:gd name="T0" fmla="*/ 13 w 18"/>
                  <a:gd name="T1" fmla="*/ 1 h 26"/>
                  <a:gd name="T2" fmla="*/ 5 w 18"/>
                  <a:gd name="T3" fmla="*/ 5 h 26"/>
                  <a:gd name="T4" fmla="*/ 1 w 18"/>
                  <a:gd name="T5" fmla="*/ 18 h 26"/>
                  <a:gd name="T6" fmla="*/ 5 w 18"/>
                  <a:gd name="T7" fmla="*/ 26 h 26"/>
                  <a:gd name="T8" fmla="*/ 6 w 18"/>
                  <a:gd name="T9" fmla="*/ 26 h 26"/>
                  <a:gd name="T10" fmla="*/ 12 w 18"/>
                  <a:gd name="T11" fmla="*/ 22 h 26"/>
                  <a:gd name="T12" fmla="*/ 17 w 18"/>
                  <a:gd name="T13" fmla="*/ 9 h 26"/>
                  <a:gd name="T14" fmla="*/ 13 w 18"/>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3" y="1"/>
                    </a:moveTo>
                    <a:cubicBezTo>
                      <a:pt x="10" y="0"/>
                      <a:pt x="6" y="2"/>
                      <a:pt x="5" y="5"/>
                    </a:cubicBezTo>
                    <a:cubicBezTo>
                      <a:pt x="1" y="18"/>
                      <a:pt x="1" y="18"/>
                      <a:pt x="1" y="18"/>
                    </a:cubicBezTo>
                    <a:cubicBezTo>
                      <a:pt x="0" y="21"/>
                      <a:pt x="1" y="25"/>
                      <a:pt x="5" y="26"/>
                    </a:cubicBezTo>
                    <a:cubicBezTo>
                      <a:pt x="5" y="26"/>
                      <a:pt x="6" y="26"/>
                      <a:pt x="6" y="26"/>
                    </a:cubicBezTo>
                    <a:cubicBezTo>
                      <a:pt x="9" y="26"/>
                      <a:pt x="11" y="24"/>
                      <a:pt x="12" y="22"/>
                    </a:cubicBezTo>
                    <a:cubicBezTo>
                      <a:pt x="17" y="9"/>
                      <a:pt x="17" y="9"/>
                      <a:pt x="17" y="9"/>
                    </a:cubicBezTo>
                    <a:cubicBezTo>
                      <a:pt x="18" y="6"/>
                      <a:pt x="16"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96">
                <a:extLst>
                  <a:ext uri="{FF2B5EF4-FFF2-40B4-BE49-F238E27FC236}">
                    <a16:creationId xmlns:a16="http://schemas.microsoft.com/office/drawing/2014/main" id="{15CA4D5C-9E8A-48B3-AA47-67BD2A05D9D9}"/>
                  </a:ext>
                </a:extLst>
              </p:cNvPr>
              <p:cNvSpPr>
                <a:spLocks noEditPoints="1"/>
              </p:cNvSpPr>
              <p:nvPr/>
            </p:nvSpPr>
            <p:spPr bwMode="auto">
              <a:xfrm>
                <a:off x="12920028" y="1006475"/>
                <a:ext cx="3414713" cy="958850"/>
              </a:xfrm>
              <a:custGeom>
                <a:avLst/>
                <a:gdLst>
                  <a:gd name="T0" fmla="*/ 162 w 806"/>
                  <a:gd name="T1" fmla="*/ 195 h 226"/>
                  <a:gd name="T2" fmla="*/ 260 w 806"/>
                  <a:gd name="T3" fmla="*/ 195 h 226"/>
                  <a:gd name="T4" fmla="*/ 322 w 806"/>
                  <a:gd name="T5" fmla="*/ 195 h 226"/>
                  <a:gd name="T6" fmla="*/ 421 w 806"/>
                  <a:gd name="T7" fmla="*/ 195 h 226"/>
                  <a:gd name="T8" fmla="*/ 483 w 806"/>
                  <a:gd name="T9" fmla="*/ 191 h 226"/>
                  <a:gd name="T10" fmla="*/ 614 w 806"/>
                  <a:gd name="T11" fmla="*/ 226 h 226"/>
                  <a:gd name="T12" fmla="*/ 744 w 806"/>
                  <a:gd name="T13" fmla="*/ 191 h 226"/>
                  <a:gd name="T14" fmla="*/ 806 w 806"/>
                  <a:gd name="T15" fmla="*/ 195 h 226"/>
                  <a:gd name="T16" fmla="*/ 806 w 806"/>
                  <a:gd name="T17" fmla="*/ 184 h 226"/>
                  <a:gd name="T18" fmla="*/ 804 w 806"/>
                  <a:gd name="T19" fmla="*/ 180 h 226"/>
                  <a:gd name="T20" fmla="*/ 802 w 806"/>
                  <a:gd name="T21" fmla="*/ 179 h 226"/>
                  <a:gd name="T22" fmla="*/ 18 w 806"/>
                  <a:gd name="T23" fmla="*/ 0 h 226"/>
                  <a:gd name="T24" fmla="*/ 10 w 806"/>
                  <a:gd name="T25" fmla="*/ 51 h 226"/>
                  <a:gd name="T26" fmla="*/ 12 w 806"/>
                  <a:gd name="T27" fmla="*/ 98 h 226"/>
                  <a:gd name="T28" fmla="*/ 4 w 806"/>
                  <a:gd name="T29" fmla="*/ 107 h 226"/>
                  <a:gd name="T30" fmla="*/ 3 w 806"/>
                  <a:gd name="T31" fmla="*/ 154 h 226"/>
                  <a:gd name="T32" fmla="*/ 10 w 806"/>
                  <a:gd name="T33" fmla="*/ 164 h 226"/>
                  <a:gd name="T34" fmla="*/ 18 w 806"/>
                  <a:gd name="T35" fmla="*/ 191 h 226"/>
                  <a:gd name="T36" fmla="*/ 150 w 806"/>
                  <a:gd name="T37" fmla="*/ 195 h 226"/>
                  <a:gd name="T38" fmla="*/ 112 w 806"/>
                  <a:gd name="T39" fmla="*/ 191 h 226"/>
                  <a:gd name="T40" fmla="*/ 77 w 806"/>
                  <a:gd name="T41" fmla="*/ 12 h 226"/>
                  <a:gd name="T42" fmla="*/ 57 w 806"/>
                  <a:gd name="T43" fmla="*/ 28 h 226"/>
                  <a:gd name="T44" fmla="*/ 33 w 806"/>
                  <a:gd name="T45" fmla="*/ 12 h 226"/>
                  <a:gd name="T46" fmla="*/ 334 w 806"/>
                  <a:gd name="T47" fmla="*/ 12 h 226"/>
                  <a:gd name="T48" fmla="*/ 219 w 806"/>
                  <a:gd name="T49" fmla="*/ 12 h 226"/>
                  <a:gd name="T50" fmla="*/ 526 w 806"/>
                  <a:gd name="T51" fmla="*/ 121 h 226"/>
                  <a:gd name="T52" fmla="*/ 558 w 806"/>
                  <a:gd name="T53" fmla="*/ 97 h 226"/>
                  <a:gd name="T54" fmla="*/ 537 w 806"/>
                  <a:gd name="T55" fmla="*/ 128 h 226"/>
                  <a:gd name="T56" fmla="*/ 477 w 806"/>
                  <a:gd name="T57" fmla="*/ 179 h 226"/>
                  <a:gd name="T58" fmla="*/ 594 w 806"/>
                  <a:gd name="T59" fmla="*/ 179 h 226"/>
                  <a:gd name="T60" fmla="*/ 297 w 806"/>
                  <a:gd name="T61" fmla="*/ 68 h 226"/>
                  <a:gd name="T62" fmla="*/ 368 w 806"/>
                  <a:gd name="T63" fmla="*/ 118 h 226"/>
                  <a:gd name="T64" fmla="*/ 291 w 806"/>
                  <a:gd name="T65" fmla="*/ 177 h 226"/>
                  <a:gd name="T66" fmla="*/ 358 w 806"/>
                  <a:gd name="T67" fmla="*/ 125 h 226"/>
                  <a:gd name="T68" fmla="*/ 453 w 806"/>
                  <a:gd name="T69" fmla="*/ 177 h 226"/>
                  <a:gd name="T70" fmla="*/ 437 w 806"/>
                  <a:gd name="T71" fmla="*/ 64 h 226"/>
                  <a:gd name="T72" fmla="*/ 437 w 806"/>
                  <a:gd name="T73" fmla="*/ 64 h 226"/>
                  <a:gd name="T74" fmla="*/ 277 w 806"/>
                  <a:gd name="T75" fmla="*/ 68 h 226"/>
                  <a:gd name="T76" fmla="*/ 205 w 806"/>
                  <a:gd name="T77" fmla="*/ 19 h 226"/>
                  <a:gd name="T78" fmla="*/ 57 w 806"/>
                  <a:gd name="T79" fmla="*/ 129 h 226"/>
                  <a:gd name="T80" fmla="*/ 205 w 806"/>
                  <a:gd name="T81" fmla="*/ 136 h 226"/>
                  <a:gd name="T82" fmla="*/ 156 w 806"/>
                  <a:gd name="T83" fmla="*/ 179 h 226"/>
                  <a:gd name="T84" fmla="*/ 310 w 806"/>
                  <a:gd name="T85" fmla="*/ 195 h 226"/>
                  <a:gd name="T86" fmla="*/ 272 w 806"/>
                  <a:gd name="T87" fmla="*/ 191 h 226"/>
                  <a:gd name="T88" fmla="*/ 316 w 806"/>
                  <a:gd name="T89" fmla="*/ 179 h 226"/>
                  <a:gd name="T90" fmla="*/ 434 w 806"/>
                  <a:gd name="T91" fmla="*/ 179 h 226"/>
                  <a:gd name="T92" fmla="*/ 316 w 806"/>
                  <a:gd name="T93" fmla="*/ 179 h 226"/>
                  <a:gd name="T94" fmla="*/ 433 w 806"/>
                  <a:gd name="T95" fmla="*/ 195 h 226"/>
                  <a:gd name="T96" fmla="*/ 471 w 806"/>
                  <a:gd name="T97" fmla="*/ 195 h 226"/>
                  <a:gd name="T98" fmla="*/ 595 w 806"/>
                  <a:gd name="T99" fmla="*/ 195 h 226"/>
                  <a:gd name="T100" fmla="*/ 633 w 806"/>
                  <a:gd name="T101" fmla="*/ 195 h 226"/>
                  <a:gd name="T102" fmla="*/ 756 w 806"/>
                  <a:gd name="T103" fmla="*/ 195 h 226"/>
                  <a:gd name="T104" fmla="*/ 794 w 806"/>
                  <a:gd name="T105" fmla="*/ 195 h 226"/>
                  <a:gd name="T106" fmla="*/ 632 w 806"/>
                  <a:gd name="T107" fmla="*/ 179 h 226"/>
                  <a:gd name="T108" fmla="*/ 750 w 806"/>
                  <a:gd name="T109" fmla="*/ 179 h 226"/>
                  <a:gd name="T110" fmla="*/ 24 w 806"/>
                  <a:gd name="T111" fmla="*/ 39 h 226"/>
                  <a:gd name="T112" fmla="*/ 47 w 806"/>
                  <a:gd name="T113" fmla="*/ 36 h 226"/>
                  <a:gd name="T114" fmla="*/ 24 w 806"/>
                  <a:gd name="T115" fmla="*/ 106 h 226"/>
                  <a:gd name="T116" fmla="*/ 37 w 806"/>
                  <a:gd name="T117" fmla="*/ 129 h 226"/>
                  <a:gd name="T118" fmla="*/ 24 w 806"/>
                  <a:gd name="T119" fmla="*/ 154 h 226"/>
                  <a:gd name="T120" fmla="*/ 106 w 806"/>
                  <a:gd name="T121" fmla="*/ 17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226">
                    <a:moveTo>
                      <a:pt x="100" y="195"/>
                    </a:moveTo>
                    <a:cubicBezTo>
                      <a:pt x="100" y="212"/>
                      <a:pt x="114" y="226"/>
                      <a:pt x="131" y="226"/>
                    </a:cubicBezTo>
                    <a:cubicBezTo>
                      <a:pt x="148" y="226"/>
                      <a:pt x="162" y="212"/>
                      <a:pt x="162" y="195"/>
                    </a:cubicBezTo>
                    <a:cubicBezTo>
                      <a:pt x="162" y="191"/>
                      <a:pt x="162" y="191"/>
                      <a:pt x="162" y="191"/>
                    </a:cubicBezTo>
                    <a:cubicBezTo>
                      <a:pt x="260" y="191"/>
                      <a:pt x="260" y="191"/>
                      <a:pt x="260" y="191"/>
                    </a:cubicBezTo>
                    <a:cubicBezTo>
                      <a:pt x="260" y="195"/>
                      <a:pt x="260" y="195"/>
                      <a:pt x="260" y="195"/>
                    </a:cubicBezTo>
                    <a:cubicBezTo>
                      <a:pt x="260" y="212"/>
                      <a:pt x="274" y="226"/>
                      <a:pt x="291" y="226"/>
                    </a:cubicBezTo>
                    <a:cubicBezTo>
                      <a:pt x="300" y="226"/>
                      <a:pt x="307" y="222"/>
                      <a:pt x="313" y="217"/>
                    </a:cubicBezTo>
                    <a:cubicBezTo>
                      <a:pt x="319" y="211"/>
                      <a:pt x="322" y="203"/>
                      <a:pt x="322" y="195"/>
                    </a:cubicBezTo>
                    <a:cubicBezTo>
                      <a:pt x="322" y="191"/>
                      <a:pt x="322" y="191"/>
                      <a:pt x="322" y="191"/>
                    </a:cubicBezTo>
                    <a:cubicBezTo>
                      <a:pt x="421" y="191"/>
                      <a:pt x="421" y="191"/>
                      <a:pt x="421" y="191"/>
                    </a:cubicBezTo>
                    <a:cubicBezTo>
                      <a:pt x="421" y="195"/>
                      <a:pt x="421" y="195"/>
                      <a:pt x="421" y="195"/>
                    </a:cubicBezTo>
                    <a:cubicBezTo>
                      <a:pt x="421" y="212"/>
                      <a:pt x="435" y="226"/>
                      <a:pt x="452" y="226"/>
                    </a:cubicBezTo>
                    <a:cubicBezTo>
                      <a:pt x="469" y="226"/>
                      <a:pt x="483" y="212"/>
                      <a:pt x="483" y="195"/>
                    </a:cubicBezTo>
                    <a:cubicBezTo>
                      <a:pt x="483" y="191"/>
                      <a:pt x="483" y="191"/>
                      <a:pt x="483" y="191"/>
                    </a:cubicBezTo>
                    <a:cubicBezTo>
                      <a:pt x="583" y="191"/>
                      <a:pt x="583" y="191"/>
                      <a:pt x="583" y="191"/>
                    </a:cubicBezTo>
                    <a:cubicBezTo>
                      <a:pt x="583" y="195"/>
                      <a:pt x="583" y="195"/>
                      <a:pt x="583" y="195"/>
                    </a:cubicBezTo>
                    <a:cubicBezTo>
                      <a:pt x="583" y="212"/>
                      <a:pt x="597" y="226"/>
                      <a:pt x="614" y="226"/>
                    </a:cubicBezTo>
                    <a:cubicBezTo>
                      <a:pt x="631" y="226"/>
                      <a:pt x="645" y="212"/>
                      <a:pt x="645" y="195"/>
                    </a:cubicBezTo>
                    <a:cubicBezTo>
                      <a:pt x="645" y="191"/>
                      <a:pt x="645" y="191"/>
                      <a:pt x="645" y="191"/>
                    </a:cubicBezTo>
                    <a:cubicBezTo>
                      <a:pt x="744" y="191"/>
                      <a:pt x="744" y="191"/>
                      <a:pt x="744" y="191"/>
                    </a:cubicBezTo>
                    <a:cubicBezTo>
                      <a:pt x="744" y="195"/>
                      <a:pt x="744" y="195"/>
                      <a:pt x="744" y="195"/>
                    </a:cubicBezTo>
                    <a:cubicBezTo>
                      <a:pt x="744" y="212"/>
                      <a:pt x="758" y="226"/>
                      <a:pt x="775" y="226"/>
                    </a:cubicBezTo>
                    <a:cubicBezTo>
                      <a:pt x="792" y="226"/>
                      <a:pt x="806" y="212"/>
                      <a:pt x="806" y="195"/>
                    </a:cubicBezTo>
                    <a:cubicBezTo>
                      <a:pt x="806" y="185"/>
                      <a:pt x="806" y="185"/>
                      <a:pt x="806" y="185"/>
                    </a:cubicBezTo>
                    <a:cubicBezTo>
                      <a:pt x="806" y="184"/>
                      <a:pt x="806" y="184"/>
                      <a:pt x="806" y="184"/>
                    </a:cubicBezTo>
                    <a:cubicBezTo>
                      <a:pt x="806" y="184"/>
                      <a:pt x="806" y="184"/>
                      <a:pt x="806" y="184"/>
                    </a:cubicBezTo>
                    <a:cubicBezTo>
                      <a:pt x="805" y="183"/>
                      <a:pt x="805" y="182"/>
                      <a:pt x="805" y="182"/>
                    </a:cubicBezTo>
                    <a:cubicBezTo>
                      <a:pt x="805" y="182"/>
                      <a:pt x="805" y="182"/>
                      <a:pt x="805" y="182"/>
                    </a:cubicBezTo>
                    <a:cubicBezTo>
                      <a:pt x="804" y="181"/>
                      <a:pt x="804" y="181"/>
                      <a:pt x="804" y="180"/>
                    </a:cubicBezTo>
                    <a:cubicBezTo>
                      <a:pt x="803" y="180"/>
                      <a:pt x="803" y="180"/>
                      <a:pt x="803" y="180"/>
                    </a:cubicBezTo>
                    <a:cubicBezTo>
                      <a:pt x="803" y="180"/>
                      <a:pt x="802" y="179"/>
                      <a:pt x="802" y="179"/>
                    </a:cubicBezTo>
                    <a:cubicBezTo>
                      <a:pt x="802" y="179"/>
                      <a:pt x="802" y="179"/>
                      <a:pt x="802" y="179"/>
                    </a:cubicBezTo>
                    <a:cubicBezTo>
                      <a:pt x="343" y="1"/>
                      <a:pt x="343" y="1"/>
                      <a:pt x="343" y="1"/>
                    </a:cubicBezTo>
                    <a:cubicBezTo>
                      <a:pt x="342" y="1"/>
                      <a:pt x="341" y="0"/>
                      <a:pt x="340" y="0"/>
                    </a:cubicBezTo>
                    <a:cubicBezTo>
                      <a:pt x="18" y="0"/>
                      <a:pt x="18" y="0"/>
                      <a:pt x="18" y="0"/>
                    </a:cubicBezTo>
                    <a:cubicBezTo>
                      <a:pt x="14" y="0"/>
                      <a:pt x="12" y="3"/>
                      <a:pt x="12" y="6"/>
                    </a:cubicBezTo>
                    <a:cubicBezTo>
                      <a:pt x="12" y="49"/>
                      <a:pt x="12" y="49"/>
                      <a:pt x="12" y="49"/>
                    </a:cubicBezTo>
                    <a:cubicBezTo>
                      <a:pt x="10" y="51"/>
                      <a:pt x="10" y="51"/>
                      <a:pt x="10" y="51"/>
                    </a:cubicBezTo>
                    <a:cubicBezTo>
                      <a:pt x="7" y="53"/>
                      <a:pt x="7" y="56"/>
                      <a:pt x="9" y="59"/>
                    </a:cubicBezTo>
                    <a:cubicBezTo>
                      <a:pt x="9" y="60"/>
                      <a:pt x="11" y="61"/>
                      <a:pt x="12" y="61"/>
                    </a:cubicBezTo>
                    <a:cubicBezTo>
                      <a:pt x="12" y="98"/>
                      <a:pt x="12" y="98"/>
                      <a:pt x="12" y="98"/>
                    </a:cubicBezTo>
                    <a:cubicBezTo>
                      <a:pt x="11" y="97"/>
                      <a:pt x="11" y="97"/>
                      <a:pt x="11" y="97"/>
                    </a:cubicBezTo>
                    <a:cubicBezTo>
                      <a:pt x="8" y="95"/>
                      <a:pt x="4" y="96"/>
                      <a:pt x="2" y="99"/>
                    </a:cubicBezTo>
                    <a:cubicBezTo>
                      <a:pt x="1" y="102"/>
                      <a:pt x="1" y="105"/>
                      <a:pt x="4" y="107"/>
                    </a:cubicBezTo>
                    <a:cubicBezTo>
                      <a:pt x="12" y="112"/>
                      <a:pt x="12" y="112"/>
                      <a:pt x="12" y="112"/>
                    </a:cubicBezTo>
                    <a:cubicBezTo>
                      <a:pt x="12" y="148"/>
                      <a:pt x="12" y="148"/>
                      <a:pt x="12" y="148"/>
                    </a:cubicBezTo>
                    <a:cubicBezTo>
                      <a:pt x="3" y="154"/>
                      <a:pt x="3" y="154"/>
                      <a:pt x="3" y="154"/>
                    </a:cubicBezTo>
                    <a:cubicBezTo>
                      <a:pt x="0" y="156"/>
                      <a:pt x="0" y="160"/>
                      <a:pt x="1" y="163"/>
                    </a:cubicBezTo>
                    <a:cubicBezTo>
                      <a:pt x="3" y="164"/>
                      <a:pt x="4" y="165"/>
                      <a:pt x="6" y="165"/>
                    </a:cubicBezTo>
                    <a:cubicBezTo>
                      <a:pt x="8" y="165"/>
                      <a:pt x="9" y="165"/>
                      <a:pt x="10" y="164"/>
                    </a:cubicBezTo>
                    <a:cubicBezTo>
                      <a:pt x="12" y="163"/>
                      <a:pt x="12" y="163"/>
                      <a:pt x="12" y="163"/>
                    </a:cubicBezTo>
                    <a:cubicBezTo>
                      <a:pt x="12" y="185"/>
                      <a:pt x="12" y="185"/>
                      <a:pt x="12" y="185"/>
                    </a:cubicBezTo>
                    <a:cubicBezTo>
                      <a:pt x="12" y="188"/>
                      <a:pt x="14" y="191"/>
                      <a:pt x="18" y="191"/>
                    </a:cubicBezTo>
                    <a:cubicBezTo>
                      <a:pt x="100" y="191"/>
                      <a:pt x="100" y="191"/>
                      <a:pt x="100" y="191"/>
                    </a:cubicBezTo>
                    <a:lnTo>
                      <a:pt x="100" y="195"/>
                    </a:lnTo>
                    <a:close/>
                    <a:moveTo>
                      <a:pt x="150" y="195"/>
                    </a:moveTo>
                    <a:cubicBezTo>
                      <a:pt x="150" y="205"/>
                      <a:pt x="141" y="214"/>
                      <a:pt x="131" y="214"/>
                    </a:cubicBezTo>
                    <a:cubicBezTo>
                      <a:pt x="120" y="214"/>
                      <a:pt x="112" y="205"/>
                      <a:pt x="112" y="195"/>
                    </a:cubicBezTo>
                    <a:cubicBezTo>
                      <a:pt x="112" y="191"/>
                      <a:pt x="112" y="191"/>
                      <a:pt x="112" y="191"/>
                    </a:cubicBezTo>
                    <a:cubicBezTo>
                      <a:pt x="150" y="191"/>
                      <a:pt x="150" y="191"/>
                      <a:pt x="150" y="191"/>
                    </a:cubicBezTo>
                    <a:lnTo>
                      <a:pt x="150" y="195"/>
                    </a:lnTo>
                    <a:close/>
                    <a:moveTo>
                      <a:pt x="77" y="12"/>
                    </a:moveTo>
                    <a:cubicBezTo>
                      <a:pt x="194" y="12"/>
                      <a:pt x="194" y="12"/>
                      <a:pt x="194" y="12"/>
                    </a:cubicBezTo>
                    <a:cubicBezTo>
                      <a:pt x="120" y="68"/>
                      <a:pt x="120" y="68"/>
                      <a:pt x="120" y="68"/>
                    </a:cubicBezTo>
                    <a:cubicBezTo>
                      <a:pt x="57" y="28"/>
                      <a:pt x="57" y="28"/>
                      <a:pt x="57" y="28"/>
                    </a:cubicBezTo>
                    <a:lnTo>
                      <a:pt x="77" y="12"/>
                    </a:lnTo>
                    <a:close/>
                    <a:moveTo>
                      <a:pt x="47" y="21"/>
                    </a:moveTo>
                    <a:cubicBezTo>
                      <a:pt x="33" y="12"/>
                      <a:pt x="33" y="12"/>
                      <a:pt x="33" y="12"/>
                    </a:cubicBezTo>
                    <a:cubicBezTo>
                      <a:pt x="57" y="12"/>
                      <a:pt x="57" y="12"/>
                      <a:pt x="57" y="12"/>
                    </a:cubicBezTo>
                    <a:lnTo>
                      <a:pt x="47" y="21"/>
                    </a:lnTo>
                    <a:close/>
                    <a:moveTo>
                      <a:pt x="334" y="12"/>
                    </a:moveTo>
                    <a:cubicBezTo>
                      <a:pt x="344" y="19"/>
                      <a:pt x="344" y="19"/>
                      <a:pt x="344" y="19"/>
                    </a:cubicBezTo>
                    <a:cubicBezTo>
                      <a:pt x="287" y="61"/>
                      <a:pt x="287" y="61"/>
                      <a:pt x="287" y="61"/>
                    </a:cubicBezTo>
                    <a:cubicBezTo>
                      <a:pt x="219" y="12"/>
                      <a:pt x="219" y="12"/>
                      <a:pt x="219" y="12"/>
                    </a:cubicBezTo>
                    <a:lnTo>
                      <a:pt x="334" y="12"/>
                    </a:lnTo>
                    <a:close/>
                    <a:moveTo>
                      <a:pt x="558" y="97"/>
                    </a:moveTo>
                    <a:cubicBezTo>
                      <a:pt x="526" y="121"/>
                      <a:pt x="526" y="121"/>
                      <a:pt x="526" y="121"/>
                    </a:cubicBezTo>
                    <a:cubicBezTo>
                      <a:pt x="448" y="71"/>
                      <a:pt x="448" y="71"/>
                      <a:pt x="448" y="71"/>
                    </a:cubicBezTo>
                    <a:cubicBezTo>
                      <a:pt x="462" y="60"/>
                      <a:pt x="462" y="60"/>
                      <a:pt x="462" y="60"/>
                    </a:cubicBezTo>
                    <a:lnTo>
                      <a:pt x="558" y="97"/>
                    </a:lnTo>
                    <a:close/>
                    <a:moveTo>
                      <a:pt x="665" y="139"/>
                    </a:moveTo>
                    <a:cubicBezTo>
                      <a:pt x="614" y="177"/>
                      <a:pt x="614" y="177"/>
                      <a:pt x="614" y="177"/>
                    </a:cubicBezTo>
                    <a:cubicBezTo>
                      <a:pt x="537" y="128"/>
                      <a:pt x="537" y="128"/>
                      <a:pt x="537" y="128"/>
                    </a:cubicBezTo>
                    <a:cubicBezTo>
                      <a:pt x="571" y="103"/>
                      <a:pt x="571" y="103"/>
                      <a:pt x="571" y="103"/>
                    </a:cubicBezTo>
                    <a:lnTo>
                      <a:pt x="665" y="139"/>
                    </a:lnTo>
                    <a:close/>
                    <a:moveTo>
                      <a:pt x="477" y="179"/>
                    </a:moveTo>
                    <a:cubicBezTo>
                      <a:pt x="471" y="179"/>
                      <a:pt x="471" y="179"/>
                      <a:pt x="471" y="179"/>
                    </a:cubicBezTo>
                    <a:cubicBezTo>
                      <a:pt x="527" y="136"/>
                      <a:pt x="527" y="136"/>
                      <a:pt x="527" y="136"/>
                    </a:cubicBezTo>
                    <a:cubicBezTo>
                      <a:pt x="594" y="179"/>
                      <a:pt x="594" y="179"/>
                      <a:pt x="594" y="179"/>
                    </a:cubicBezTo>
                    <a:cubicBezTo>
                      <a:pt x="589" y="179"/>
                      <a:pt x="589" y="179"/>
                      <a:pt x="589" y="179"/>
                    </a:cubicBezTo>
                    <a:lnTo>
                      <a:pt x="477" y="179"/>
                    </a:lnTo>
                    <a:close/>
                    <a:moveTo>
                      <a:pt x="297" y="68"/>
                    </a:moveTo>
                    <a:cubicBezTo>
                      <a:pt x="354" y="25"/>
                      <a:pt x="354" y="25"/>
                      <a:pt x="354" y="25"/>
                    </a:cubicBezTo>
                    <a:cubicBezTo>
                      <a:pt x="427" y="72"/>
                      <a:pt x="427" y="72"/>
                      <a:pt x="427" y="72"/>
                    </a:cubicBezTo>
                    <a:cubicBezTo>
                      <a:pt x="368" y="118"/>
                      <a:pt x="368" y="118"/>
                      <a:pt x="368" y="118"/>
                    </a:cubicBezTo>
                    <a:lnTo>
                      <a:pt x="297" y="68"/>
                    </a:lnTo>
                    <a:close/>
                    <a:moveTo>
                      <a:pt x="358" y="125"/>
                    </a:moveTo>
                    <a:cubicBezTo>
                      <a:pt x="291" y="177"/>
                      <a:pt x="291" y="177"/>
                      <a:pt x="291" y="177"/>
                    </a:cubicBezTo>
                    <a:cubicBezTo>
                      <a:pt x="215" y="129"/>
                      <a:pt x="215" y="129"/>
                      <a:pt x="215" y="129"/>
                    </a:cubicBezTo>
                    <a:cubicBezTo>
                      <a:pt x="287" y="75"/>
                      <a:pt x="287" y="75"/>
                      <a:pt x="287" y="75"/>
                    </a:cubicBezTo>
                    <a:lnTo>
                      <a:pt x="358" y="125"/>
                    </a:lnTo>
                    <a:close/>
                    <a:moveTo>
                      <a:pt x="438" y="79"/>
                    </a:moveTo>
                    <a:cubicBezTo>
                      <a:pt x="516" y="129"/>
                      <a:pt x="516" y="129"/>
                      <a:pt x="516" y="129"/>
                    </a:cubicBezTo>
                    <a:cubicBezTo>
                      <a:pt x="453" y="177"/>
                      <a:pt x="453" y="177"/>
                      <a:pt x="453" y="177"/>
                    </a:cubicBezTo>
                    <a:cubicBezTo>
                      <a:pt x="378" y="125"/>
                      <a:pt x="378" y="125"/>
                      <a:pt x="378" y="125"/>
                    </a:cubicBezTo>
                    <a:lnTo>
                      <a:pt x="438" y="79"/>
                    </a:lnTo>
                    <a:close/>
                    <a:moveTo>
                      <a:pt x="437" y="64"/>
                    </a:moveTo>
                    <a:cubicBezTo>
                      <a:pt x="383" y="29"/>
                      <a:pt x="383" y="29"/>
                      <a:pt x="383" y="29"/>
                    </a:cubicBezTo>
                    <a:cubicBezTo>
                      <a:pt x="449" y="55"/>
                      <a:pt x="449" y="55"/>
                      <a:pt x="449" y="55"/>
                    </a:cubicBezTo>
                    <a:lnTo>
                      <a:pt x="437" y="64"/>
                    </a:lnTo>
                    <a:close/>
                    <a:moveTo>
                      <a:pt x="205" y="19"/>
                    </a:moveTo>
                    <a:cubicBezTo>
                      <a:pt x="206" y="18"/>
                      <a:pt x="206" y="18"/>
                      <a:pt x="206" y="18"/>
                    </a:cubicBezTo>
                    <a:cubicBezTo>
                      <a:pt x="277" y="68"/>
                      <a:pt x="277" y="68"/>
                      <a:pt x="277" y="68"/>
                    </a:cubicBezTo>
                    <a:cubicBezTo>
                      <a:pt x="204" y="122"/>
                      <a:pt x="204" y="122"/>
                      <a:pt x="204" y="122"/>
                    </a:cubicBezTo>
                    <a:cubicBezTo>
                      <a:pt x="130" y="75"/>
                      <a:pt x="130" y="75"/>
                      <a:pt x="130" y="75"/>
                    </a:cubicBezTo>
                    <a:lnTo>
                      <a:pt x="205" y="19"/>
                    </a:lnTo>
                    <a:close/>
                    <a:moveTo>
                      <a:pt x="194" y="130"/>
                    </a:moveTo>
                    <a:cubicBezTo>
                      <a:pt x="130" y="177"/>
                      <a:pt x="130" y="177"/>
                      <a:pt x="130" y="177"/>
                    </a:cubicBezTo>
                    <a:cubicBezTo>
                      <a:pt x="57" y="129"/>
                      <a:pt x="57" y="129"/>
                      <a:pt x="57" y="129"/>
                    </a:cubicBezTo>
                    <a:cubicBezTo>
                      <a:pt x="120" y="82"/>
                      <a:pt x="120" y="82"/>
                      <a:pt x="120" y="82"/>
                    </a:cubicBezTo>
                    <a:lnTo>
                      <a:pt x="194" y="130"/>
                    </a:lnTo>
                    <a:close/>
                    <a:moveTo>
                      <a:pt x="205" y="136"/>
                    </a:moveTo>
                    <a:cubicBezTo>
                      <a:pt x="271" y="179"/>
                      <a:pt x="271" y="179"/>
                      <a:pt x="271" y="179"/>
                    </a:cubicBezTo>
                    <a:cubicBezTo>
                      <a:pt x="266" y="179"/>
                      <a:pt x="266" y="179"/>
                      <a:pt x="266" y="179"/>
                    </a:cubicBezTo>
                    <a:cubicBezTo>
                      <a:pt x="156" y="179"/>
                      <a:pt x="156" y="179"/>
                      <a:pt x="156" y="179"/>
                    </a:cubicBezTo>
                    <a:cubicBezTo>
                      <a:pt x="148" y="179"/>
                      <a:pt x="148" y="179"/>
                      <a:pt x="148" y="179"/>
                    </a:cubicBezTo>
                    <a:lnTo>
                      <a:pt x="205" y="136"/>
                    </a:lnTo>
                    <a:close/>
                    <a:moveTo>
                      <a:pt x="310" y="195"/>
                    </a:moveTo>
                    <a:cubicBezTo>
                      <a:pt x="310" y="205"/>
                      <a:pt x="302" y="214"/>
                      <a:pt x="291" y="214"/>
                    </a:cubicBezTo>
                    <a:cubicBezTo>
                      <a:pt x="281" y="214"/>
                      <a:pt x="272" y="205"/>
                      <a:pt x="272" y="195"/>
                    </a:cubicBezTo>
                    <a:cubicBezTo>
                      <a:pt x="272" y="191"/>
                      <a:pt x="272" y="191"/>
                      <a:pt x="272" y="191"/>
                    </a:cubicBezTo>
                    <a:cubicBezTo>
                      <a:pt x="310" y="191"/>
                      <a:pt x="310" y="191"/>
                      <a:pt x="310" y="191"/>
                    </a:cubicBezTo>
                    <a:lnTo>
                      <a:pt x="310" y="195"/>
                    </a:lnTo>
                    <a:close/>
                    <a:moveTo>
                      <a:pt x="316" y="179"/>
                    </a:moveTo>
                    <a:cubicBezTo>
                      <a:pt x="309" y="179"/>
                      <a:pt x="309" y="179"/>
                      <a:pt x="309" y="179"/>
                    </a:cubicBezTo>
                    <a:cubicBezTo>
                      <a:pt x="368" y="132"/>
                      <a:pt x="368" y="132"/>
                      <a:pt x="368" y="132"/>
                    </a:cubicBezTo>
                    <a:cubicBezTo>
                      <a:pt x="434" y="179"/>
                      <a:pt x="434" y="179"/>
                      <a:pt x="434" y="179"/>
                    </a:cubicBezTo>
                    <a:cubicBezTo>
                      <a:pt x="427" y="179"/>
                      <a:pt x="427" y="179"/>
                      <a:pt x="427" y="179"/>
                    </a:cubicBezTo>
                    <a:cubicBezTo>
                      <a:pt x="340" y="179"/>
                      <a:pt x="340" y="179"/>
                      <a:pt x="340" y="179"/>
                    </a:cubicBezTo>
                    <a:lnTo>
                      <a:pt x="316" y="179"/>
                    </a:lnTo>
                    <a:close/>
                    <a:moveTo>
                      <a:pt x="471" y="195"/>
                    </a:moveTo>
                    <a:cubicBezTo>
                      <a:pt x="471" y="205"/>
                      <a:pt x="462" y="214"/>
                      <a:pt x="452" y="214"/>
                    </a:cubicBezTo>
                    <a:cubicBezTo>
                      <a:pt x="442" y="214"/>
                      <a:pt x="433" y="205"/>
                      <a:pt x="433" y="195"/>
                    </a:cubicBezTo>
                    <a:cubicBezTo>
                      <a:pt x="433" y="191"/>
                      <a:pt x="433" y="191"/>
                      <a:pt x="433" y="191"/>
                    </a:cubicBezTo>
                    <a:cubicBezTo>
                      <a:pt x="471" y="191"/>
                      <a:pt x="471" y="191"/>
                      <a:pt x="471" y="191"/>
                    </a:cubicBezTo>
                    <a:lnTo>
                      <a:pt x="471" y="195"/>
                    </a:lnTo>
                    <a:close/>
                    <a:moveTo>
                      <a:pt x="633" y="195"/>
                    </a:moveTo>
                    <a:cubicBezTo>
                      <a:pt x="633" y="205"/>
                      <a:pt x="624" y="214"/>
                      <a:pt x="614" y="214"/>
                    </a:cubicBezTo>
                    <a:cubicBezTo>
                      <a:pt x="604" y="214"/>
                      <a:pt x="595" y="205"/>
                      <a:pt x="595" y="195"/>
                    </a:cubicBezTo>
                    <a:cubicBezTo>
                      <a:pt x="595" y="191"/>
                      <a:pt x="595" y="191"/>
                      <a:pt x="595" y="191"/>
                    </a:cubicBezTo>
                    <a:cubicBezTo>
                      <a:pt x="633" y="191"/>
                      <a:pt x="633" y="191"/>
                      <a:pt x="633" y="191"/>
                    </a:cubicBezTo>
                    <a:lnTo>
                      <a:pt x="633" y="195"/>
                    </a:lnTo>
                    <a:close/>
                    <a:moveTo>
                      <a:pt x="794" y="195"/>
                    </a:moveTo>
                    <a:cubicBezTo>
                      <a:pt x="794" y="205"/>
                      <a:pt x="785" y="214"/>
                      <a:pt x="775" y="214"/>
                    </a:cubicBezTo>
                    <a:cubicBezTo>
                      <a:pt x="764" y="214"/>
                      <a:pt x="756" y="205"/>
                      <a:pt x="756" y="195"/>
                    </a:cubicBezTo>
                    <a:cubicBezTo>
                      <a:pt x="756" y="191"/>
                      <a:pt x="756" y="191"/>
                      <a:pt x="756" y="191"/>
                    </a:cubicBezTo>
                    <a:cubicBezTo>
                      <a:pt x="794" y="191"/>
                      <a:pt x="794" y="191"/>
                      <a:pt x="794" y="191"/>
                    </a:cubicBezTo>
                    <a:lnTo>
                      <a:pt x="794" y="195"/>
                    </a:lnTo>
                    <a:close/>
                    <a:moveTo>
                      <a:pt x="750" y="179"/>
                    </a:moveTo>
                    <a:cubicBezTo>
                      <a:pt x="639" y="179"/>
                      <a:pt x="639" y="179"/>
                      <a:pt x="639" y="179"/>
                    </a:cubicBezTo>
                    <a:cubicBezTo>
                      <a:pt x="632" y="179"/>
                      <a:pt x="632" y="179"/>
                      <a:pt x="632" y="179"/>
                    </a:cubicBezTo>
                    <a:cubicBezTo>
                      <a:pt x="679" y="144"/>
                      <a:pt x="679" y="144"/>
                      <a:pt x="679" y="144"/>
                    </a:cubicBezTo>
                    <a:cubicBezTo>
                      <a:pt x="768" y="179"/>
                      <a:pt x="768" y="179"/>
                      <a:pt x="768" y="179"/>
                    </a:cubicBezTo>
                    <a:lnTo>
                      <a:pt x="750" y="179"/>
                    </a:lnTo>
                    <a:close/>
                    <a:moveTo>
                      <a:pt x="24" y="21"/>
                    </a:moveTo>
                    <a:cubicBezTo>
                      <a:pt x="37" y="29"/>
                      <a:pt x="37" y="29"/>
                      <a:pt x="37" y="29"/>
                    </a:cubicBezTo>
                    <a:cubicBezTo>
                      <a:pt x="24" y="39"/>
                      <a:pt x="24" y="39"/>
                      <a:pt x="24" y="39"/>
                    </a:cubicBezTo>
                    <a:lnTo>
                      <a:pt x="24" y="21"/>
                    </a:lnTo>
                    <a:close/>
                    <a:moveTo>
                      <a:pt x="24" y="55"/>
                    </a:moveTo>
                    <a:cubicBezTo>
                      <a:pt x="47" y="36"/>
                      <a:pt x="47" y="36"/>
                      <a:pt x="47" y="36"/>
                    </a:cubicBezTo>
                    <a:cubicBezTo>
                      <a:pt x="109" y="75"/>
                      <a:pt x="109" y="75"/>
                      <a:pt x="109" y="75"/>
                    </a:cubicBezTo>
                    <a:cubicBezTo>
                      <a:pt x="47" y="122"/>
                      <a:pt x="47" y="122"/>
                      <a:pt x="47" y="122"/>
                    </a:cubicBezTo>
                    <a:cubicBezTo>
                      <a:pt x="24" y="106"/>
                      <a:pt x="24" y="106"/>
                      <a:pt x="24" y="106"/>
                    </a:cubicBezTo>
                    <a:lnTo>
                      <a:pt x="24" y="55"/>
                    </a:lnTo>
                    <a:close/>
                    <a:moveTo>
                      <a:pt x="24" y="120"/>
                    </a:moveTo>
                    <a:cubicBezTo>
                      <a:pt x="37" y="129"/>
                      <a:pt x="37" y="129"/>
                      <a:pt x="37" y="129"/>
                    </a:cubicBezTo>
                    <a:cubicBezTo>
                      <a:pt x="24" y="139"/>
                      <a:pt x="24" y="139"/>
                      <a:pt x="24" y="139"/>
                    </a:cubicBezTo>
                    <a:lnTo>
                      <a:pt x="24" y="120"/>
                    </a:lnTo>
                    <a:close/>
                    <a:moveTo>
                      <a:pt x="24" y="154"/>
                    </a:moveTo>
                    <a:cubicBezTo>
                      <a:pt x="47" y="136"/>
                      <a:pt x="47" y="136"/>
                      <a:pt x="47" y="136"/>
                    </a:cubicBezTo>
                    <a:cubicBezTo>
                      <a:pt x="110" y="179"/>
                      <a:pt x="110" y="179"/>
                      <a:pt x="110" y="179"/>
                    </a:cubicBezTo>
                    <a:cubicBezTo>
                      <a:pt x="106" y="179"/>
                      <a:pt x="106" y="179"/>
                      <a:pt x="106" y="179"/>
                    </a:cubicBezTo>
                    <a:cubicBezTo>
                      <a:pt x="24" y="179"/>
                      <a:pt x="24" y="179"/>
                      <a:pt x="24" y="179"/>
                    </a:cubicBezTo>
                    <a:lnTo>
                      <a:pt x="24"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97">
                <a:extLst>
                  <a:ext uri="{FF2B5EF4-FFF2-40B4-BE49-F238E27FC236}">
                    <a16:creationId xmlns:a16="http://schemas.microsoft.com/office/drawing/2014/main" id="{F70E7265-513E-48BD-A0ED-EE3063833180}"/>
                  </a:ext>
                </a:extLst>
              </p:cNvPr>
              <p:cNvSpPr>
                <a:spLocks/>
              </p:cNvSpPr>
              <p:nvPr/>
            </p:nvSpPr>
            <p:spPr bwMode="auto">
              <a:xfrm>
                <a:off x="14809153" y="2025650"/>
                <a:ext cx="50800" cy="152400"/>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3"/>
                      <a:pt x="3"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98">
                <a:extLst>
                  <a:ext uri="{FF2B5EF4-FFF2-40B4-BE49-F238E27FC236}">
                    <a16:creationId xmlns:a16="http://schemas.microsoft.com/office/drawing/2014/main" id="{BA0C165E-D6C2-4F0D-94D3-C21362D5FB49}"/>
                  </a:ext>
                </a:extLst>
              </p:cNvPr>
              <p:cNvSpPr>
                <a:spLocks/>
              </p:cNvSpPr>
              <p:nvPr/>
            </p:nvSpPr>
            <p:spPr bwMode="auto">
              <a:xfrm>
                <a:off x="14809153" y="2232025"/>
                <a:ext cx="50800" cy="153988"/>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3"/>
                      <a:pt x="3"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99">
                <a:extLst>
                  <a:ext uri="{FF2B5EF4-FFF2-40B4-BE49-F238E27FC236}">
                    <a16:creationId xmlns:a16="http://schemas.microsoft.com/office/drawing/2014/main" id="{D3588D3D-B943-4E6B-BB8D-45FE694BA6C4}"/>
                  </a:ext>
                </a:extLst>
              </p:cNvPr>
              <p:cNvSpPr>
                <a:spLocks/>
              </p:cNvSpPr>
              <p:nvPr/>
            </p:nvSpPr>
            <p:spPr bwMode="auto">
              <a:xfrm>
                <a:off x="14966316" y="2241550"/>
                <a:ext cx="76200" cy="114300"/>
              </a:xfrm>
              <a:custGeom>
                <a:avLst/>
                <a:gdLst>
                  <a:gd name="T0" fmla="*/ 13 w 18"/>
                  <a:gd name="T1" fmla="*/ 5 h 27"/>
                  <a:gd name="T2" fmla="*/ 5 w 18"/>
                  <a:gd name="T3" fmla="*/ 1 h 27"/>
                  <a:gd name="T4" fmla="*/ 1 w 18"/>
                  <a:gd name="T5" fmla="*/ 8 h 27"/>
                  <a:gd name="T6" fmla="*/ 6 w 18"/>
                  <a:gd name="T7" fmla="*/ 22 h 27"/>
                  <a:gd name="T8" fmla="*/ 12 w 18"/>
                  <a:gd name="T9" fmla="*/ 27 h 27"/>
                  <a:gd name="T10" fmla="*/ 14 w 18"/>
                  <a:gd name="T11" fmla="*/ 26 h 27"/>
                  <a:gd name="T12" fmla="*/ 17 w 18"/>
                  <a:gd name="T13" fmla="*/ 19 h 27"/>
                  <a:gd name="T14" fmla="*/ 13 w 18"/>
                  <a:gd name="T15" fmla="*/ 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7">
                    <a:moveTo>
                      <a:pt x="13" y="5"/>
                    </a:moveTo>
                    <a:cubicBezTo>
                      <a:pt x="12" y="1"/>
                      <a:pt x="8" y="0"/>
                      <a:pt x="5" y="1"/>
                    </a:cubicBezTo>
                    <a:cubicBezTo>
                      <a:pt x="2" y="2"/>
                      <a:pt x="0" y="5"/>
                      <a:pt x="1" y="8"/>
                    </a:cubicBezTo>
                    <a:cubicBezTo>
                      <a:pt x="6" y="22"/>
                      <a:pt x="6" y="22"/>
                      <a:pt x="6" y="22"/>
                    </a:cubicBezTo>
                    <a:cubicBezTo>
                      <a:pt x="7" y="25"/>
                      <a:pt x="9" y="27"/>
                      <a:pt x="12" y="27"/>
                    </a:cubicBezTo>
                    <a:cubicBezTo>
                      <a:pt x="12" y="27"/>
                      <a:pt x="13" y="26"/>
                      <a:pt x="14" y="26"/>
                    </a:cubicBezTo>
                    <a:cubicBezTo>
                      <a:pt x="17" y="25"/>
                      <a:pt x="18" y="22"/>
                      <a:pt x="17" y="19"/>
                    </a:cubicBezTo>
                    <a:lnTo>
                      <a:pt x="1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200">
                <a:extLst>
                  <a:ext uri="{FF2B5EF4-FFF2-40B4-BE49-F238E27FC236}">
                    <a16:creationId xmlns:a16="http://schemas.microsoft.com/office/drawing/2014/main" id="{950BE9E3-52A6-4F9E-9745-46B53830F241}"/>
                  </a:ext>
                </a:extLst>
              </p:cNvPr>
              <p:cNvSpPr>
                <a:spLocks/>
              </p:cNvSpPr>
              <p:nvPr/>
            </p:nvSpPr>
            <p:spPr bwMode="auto">
              <a:xfrm>
                <a:off x="14915516" y="2079625"/>
                <a:ext cx="71438" cy="111125"/>
              </a:xfrm>
              <a:custGeom>
                <a:avLst/>
                <a:gdLst>
                  <a:gd name="T0" fmla="*/ 16 w 17"/>
                  <a:gd name="T1" fmla="*/ 18 h 26"/>
                  <a:gd name="T2" fmla="*/ 12 w 17"/>
                  <a:gd name="T3" fmla="*/ 5 h 26"/>
                  <a:gd name="T4" fmla="*/ 4 w 17"/>
                  <a:gd name="T5" fmla="*/ 1 h 26"/>
                  <a:gd name="T6" fmla="*/ 1 w 17"/>
                  <a:gd name="T7" fmla="*/ 9 h 26"/>
                  <a:gd name="T8" fmla="*/ 5 w 17"/>
                  <a:gd name="T9" fmla="*/ 22 h 26"/>
                  <a:gd name="T10" fmla="*/ 11 w 17"/>
                  <a:gd name="T11" fmla="*/ 26 h 26"/>
                  <a:gd name="T12" fmla="*/ 13 w 17"/>
                  <a:gd name="T13" fmla="*/ 26 h 26"/>
                  <a:gd name="T14" fmla="*/ 16 w 17"/>
                  <a:gd name="T15" fmla="*/ 1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6">
                    <a:moveTo>
                      <a:pt x="16" y="18"/>
                    </a:moveTo>
                    <a:cubicBezTo>
                      <a:pt x="12" y="5"/>
                      <a:pt x="12" y="5"/>
                      <a:pt x="12" y="5"/>
                    </a:cubicBezTo>
                    <a:cubicBezTo>
                      <a:pt x="11" y="2"/>
                      <a:pt x="7" y="0"/>
                      <a:pt x="4" y="1"/>
                    </a:cubicBezTo>
                    <a:cubicBezTo>
                      <a:pt x="1" y="2"/>
                      <a:pt x="0" y="6"/>
                      <a:pt x="1" y="9"/>
                    </a:cubicBezTo>
                    <a:cubicBezTo>
                      <a:pt x="5" y="22"/>
                      <a:pt x="5" y="22"/>
                      <a:pt x="5" y="22"/>
                    </a:cubicBezTo>
                    <a:cubicBezTo>
                      <a:pt x="6" y="24"/>
                      <a:pt x="8" y="26"/>
                      <a:pt x="11" y="26"/>
                    </a:cubicBezTo>
                    <a:cubicBezTo>
                      <a:pt x="11" y="26"/>
                      <a:pt x="12" y="26"/>
                      <a:pt x="13" y="26"/>
                    </a:cubicBezTo>
                    <a:cubicBezTo>
                      <a:pt x="16" y="25"/>
                      <a:pt x="17" y="21"/>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201">
                <a:extLst>
                  <a:ext uri="{FF2B5EF4-FFF2-40B4-BE49-F238E27FC236}">
                    <a16:creationId xmlns:a16="http://schemas.microsoft.com/office/drawing/2014/main" id="{EC1CA7BC-F843-4DD2-8831-60F6D32D507C}"/>
                  </a:ext>
                </a:extLst>
              </p:cNvPr>
              <p:cNvSpPr>
                <a:spLocks/>
              </p:cNvSpPr>
              <p:nvPr/>
            </p:nvSpPr>
            <p:spPr bwMode="auto">
              <a:xfrm>
                <a:off x="14626591" y="2241550"/>
                <a:ext cx="76200" cy="114300"/>
              </a:xfrm>
              <a:custGeom>
                <a:avLst/>
                <a:gdLst>
                  <a:gd name="T0" fmla="*/ 13 w 18"/>
                  <a:gd name="T1" fmla="*/ 1 h 27"/>
                  <a:gd name="T2" fmla="*/ 6 w 18"/>
                  <a:gd name="T3" fmla="*/ 5 h 27"/>
                  <a:gd name="T4" fmla="*/ 1 w 18"/>
                  <a:gd name="T5" fmla="*/ 19 h 27"/>
                  <a:gd name="T6" fmla="*/ 5 w 18"/>
                  <a:gd name="T7" fmla="*/ 26 h 27"/>
                  <a:gd name="T8" fmla="*/ 6 w 18"/>
                  <a:gd name="T9" fmla="*/ 27 h 27"/>
                  <a:gd name="T10" fmla="*/ 12 w 18"/>
                  <a:gd name="T11" fmla="*/ 22 h 27"/>
                  <a:gd name="T12" fmla="*/ 17 w 18"/>
                  <a:gd name="T13" fmla="*/ 8 h 27"/>
                  <a:gd name="T14" fmla="*/ 13 w 18"/>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7">
                    <a:moveTo>
                      <a:pt x="13" y="1"/>
                    </a:moveTo>
                    <a:cubicBezTo>
                      <a:pt x="10" y="0"/>
                      <a:pt x="7" y="1"/>
                      <a:pt x="6" y="5"/>
                    </a:cubicBezTo>
                    <a:cubicBezTo>
                      <a:pt x="1" y="19"/>
                      <a:pt x="1" y="19"/>
                      <a:pt x="1" y="19"/>
                    </a:cubicBezTo>
                    <a:cubicBezTo>
                      <a:pt x="0" y="22"/>
                      <a:pt x="1" y="25"/>
                      <a:pt x="5" y="26"/>
                    </a:cubicBezTo>
                    <a:cubicBezTo>
                      <a:pt x="5" y="26"/>
                      <a:pt x="6" y="27"/>
                      <a:pt x="6" y="27"/>
                    </a:cubicBezTo>
                    <a:cubicBezTo>
                      <a:pt x="9" y="27"/>
                      <a:pt x="11" y="25"/>
                      <a:pt x="12" y="22"/>
                    </a:cubicBezTo>
                    <a:cubicBezTo>
                      <a:pt x="17" y="8"/>
                      <a:pt x="17" y="8"/>
                      <a:pt x="17" y="8"/>
                    </a:cubicBezTo>
                    <a:cubicBezTo>
                      <a:pt x="18" y="5"/>
                      <a:pt x="16"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202">
                <a:extLst>
                  <a:ext uri="{FF2B5EF4-FFF2-40B4-BE49-F238E27FC236}">
                    <a16:creationId xmlns:a16="http://schemas.microsoft.com/office/drawing/2014/main" id="{6A861DB5-3F60-4F6B-850A-06FB9EB6D06C}"/>
                  </a:ext>
                </a:extLst>
              </p:cNvPr>
              <p:cNvSpPr>
                <a:spLocks/>
              </p:cNvSpPr>
              <p:nvPr/>
            </p:nvSpPr>
            <p:spPr bwMode="auto">
              <a:xfrm>
                <a:off x="14682153" y="2079625"/>
                <a:ext cx="76200" cy="111125"/>
              </a:xfrm>
              <a:custGeom>
                <a:avLst/>
                <a:gdLst>
                  <a:gd name="T0" fmla="*/ 13 w 18"/>
                  <a:gd name="T1" fmla="*/ 1 h 26"/>
                  <a:gd name="T2" fmla="*/ 5 w 18"/>
                  <a:gd name="T3" fmla="*/ 5 h 26"/>
                  <a:gd name="T4" fmla="*/ 1 w 18"/>
                  <a:gd name="T5" fmla="*/ 18 h 26"/>
                  <a:gd name="T6" fmla="*/ 5 w 18"/>
                  <a:gd name="T7" fmla="*/ 26 h 26"/>
                  <a:gd name="T8" fmla="*/ 6 w 18"/>
                  <a:gd name="T9" fmla="*/ 26 h 26"/>
                  <a:gd name="T10" fmla="*/ 12 w 18"/>
                  <a:gd name="T11" fmla="*/ 22 h 26"/>
                  <a:gd name="T12" fmla="*/ 17 w 18"/>
                  <a:gd name="T13" fmla="*/ 9 h 26"/>
                  <a:gd name="T14" fmla="*/ 13 w 18"/>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3" y="1"/>
                    </a:moveTo>
                    <a:cubicBezTo>
                      <a:pt x="10" y="0"/>
                      <a:pt x="6" y="2"/>
                      <a:pt x="5" y="5"/>
                    </a:cubicBezTo>
                    <a:cubicBezTo>
                      <a:pt x="1" y="18"/>
                      <a:pt x="1" y="18"/>
                      <a:pt x="1" y="18"/>
                    </a:cubicBezTo>
                    <a:cubicBezTo>
                      <a:pt x="0" y="21"/>
                      <a:pt x="1" y="25"/>
                      <a:pt x="5" y="26"/>
                    </a:cubicBezTo>
                    <a:cubicBezTo>
                      <a:pt x="5" y="26"/>
                      <a:pt x="6" y="26"/>
                      <a:pt x="6" y="26"/>
                    </a:cubicBezTo>
                    <a:cubicBezTo>
                      <a:pt x="9" y="26"/>
                      <a:pt x="11" y="24"/>
                      <a:pt x="12" y="22"/>
                    </a:cubicBezTo>
                    <a:cubicBezTo>
                      <a:pt x="17" y="9"/>
                      <a:pt x="17" y="9"/>
                      <a:pt x="17" y="9"/>
                    </a:cubicBezTo>
                    <a:cubicBezTo>
                      <a:pt x="18" y="6"/>
                      <a:pt x="16"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203">
                <a:extLst>
                  <a:ext uri="{FF2B5EF4-FFF2-40B4-BE49-F238E27FC236}">
                    <a16:creationId xmlns:a16="http://schemas.microsoft.com/office/drawing/2014/main" id="{7D461015-DD40-4A77-8ADD-CF639032B3D0}"/>
                  </a:ext>
                </a:extLst>
              </p:cNvPr>
              <p:cNvSpPr>
                <a:spLocks/>
              </p:cNvSpPr>
              <p:nvPr/>
            </p:nvSpPr>
            <p:spPr bwMode="auto">
              <a:xfrm>
                <a:off x="14126528" y="2025650"/>
                <a:ext cx="50800" cy="152400"/>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3"/>
                      <a:pt x="3" y="36"/>
                      <a:pt x="6" y="36"/>
                    </a:cubicBezTo>
                    <a:cubicBezTo>
                      <a:pt x="10" y="36"/>
                      <a:pt x="12" y="33"/>
                      <a:pt x="12" y="30"/>
                    </a:cubicBezTo>
                    <a:cubicBezTo>
                      <a:pt x="12" y="6"/>
                      <a:pt x="12" y="6"/>
                      <a:pt x="12" y="6"/>
                    </a:cubicBezTo>
                    <a:cubicBezTo>
                      <a:pt x="12" y="3"/>
                      <a:pt x="10"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204">
                <a:extLst>
                  <a:ext uri="{FF2B5EF4-FFF2-40B4-BE49-F238E27FC236}">
                    <a16:creationId xmlns:a16="http://schemas.microsoft.com/office/drawing/2014/main" id="{4A1A00F4-4FEF-4C04-B8A0-1615CDCE8638}"/>
                  </a:ext>
                </a:extLst>
              </p:cNvPr>
              <p:cNvSpPr>
                <a:spLocks/>
              </p:cNvSpPr>
              <p:nvPr/>
            </p:nvSpPr>
            <p:spPr bwMode="auto">
              <a:xfrm>
                <a:off x="14126528" y="2232025"/>
                <a:ext cx="50800" cy="153988"/>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3"/>
                      <a:pt x="3" y="36"/>
                      <a:pt x="6" y="36"/>
                    </a:cubicBezTo>
                    <a:cubicBezTo>
                      <a:pt x="10" y="36"/>
                      <a:pt x="12" y="33"/>
                      <a:pt x="12" y="30"/>
                    </a:cubicBezTo>
                    <a:cubicBezTo>
                      <a:pt x="12" y="6"/>
                      <a:pt x="12" y="6"/>
                      <a:pt x="12" y="6"/>
                    </a:cubicBezTo>
                    <a:cubicBezTo>
                      <a:pt x="12" y="3"/>
                      <a:pt x="10"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06">
                <a:extLst>
                  <a:ext uri="{FF2B5EF4-FFF2-40B4-BE49-F238E27FC236}">
                    <a16:creationId xmlns:a16="http://schemas.microsoft.com/office/drawing/2014/main" id="{1430C2DC-12D7-4C7F-9712-02E6E8256CAD}"/>
                  </a:ext>
                </a:extLst>
              </p:cNvPr>
              <p:cNvSpPr>
                <a:spLocks/>
              </p:cNvSpPr>
              <p:nvPr/>
            </p:nvSpPr>
            <p:spPr bwMode="auto">
              <a:xfrm>
                <a:off x="14283690" y="2241550"/>
                <a:ext cx="80962" cy="114300"/>
              </a:xfrm>
              <a:custGeom>
                <a:avLst/>
                <a:gdLst>
                  <a:gd name="T0" fmla="*/ 13 w 19"/>
                  <a:gd name="T1" fmla="*/ 5 h 27"/>
                  <a:gd name="T2" fmla="*/ 5 w 19"/>
                  <a:gd name="T3" fmla="*/ 1 h 27"/>
                  <a:gd name="T4" fmla="*/ 2 w 19"/>
                  <a:gd name="T5" fmla="*/ 8 h 27"/>
                  <a:gd name="T6" fmla="*/ 6 w 19"/>
                  <a:gd name="T7" fmla="*/ 22 h 27"/>
                  <a:gd name="T8" fmla="*/ 12 w 19"/>
                  <a:gd name="T9" fmla="*/ 27 h 27"/>
                  <a:gd name="T10" fmla="*/ 14 w 19"/>
                  <a:gd name="T11" fmla="*/ 26 h 27"/>
                  <a:gd name="T12" fmla="*/ 18 w 19"/>
                  <a:gd name="T13" fmla="*/ 19 h 27"/>
                  <a:gd name="T14" fmla="*/ 13 w 19"/>
                  <a:gd name="T15" fmla="*/ 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7">
                    <a:moveTo>
                      <a:pt x="13" y="5"/>
                    </a:moveTo>
                    <a:cubicBezTo>
                      <a:pt x="12" y="1"/>
                      <a:pt x="8" y="0"/>
                      <a:pt x="5" y="1"/>
                    </a:cubicBezTo>
                    <a:cubicBezTo>
                      <a:pt x="2" y="2"/>
                      <a:pt x="0" y="5"/>
                      <a:pt x="2" y="8"/>
                    </a:cubicBezTo>
                    <a:cubicBezTo>
                      <a:pt x="6" y="22"/>
                      <a:pt x="6" y="22"/>
                      <a:pt x="6" y="22"/>
                    </a:cubicBezTo>
                    <a:cubicBezTo>
                      <a:pt x="7" y="25"/>
                      <a:pt x="9" y="27"/>
                      <a:pt x="12" y="27"/>
                    </a:cubicBezTo>
                    <a:cubicBezTo>
                      <a:pt x="13" y="27"/>
                      <a:pt x="13" y="26"/>
                      <a:pt x="14" y="26"/>
                    </a:cubicBezTo>
                    <a:cubicBezTo>
                      <a:pt x="17" y="25"/>
                      <a:pt x="19" y="22"/>
                      <a:pt x="18" y="19"/>
                    </a:cubicBezTo>
                    <a:lnTo>
                      <a:pt x="1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07">
                <a:extLst>
                  <a:ext uri="{FF2B5EF4-FFF2-40B4-BE49-F238E27FC236}">
                    <a16:creationId xmlns:a16="http://schemas.microsoft.com/office/drawing/2014/main" id="{0B24A8E7-B89D-4087-983C-C4A88DAB8314}"/>
                  </a:ext>
                </a:extLst>
              </p:cNvPr>
              <p:cNvSpPr>
                <a:spLocks/>
              </p:cNvSpPr>
              <p:nvPr/>
            </p:nvSpPr>
            <p:spPr bwMode="auto">
              <a:xfrm>
                <a:off x="14232890" y="2079625"/>
                <a:ext cx="76200" cy="111125"/>
              </a:xfrm>
              <a:custGeom>
                <a:avLst/>
                <a:gdLst>
                  <a:gd name="T0" fmla="*/ 17 w 18"/>
                  <a:gd name="T1" fmla="*/ 18 h 26"/>
                  <a:gd name="T2" fmla="*/ 12 w 18"/>
                  <a:gd name="T3" fmla="*/ 5 h 26"/>
                  <a:gd name="T4" fmla="*/ 5 w 18"/>
                  <a:gd name="T5" fmla="*/ 1 h 26"/>
                  <a:gd name="T6" fmla="*/ 1 w 18"/>
                  <a:gd name="T7" fmla="*/ 9 h 26"/>
                  <a:gd name="T8" fmla="*/ 5 w 18"/>
                  <a:gd name="T9" fmla="*/ 22 h 26"/>
                  <a:gd name="T10" fmla="*/ 11 w 18"/>
                  <a:gd name="T11" fmla="*/ 26 h 26"/>
                  <a:gd name="T12" fmla="*/ 13 w 18"/>
                  <a:gd name="T13" fmla="*/ 26 h 26"/>
                  <a:gd name="T14" fmla="*/ 17 w 18"/>
                  <a:gd name="T15" fmla="*/ 1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7" y="18"/>
                    </a:moveTo>
                    <a:cubicBezTo>
                      <a:pt x="12" y="5"/>
                      <a:pt x="12" y="5"/>
                      <a:pt x="12" y="5"/>
                    </a:cubicBezTo>
                    <a:cubicBezTo>
                      <a:pt x="11" y="2"/>
                      <a:pt x="8" y="0"/>
                      <a:pt x="5" y="1"/>
                    </a:cubicBezTo>
                    <a:cubicBezTo>
                      <a:pt x="1" y="2"/>
                      <a:pt x="0" y="6"/>
                      <a:pt x="1" y="9"/>
                    </a:cubicBezTo>
                    <a:cubicBezTo>
                      <a:pt x="5" y="22"/>
                      <a:pt x="5" y="22"/>
                      <a:pt x="5" y="22"/>
                    </a:cubicBezTo>
                    <a:cubicBezTo>
                      <a:pt x="6" y="24"/>
                      <a:pt x="8" y="26"/>
                      <a:pt x="11" y="26"/>
                    </a:cubicBezTo>
                    <a:cubicBezTo>
                      <a:pt x="12" y="26"/>
                      <a:pt x="12" y="26"/>
                      <a:pt x="13" y="26"/>
                    </a:cubicBezTo>
                    <a:cubicBezTo>
                      <a:pt x="16" y="25"/>
                      <a:pt x="18" y="21"/>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08">
                <a:extLst>
                  <a:ext uri="{FF2B5EF4-FFF2-40B4-BE49-F238E27FC236}">
                    <a16:creationId xmlns:a16="http://schemas.microsoft.com/office/drawing/2014/main" id="{4556084E-24AC-4C5D-97A2-8FDF6CA6180B}"/>
                  </a:ext>
                </a:extLst>
              </p:cNvPr>
              <p:cNvSpPr>
                <a:spLocks/>
              </p:cNvSpPr>
              <p:nvPr/>
            </p:nvSpPr>
            <p:spPr bwMode="auto">
              <a:xfrm>
                <a:off x="13945553" y="2241550"/>
                <a:ext cx="76200" cy="114300"/>
              </a:xfrm>
              <a:custGeom>
                <a:avLst/>
                <a:gdLst>
                  <a:gd name="T0" fmla="*/ 13 w 18"/>
                  <a:gd name="T1" fmla="*/ 1 h 27"/>
                  <a:gd name="T2" fmla="*/ 6 w 18"/>
                  <a:gd name="T3" fmla="*/ 5 h 27"/>
                  <a:gd name="T4" fmla="*/ 1 w 18"/>
                  <a:gd name="T5" fmla="*/ 19 h 27"/>
                  <a:gd name="T6" fmla="*/ 5 w 18"/>
                  <a:gd name="T7" fmla="*/ 26 h 27"/>
                  <a:gd name="T8" fmla="*/ 7 w 18"/>
                  <a:gd name="T9" fmla="*/ 27 h 27"/>
                  <a:gd name="T10" fmla="*/ 12 w 18"/>
                  <a:gd name="T11" fmla="*/ 22 h 27"/>
                  <a:gd name="T12" fmla="*/ 17 w 18"/>
                  <a:gd name="T13" fmla="*/ 8 h 27"/>
                  <a:gd name="T14" fmla="*/ 13 w 18"/>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7">
                    <a:moveTo>
                      <a:pt x="13" y="1"/>
                    </a:moveTo>
                    <a:cubicBezTo>
                      <a:pt x="10" y="0"/>
                      <a:pt x="7" y="1"/>
                      <a:pt x="6" y="5"/>
                    </a:cubicBezTo>
                    <a:cubicBezTo>
                      <a:pt x="1" y="19"/>
                      <a:pt x="1" y="19"/>
                      <a:pt x="1" y="19"/>
                    </a:cubicBezTo>
                    <a:cubicBezTo>
                      <a:pt x="0" y="22"/>
                      <a:pt x="2" y="25"/>
                      <a:pt x="5" y="26"/>
                    </a:cubicBezTo>
                    <a:cubicBezTo>
                      <a:pt x="5" y="26"/>
                      <a:pt x="6" y="27"/>
                      <a:pt x="7" y="27"/>
                    </a:cubicBezTo>
                    <a:cubicBezTo>
                      <a:pt x="9" y="27"/>
                      <a:pt x="12" y="25"/>
                      <a:pt x="12" y="22"/>
                    </a:cubicBezTo>
                    <a:cubicBezTo>
                      <a:pt x="17" y="8"/>
                      <a:pt x="17" y="8"/>
                      <a:pt x="17" y="8"/>
                    </a:cubicBezTo>
                    <a:cubicBezTo>
                      <a:pt x="18" y="5"/>
                      <a:pt x="17"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09">
                <a:extLst>
                  <a:ext uri="{FF2B5EF4-FFF2-40B4-BE49-F238E27FC236}">
                    <a16:creationId xmlns:a16="http://schemas.microsoft.com/office/drawing/2014/main" id="{3B674DD8-409F-4BE6-8C4E-D10EC7C8AC35}"/>
                  </a:ext>
                </a:extLst>
              </p:cNvPr>
              <p:cNvSpPr>
                <a:spLocks/>
              </p:cNvSpPr>
              <p:nvPr/>
            </p:nvSpPr>
            <p:spPr bwMode="auto">
              <a:xfrm>
                <a:off x="13999528" y="2079625"/>
                <a:ext cx="76200" cy="111125"/>
              </a:xfrm>
              <a:custGeom>
                <a:avLst/>
                <a:gdLst>
                  <a:gd name="T0" fmla="*/ 13 w 18"/>
                  <a:gd name="T1" fmla="*/ 1 h 26"/>
                  <a:gd name="T2" fmla="*/ 5 w 18"/>
                  <a:gd name="T3" fmla="*/ 5 h 26"/>
                  <a:gd name="T4" fmla="*/ 1 w 18"/>
                  <a:gd name="T5" fmla="*/ 18 h 26"/>
                  <a:gd name="T6" fmla="*/ 5 w 18"/>
                  <a:gd name="T7" fmla="*/ 26 h 26"/>
                  <a:gd name="T8" fmla="*/ 7 w 18"/>
                  <a:gd name="T9" fmla="*/ 26 h 26"/>
                  <a:gd name="T10" fmla="*/ 12 w 18"/>
                  <a:gd name="T11" fmla="*/ 22 h 26"/>
                  <a:gd name="T12" fmla="*/ 17 w 18"/>
                  <a:gd name="T13" fmla="*/ 9 h 26"/>
                  <a:gd name="T14" fmla="*/ 13 w 18"/>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3" y="1"/>
                    </a:moveTo>
                    <a:cubicBezTo>
                      <a:pt x="10" y="0"/>
                      <a:pt x="7" y="2"/>
                      <a:pt x="5" y="5"/>
                    </a:cubicBezTo>
                    <a:cubicBezTo>
                      <a:pt x="1" y="18"/>
                      <a:pt x="1" y="18"/>
                      <a:pt x="1" y="18"/>
                    </a:cubicBezTo>
                    <a:cubicBezTo>
                      <a:pt x="0" y="21"/>
                      <a:pt x="2" y="25"/>
                      <a:pt x="5" y="26"/>
                    </a:cubicBezTo>
                    <a:cubicBezTo>
                      <a:pt x="5" y="26"/>
                      <a:pt x="6" y="26"/>
                      <a:pt x="7" y="26"/>
                    </a:cubicBezTo>
                    <a:cubicBezTo>
                      <a:pt x="9" y="26"/>
                      <a:pt x="12" y="24"/>
                      <a:pt x="12" y="22"/>
                    </a:cubicBezTo>
                    <a:cubicBezTo>
                      <a:pt x="17" y="9"/>
                      <a:pt x="17" y="9"/>
                      <a:pt x="17" y="9"/>
                    </a:cubicBezTo>
                    <a:cubicBezTo>
                      <a:pt x="18" y="6"/>
                      <a:pt x="16"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0">
                <a:extLst>
                  <a:ext uri="{FF2B5EF4-FFF2-40B4-BE49-F238E27FC236}">
                    <a16:creationId xmlns:a16="http://schemas.microsoft.com/office/drawing/2014/main" id="{126906C9-6AED-4DA3-99C6-081DD4EA0A49}"/>
                  </a:ext>
                </a:extLst>
              </p:cNvPr>
              <p:cNvSpPr>
                <a:spLocks/>
              </p:cNvSpPr>
              <p:nvPr/>
            </p:nvSpPr>
            <p:spPr bwMode="auto">
              <a:xfrm>
                <a:off x="13448665" y="2025650"/>
                <a:ext cx="50800" cy="152400"/>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2" y="0"/>
                      <a:pt x="0" y="3"/>
                      <a:pt x="0" y="6"/>
                    </a:cubicBezTo>
                    <a:cubicBezTo>
                      <a:pt x="0" y="30"/>
                      <a:pt x="0" y="30"/>
                      <a:pt x="0" y="30"/>
                    </a:cubicBezTo>
                    <a:cubicBezTo>
                      <a:pt x="0" y="33"/>
                      <a:pt x="2"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1">
                <a:extLst>
                  <a:ext uri="{FF2B5EF4-FFF2-40B4-BE49-F238E27FC236}">
                    <a16:creationId xmlns:a16="http://schemas.microsoft.com/office/drawing/2014/main" id="{5535A066-A71A-430E-906F-9451582B0E18}"/>
                  </a:ext>
                </a:extLst>
              </p:cNvPr>
              <p:cNvSpPr>
                <a:spLocks/>
              </p:cNvSpPr>
              <p:nvPr/>
            </p:nvSpPr>
            <p:spPr bwMode="auto">
              <a:xfrm>
                <a:off x="13448665" y="2232025"/>
                <a:ext cx="50800" cy="153988"/>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2" y="0"/>
                      <a:pt x="0" y="3"/>
                      <a:pt x="0" y="6"/>
                    </a:cubicBezTo>
                    <a:cubicBezTo>
                      <a:pt x="0" y="30"/>
                      <a:pt x="0" y="30"/>
                      <a:pt x="0" y="30"/>
                    </a:cubicBezTo>
                    <a:cubicBezTo>
                      <a:pt x="0" y="33"/>
                      <a:pt x="2" y="36"/>
                      <a:pt x="6" y="36"/>
                    </a:cubicBezTo>
                    <a:cubicBezTo>
                      <a:pt x="9" y="36"/>
                      <a:pt x="12" y="33"/>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2">
                <a:extLst>
                  <a:ext uri="{FF2B5EF4-FFF2-40B4-BE49-F238E27FC236}">
                    <a16:creationId xmlns:a16="http://schemas.microsoft.com/office/drawing/2014/main" id="{2B4436C1-AA21-4A4D-966E-14E7E163B4B1}"/>
                  </a:ext>
                </a:extLst>
              </p:cNvPr>
              <p:cNvSpPr>
                <a:spLocks/>
              </p:cNvSpPr>
              <p:nvPr/>
            </p:nvSpPr>
            <p:spPr bwMode="auto">
              <a:xfrm>
                <a:off x="13605828" y="2241550"/>
                <a:ext cx="76200" cy="114300"/>
              </a:xfrm>
              <a:custGeom>
                <a:avLst/>
                <a:gdLst>
                  <a:gd name="T0" fmla="*/ 12 w 18"/>
                  <a:gd name="T1" fmla="*/ 5 h 27"/>
                  <a:gd name="T2" fmla="*/ 5 w 18"/>
                  <a:gd name="T3" fmla="*/ 1 h 27"/>
                  <a:gd name="T4" fmla="*/ 1 w 18"/>
                  <a:gd name="T5" fmla="*/ 8 h 27"/>
                  <a:gd name="T6" fmla="*/ 6 w 18"/>
                  <a:gd name="T7" fmla="*/ 22 h 27"/>
                  <a:gd name="T8" fmla="*/ 11 w 18"/>
                  <a:gd name="T9" fmla="*/ 27 h 27"/>
                  <a:gd name="T10" fmla="*/ 13 w 18"/>
                  <a:gd name="T11" fmla="*/ 26 h 27"/>
                  <a:gd name="T12" fmla="*/ 17 w 18"/>
                  <a:gd name="T13" fmla="*/ 19 h 27"/>
                  <a:gd name="T14" fmla="*/ 12 w 18"/>
                  <a:gd name="T15" fmla="*/ 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7">
                    <a:moveTo>
                      <a:pt x="12" y="5"/>
                    </a:moveTo>
                    <a:cubicBezTo>
                      <a:pt x="11" y="1"/>
                      <a:pt x="8" y="0"/>
                      <a:pt x="5" y="1"/>
                    </a:cubicBezTo>
                    <a:cubicBezTo>
                      <a:pt x="1" y="2"/>
                      <a:pt x="0" y="5"/>
                      <a:pt x="1" y="8"/>
                    </a:cubicBezTo>
                    <a:cubicBezTo>
                      <a:pt x="6" y="22"/>
                      <a:pt x="6" y="22"/>
                      <a:pt x="6" y="22"/>
                    </a:cubicBezTo>
                    <a:cubicBezTo>
                      <a:pt x="6" y="25"/>
                      <a:pt x="9" y="27"/>
                      <a:pt x="11" y="27"/>
                    </a:cubicBezTo>
                    <a:cubicBezTo>
                      <a:pt x="12" y="27"/>
                      <a:pt x="13" y="26"/>
                      <a:pt x="13" y="26"/>
                    </a:cubicBezTo>
                    <a:cubicBezTo>
                      <a:pt x="16" y="25"/>
                      <a:pt x="18" y="22"/>
                      <a:pt x="17" y="19"/>
                    </a:cubicBezTo>
                    <a:lnTo>
                      <a:pt x="1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3">
                <a:extLst>
                  <a:ext uri="{FF2B5EF4-FFF2-40B4-BE49-F238E27FC236}">
                    <a16:creationId xmlns:a16="http://schemas.microsoft.com/office/drawing/2014/main" id="{A3809966-5CE0-4265-9FDE-AD55AECA90B2}"/>
                  </a:ext>
                </a:extLst>
              </p:cNvPr>
              <p:cNvSpPr>
                <a:spLocks/>
              </p:cNvSpPr>
              <p:nvPr/>
            </p:nvSpPr>
            <p:spPr bwMode="auto">
              <a:xfrm>
                <a:off x="13550265" y="2079625"/>
                <a:ext cx="76200" cy="111125"/>
              </a:xfrm>
              <a:custGeom>
                <a:avLst/>
                <a:gdLst>
                  <a:gd name="T0" fmla="*/ 17 w 18"/>
                  <a:gd name="T1" fmla="*/ 18 h 26"/>
                  <a:gd name="T2" fmla="*/ 12 w 18"/>
                  <a:gd name="T3" fmla="*/ 5 h 26"/>
                  <a:gd name="T4" fmla="*/ 5 w 18"/>
                  <a:gd name="T5" fmla="*/ 1 h 26"/>
                  <a:gd name="T6" fmla="*/ 1 w 18"/>
                  <a:gd name="T7" fmla="*/ 9 h 26"/>
                  <a:gd name="T8" fmla="*/ 6 w 18"/>
                  <a:gd name="T9" fmla="*/ 22 h 26"/>
                  <a:gd name="T10" fmla="*/ 11 w 18"/>
                  <a:gd name="T11" fmla="*/ 26 h 26"/>
                  <a:gd name="T12" fmla="*/ 13 w 18"/>
                  <a:gd name="T13" fmla="*/ 26 h 26"/>
                  <a:gd name="T14" fmla="*/ 17 w 18"/>
                  <a:gd name="T15" fmla="*/ 1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7" y="18"/>
                    </a:moveTo>
                    <a:cubicBezTo>
                      <a:pt x="12" y="5"/>
                      <a:pt x="12" y="5"/>
                      <a:pt x="12" y="5"/>
                    </a:cubicBezTo>
                    <a:cubicBezTo>
                      <a:pt x="11" y="2"/>
                      <a:pt x="8" y="0"/>
                      <a:pt x="5" y="1"/>
                    </a:cubicBezTo>
                    <a:cubicBezTo>
                      <a:pt x="2" y="2"/>
                      <a:pt x="0" y="6"/>
                      <a:pt x="1" y="9"/>
                    </a:cubicBezTo>
                    <a:cubicBezTo>
                      <a:pt x="6" y="22"/>
                      <a:pt x="6" y="22"/>
                      <a:pt x="6" y="22"/>
                    </a:cubicBezTo>
                    <a:cubicBezTo>
                      <a:pt x="6" y="24"/>
                      <a:pt x="9" y="26"/>
                      <a:pt x="11" y="26"/>
                    </a:cubicBezTo>
                    <a:cubicBezTo>
                      <a:pt x="12" y="26"/>
                      <a:pt x="12" y="26"/>
                      <a:pt x="13" y="26"/>
                    </a:cubicBezTo>
                    <a:cubicBezTo>
                      <a:pt x="16" y="25"/>
                      <a:pt x="18" y="21"/>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4">
                <a:extLst>
                  <a:ext uri="{FF2B5EF4-FFF2-40B4-BE49-F238E27FC236}">
                    <a16:creationId xmlns:a16="http://schemas.microsoft.com/office/drawing/2014/main" id="{6DD8548E-88B1-4DA5-B4E6-DD4A0F50A150}"/>
                  </a:ext>
                </a:extLst>
              </p:cNvPr>
              <p:cNvSpPr>
                <a:spLocks/>
              </p:cNvSpPr>
              <p:nvPr/>
            </p:nvSpPr>
            <p:spPr bwMode="auto">
              <a:xfrm>
                <a:off x="13262928" y="2241550"/>
                <a:ext cx="80962" cy="114300"/>
              </a:xfrm>
              <a:custGeom>
                <a:avLst/>
                <a:gdLst>
                  <a:gd name="T0" fmla="*/ 14 w 19"/>
                  <a:gd name="T1" fmla="*/ 1 h 27"/>
                  <a:gd name="T2" fmla="*/ 6 w 19"/>
                  <a:gd name="T3" fmla="*/ 5 h 27"/>
                  <a:gd name="T4" fmla="*/ 1 w 19"/>
                  <a:gd name="T5" fmla="*/ 19 h 27"/>
                  <a:gd name="T6" fmla="*/ 5 w 19"/>
                  <a:gd name="T7" fmla="*/ 26 h 27"/>
                  <a:gd name="T8" fmla="*/ 7 w 19"/>
                  <a:gd name="T9" fmla="*/ 27 h 27"/>
                  <a:gd name="T10" fmla="*/ 13 w 19"/>
                  <a:gd name="T11" fmla="*/ 22 h 27"/>
                  <a:gd name="T12" fmla="*/ 17 w 19"/>
                  <a:gd name="T13" fmla="*/ 8 h 27"/>
                  <a:gd name="T14" fmla="*/ 14 w 19"/>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7">
                    <a:moveTo>
                      <a:pt x="14" y="1"/>
                    </a:moveTo>
                    <a:cubicBezTo>
                      <a:pt x="11" y="0"/>
                      <a:pt x="7" y="1"/>
                      <a:pt x="6" y="5"/>
                    </a:cubicBezTo>
                    <a:cubicBezTo>
                      <a:pt x="1" y="19"/>
                      <a:pt x="1" y="19"/>
                      <a:pt x="1" y="19"/>
                    </a:cubicBezTo>
                    <a:cubicBezTo>
                      <a:pt x="0" y="22"/>
                      <a:pt x="2" y="25"/>
                      <a:pt x="5" y="26"/>
                    </a:cubicBezTo>
                    <a:cubicBezTo>
                      <a:pt x="6" y="26"/>
                      <a:pt x="6" y="27"/>
                      <a:pt x="7" y="27"/>
                    </a:cubicBezTo>
                    <a:cubicBezTo>
                      <a:pt x="10" y="27"/>
                      <a:pt x="12" y="25"/>
                      <a:pt x="13" y="22"/>
                    </a:cubicBezTo>
                    <a:cubicBezTo>
                      <a:pt x="17" y="8"/>
                      <a:pt x="17" y="8"/>
                      <a:pt x="17" y="8"/>
                    </a:cubicBezTo>
                    <a:cubicBezTo>
                      <a:pt x="19" y="5"/>
                      <a:pt x="17" y="2"/>
                      <a:pt x="1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5">
                <a:extLst>
                  <a:ext uri="{FF2B5EF4-FFF2-40B4-BE49-F238E27FC236}">
                    <a16:creationId xmlns:a16="http://schemas.microsoft.com/office/drawing/2014/main" id="{D9EBFCB7-29C0-430F-B4B2-F89C4F509A9D}"/>
                  </a:ext>
                </a:extLst>
              </p:cNvPr>
              <p:cNvSpPr>
                <a:spLocks/>
              </p:cNvSpPr>
              <p:nvPr/>
            </p:nvSpPr>
            <p:spPr bwMode="auto">
              <a:xfrm>
                <a:off x="13318490" y="2079625"/>
                <a:ext cx="76200" cy="111125"/>
              </a:xfrm>
              <a:custGeom>
                <a:avLst/>
                <a:gdLst>
                  <a:gd name="T0" fmla="*/ 13 w 18"/>
                  <a:gd name="T1" fmla="*/ 1 h 26"/>
                  <a:gd name="T2" fmla="*/ 6 w 18"/>
                  <a:gd name="T3" fmla="*/ 5 h 26"/>
                  <a:gd name="T4" fmla="*/ 1 w 18"/>
                  <a:gd name="T5" fmla="*/ 18 h 26"/>
                  <a:gd name="T6" fmla="*/ 5 w 18"/>
                  <a:gd name="T7" fmla="*/ 26 h 26"/>
                  <a:gd name="T8" fmla="*/ 7 w 18"/>
                  <a:gd name="T9" fmla="*/ 26 h 26"/>
                  <a:gd name="T10" fmla="*/ 13 w 18"/>
                  <a:gd name="T11" fmla="*/ 22 h 26"/>
                  <a:gd name="T12" fmla="*/ 17 w 18"/>
                  <a:gd name="T13" fmla="*/ 9 h 26"/>
                  <a:gd name="T14" fmla="*/ 13 w 18"/>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13" y="1"/>
                    </a:moveTo>
                    <a:cubicBezTo>
                      <a:pt x="10" y="0"/>
                      <a:pt x="7" y="2"/>
                      <a:pt x="6" y="5"/>
                    </a:cubicBezTo>
                    <a:cubicBezTo>
                      <a:pt x="1" y="18"/>
                      <a:pt x="1" y="18"/>
                      <a:pt x="1" y="18"/>
                    </a:cubicBezTo>
                    <a:cubicBezTo>
                      <a:pt x="0" y="21"/>
                      <a:pt x="2" y="25"/>
                      <a:pt x="5" y="26"/>
                    </a:cubicBezTo>
                    <a:cubicBezTo>
                      <a:pt x="6" y="26"/>
                      <a:pt x="6" y="26"/>
                      <a:pt x="7" y="26"/>
                    </a:cubicBezTo>
                    <a:cubicBezTo>
                      <a:pt x="10" y="26"/>
                      <a:pt x="12" y="24"/>
                      <a:pt x="13" y="22"/>
                    </a:cubicBezTo>
                    <a:cubicBezTo>
                      <a:pt x="17" y="9"/>
                      <a:pt x="17" y="9"/>
                      <a:pt x="17" y="9"/>
                    </a:cubicBezTo>
                    <a:cubicBezTo>
                      <a:pt x="18" y="6"/>
                      <a:pt x="17"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reeform 216">
              <a:extLst>
                <a:ext uri="{FF2B5EF4-FFF2-40B4-BE49-F238E27FC236}">
                  <a16:creationId xmlns:a16="http://schemas.microsoft.com/office/drawing/2014/main" id="{A1B8009E-A924-4428-93DD-6A5F5FC0A898}"/>
                </a:ext>
              </a:extLst>
            </p:cNvPr>
            <p:cNvSpPr>
              <a:spLocks/>
            </p:cNvSpPr>
            <p:nvPr/>
          </p:nvSpPr>
          <p:spPr bwMode="auto">
            <a:xfrm>
              <a:off x="16855440" y="234950"/>
              <a:ext cx="1970087" cy="4906963"/>
            </a:xfrm>
            <a:custGeom>
              <a:avLst/>
              <a:gdLst>
                <a:gd name="T0" fmla="*/ 1241 w 1241"/>
                <a:gd name="T1" fmla="*/ 3091 h 3091"/>
                <a:gd name="T2" fmla="*/ 0 w 1241"/>
                <a:gd name="T3" fmla="*/ 3091 h 3091"/>
                <a:gd name="T4" fmla="*/ 0 w 1241"/>
                <a:gd name="T5" fmla="*/ 3027 h 3091"/>
                <a:gd name="T6" fmla="*/ 1177 w 1241"/>
                <a:gd name="T7" fmla="*/ 3027 h 3091"/>
                <a:gd name="T8" fmla="*/ 1177 w 1241"/>
                <a:gd name="T9" fmla="*/ 64 h 3091"/>
                <a:gd name="T10" fmla="*/ 0 w 1241"/>
                <a:gd name="T11" fmla="*/ 64 h 3091"/>
                <a:gd name="T12" fmla="*/ 0 w 1241"/>
                <a:gd name="T13" fmla="*/ 0 h 3091"/>
                <a:gd name="T14" fmla="*/ 1241 w 1241"/>
                <a:gd name="T15" fmla="*/ 0 h 3091"/>
                <a:gd name="T16" fmla="*/ 1241 w 1241"/>
                <a:gd name="T17" fmla="*/ 3091 h 3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1" h="3091">
                  <a:moveTo>
                    <a:pt x="1241" y="3091"/>
                  </a:moveTo>
                  <a:lnTo>
                    <a:pt x="0" y="3091"/>
                  </a:lnTo>
                  <a:lnTo>
                    <a:pt x="0" y="3027"/>
                  </a:lnTo>
                  <a:lnTo>
                    <a:pt x="1177" y="3027"/>
                  </a:lnTo>
                  <a:lnTo>
                    <a:pt x="1177" y="64"/>
                  </a:lnTo>
                  <a:lnTo>
                    <a:pt x="0" y="64"/>
                  </a:lnTo>
                  <a:lnTo>
                    <a:pt x="0" y="0"/>
                  </a:lnTo>
                  <a:lnTo>
                    <a:pt x="1241" y="0"/>
                  </a:lnTo>
                  <a:lnTo>
                    <a:pt x="1241" y="309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4" name="Group 53">
            <a:extLst>
              <a:ext uri="{FF2B5EF4-FFF2-40B4-BE49-F238E27FC236}">
                <a16:creationId xmlns:a16="http://schemas.microsoft.com/office/drawing/2014/main" id="{FAB0D77B-F321-4C77-9119-CC564B62DEA4}"/>
              </a:ext>
            </a:extLst>
          </p:cNvPr>
          <p:cNvGrpSpPr/>
          <p:nvPr/>
        </p:nvGrpSpPr>
        <p:grpSpPr>
          <a:xfrm flipH="1">
            <a:off x="2786224" y="4249606"/>
            <a:ext cx="1536700" cy="407988"/>
            <a:chOff x="9229726" y="4735513"/>
            <a:chExt cx="1536700" cy="407988"/>
          </a:xfrm>
        </p:grpSpPr>
        <p:sp>
          <p:nvSpPr>
            <p:cNvPr id="56" name="Freeform 97">
              <a:extLst>
                <a:ext uri="{FF2B5EF4-FFF2-40B4-BE49-F238E27FC236}">
                  <a16:creationId xmlns:a16="http://schemas.microsoft.com/office/drawing/2014/main" id="{F3492CDB-6C1C-405C-A4F7-0C3313DC126A}"/>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98">
              <a:extLst>
                <a:ext uri="{FF2B5EF4-FFF2-40B4-BE49-F238E27FC236}">
                  <a16:creationId xmlns:a16="http://schemas.microsoft.com/office/drawing/2014/main" id="{0DF6F02D-80E7-4361-BEF1-FC0F3758F59E}"/>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99">
              <a:extLst>
                <a:ext uri="{FF2B5EF4-FFF2-40B4-BE49-F238E27FC236}">
                  <a16:creationId xmlns:a16="http://schemas.microsoft.com/office/drawing/2014/main" id="{78BAADAB-3385-4CB3-B894-BF2A4835B060}"/>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00">
              <a:extLst>
                <a:ext uri="{FF2B5EF4-FFF2-40B4-BE49-F238E27FC236}">
                  <a16:creationId xmlns:a16="http://schemas.microsoft.com/office/drawing/2014/main" id="{6A640091-9DEC-430F-BC09-56E943C64017}"/>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1">
              <a:extLst>
                <a:ext uri="{FF2B5EF4-FFF2-40B4-BE49-F238E27FC236}">
                  <a16:creationId xmlns:a16="http://schemas.microsoft.com/office/drawing/2014/main" id="{28EE1740-4DD4-4E57-BFF4-F11F8C9CA9A8}"/>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02">
              <a:extLst>
                <a:ext uri="{FF2B5EF4-FFF2-40B4-BE49-F238E27FC236}">
                  <a16:creationId xmlns:a16="http://schemas.microsoft.com/office/drawing/2014/main" id="{E08C56F8-85FA-4B2E-B225-A6C0F08D324C}"/>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03">
              <a:extLst>
                <a:ext uri="{FF2B5EF4-FFF2-40B4-BE49-F238E27FC236}">
                  <a16:creationId xmlns:a16="http://schemas.microsoft.com/office/drawing/2014/main" id="{5063016E-7E3C-43C9-8B4F-99223B8B022A}"/>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04">
              <a:extLst>
                <a:ext uri="{FF2B5EF4-FFF2-40B4-BE49-F238E27FC236}">
                  <a16:creationId xmlns:a16="http://schemas.microsoft.com/office/drawing/2014/main" id="{32C54884-D94E-4610-B75F-3DE01D53ADD1}"/>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05">
              <a:extLst>
                <a:ext uri="{FF2B5EF4-FFF2-40B4-BE49-F238E27FC236}">
                  <a16:creationId xmlns:a16="http://schemas.microsoft.com/office/drawing/2014/main" id="{C221E79D-3057-4554-B222-36788011017D}"/>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06">
              <a:extLst>
                <a:ext uri="{FF2B5EF4-FFF2-40B4-BE49-F238E27FC236}">
                  <a16:creationId xmlns:a16="http://schemas.microsoft.com/office/drawing/2014/main" id="{287F7418-5E69-47EF-B81C-3D6548FEEE19}"/>
                </a:ext>
              </a:extLst>
            </p:cNvPr>
            <p:cNvSpPr>
              <a:spLocks noChangeArrowheads="1"/>
            </p:cNvSpPr>
            <p:nvPr/>
          </p:nvSpPr>
          <p:spPr bwMode="auto">
            <a:xfrm>
              <a:off x="953667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sp>
        <p:nvSpPr>
          <p:cNvPr id="52" name="Text Placeholder 14">
            <a:extLst>
              <a:ext uri="{FF2B5EF4-FFF2-40B4-BE49-F238E27FC236}">
                <a16:creationId xmlns:a16="http://schemas.microsoft.com/office/drawing/2014/main" id="{4287099A-E990-4494-99C4-5FE72041DAB2}"/>
              </a:ext>
            </a:extLst>
          </p:cNvPr>
          <p:cNvSpPr>
            <a:spLocks noGrp="1"/>
          </p:cNvSpPr>
          <p:nvPr>
            <p:ph type="body" sz="quarter" idx="14"/>
          </p:nvPr>
        </p:nvSpPr>
        <p:spPr>
          <a:xfrm>
            <a:off x="838199" y="870295"/>
            <a:ext cx="11068666" cy="341632"/>
          </a:xfrm>
        </p:spPr>
        <p:txBody>
          <a:bodyPr/>
          <a:lstStyle/>
          <a:p>
            <a:r>
              <a:rPr lang="en-US"/>
              <a:t>Areas that may be included in buffer distance composition</a:t>
            </a:r>
          </a:p>
        </p:txBody>
      </p:sp>
      <p:sp>
        <p:nvSpPr>
          <p:cNvPr id="10" name="Title 9"/>
          <p:cNvSpPr>
            <a:spLocks noGrp="1"/>
          </p:cNvSpPr>
          <p:nvPr>
            <p:ph type="title"/>
          </p:nvPr>
        </p:nvSpPr>
        <p:spPr/>
        <p:txBody>
          <a:bodyPr/>
          <a:lstStyle/>
          <a:p>
            <a:r>
              <a:rPr lang="en-US"/>
              <a:t>BUFFER COMPOSITION REQUIREMENT</a:t>
            </a:r>
          </a:p>
        </p:txBody>
      </p:sp>
      <p:sp>
        <p:nvSpPr>
          <p:cNvPr id="33" name="Rectangle 32">
            <a:extLst>
              <a:ext uri="{FF2B5EF4-FFF2-40B4-BE49-F238E27FC236}">
                <a16:creationId xmlns:a16="http://schemas.microsoft.com/office/drawing/2014/main" id="{0C441588-D6B7-40A0-89E4-FFFF970D0C36}"/>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74B44EE2-329D-48E9-A035-26F4A19F4640}"/>
              </a:ext>
            </a:extLst>
          </p:cNvPr>
          <p:cNvGrpSpPr/>
          <p:nvPr/>
        </p:nvGrpSpPr>
        <p:grpSpPr>
          <a:xfrm>
            <a:off x="950173" y="6425309"/>
            <a:ext cx="1075910" cy="230941"/>
            <a:chOff x="201074" y="6425309"/>
            <a:chExt cx="1075910" cy="230941"/>
          </a:xfrm>
        </p:grpSpPr>
        <p:sp>
          <p:nvSpPr>
            <p:cNvPr id="35" name="Rectangle 34">
              <a:extLst>
                <a:ext uri="{FF2B5EF4-FFF2-40B4-BE49-F238E27FC236}">
                  <a16:creationId xmlns:a16="http://schemas.microsoft.com/office/drawing/2014/main" id="{23753746-90EB-45AD-B389-275B0303C572}"/>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6" name="Straight Connector 35">
              <a:extLst>
                <a:ext uri="{FF2B5EF4-FFF2-40B4-BE49-F238E27FC236}">
                  <a16:creationId xmlns:a16="http://schemas.microsoft.com/office/drawing/2014/main" id="{9DC4BEFE-9605-44FA-81C3-14C4B9F7EA3F}"/>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itle 1">
              <a:extLst>
                <a:ext uri="{FF2B5EF4-FFF2-40B4-BE49-F238E27FC236}">
                  <a16:creationId xmlns:a16="http://schemas.microsoft.com/office/drawing/2014/main" id="{922FB26D-87CC-4AEF-9694-4C0A9866C7C3}"/>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8" name="Title 1">
              <a:extLst>
                <a:ext uri="{FF2B5EF4-FFF2-40B4-BE49-F238E27FC236}">
                  <a16:creationId xmlns:a16="http://schemas.microsoft.com/office/drawing/2014/main" id="{24A4FD0E-DBA7-4A8A-AD1B-575A75542B0F}"/>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39" name="Group 38">
            <a:extLst>
              <a:ext uri="{FF2B5EF4-FFF2-40B4-BE49-F238E27FC236}">
                <a16:creationId xmlns:a16="http://schemas.microsoft.com/office/drawing/2014/main" id="{25217538-23B1-4C4E-887F-4404E68ECCCF}"/>
              </a:ext>
            </a:extLst>
          </p:cNvPr>
          <p:cNvGrpSpPr/>
          <p:nvPr/>
        </p:nvGrpSpPr>
        <p:grpSpPr>
          <a:xfrm>
            <a:off x="950173" y="6425309"/>
            <a:ext cx="1075910" cy="230941"/>
            <a:chOff x="201074" y="6425309"/>
            <a:chExt cx="1075910" cy="230941"/>
          </a:xfrm>
        </p:grpSpPr>
        <p:sp>
          <p:nvSpPr>
            <p:cNvPr id="40" name="Rectangle 39">
              <a:extLst>
                <a:ext uri="{FF2B5EF4-FFF2-40B4-BE49-F238E27FC236}">
                  <a16:creationId xmlns:a16="http://schemas.microsoft.com/office/drawing/2014/main" id="{3D9B0FFB-B6F8-4181-9BCA-8E025077E6BE}"/>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41" name="Straight Connector 40">
              <a:extLst>
                <a:ext uri="{FF2B5EF4-FFF2-40B4-BE49-F238E27FC236}">
                  <a16:creationId xmlns:a16="http://schemas.microsoft.com/office/drawing/2014/main" id="{731B3932-F9F5-4F46-9E7D-370EB9DF3D2E}"/>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09D4B889-7FC6-416E-9871-FB148772DFEC}"/>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43" name="Title 1">
              <a:extLst>
                <a:ext uri="{FF2B5EF4-FFF2-40B4-BE49-F238E27FC236}">
                  <a16:creationId xmlns:a16="http://schemas.microsoft.com/office/drawing/2014/main" id="{1F0A4DDE-DF3A-4C08-AFEB-C561EFD2F121}"/>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5" name="Footer Placeholder 4">
            <a:extLst>
              <a:ext uri="{FF2B5EF4-FFF2-40B4-BE49-F238E27FC236}">
                <a16:creationId xmlns:a16="http://schemas.microsoft.com/office/drawing/2014/main" id="{500DB2CD-22D2-4065-86B8-99BE73496245}"/>
              </a:ext>
            </a:extLst>
          </p:cNvPr>
          <p:cNvSpPr>
            <a:spLocks noGrp="1"/>
          </p:cNvSpPr>
          <p:nvPr>
            <p:ph type="ftr" sz="quarter" idx="15"/>
          </p:nvPr>
        </p:nvSpPr>
        <p:spPr>
          <a:xfrm>
            <a:off x="2285412" y="6311900"/>
            <a:ext cx="8275320" cy="338439"/>
          </a:xfrm>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a:extLst>
              <a:ext uri="{FF2B5EF4-FFF2-40B4-BE49-F238E27FC236}">
                <a16:creationId xmlns:a16="http://schemas.microsoft.com/office/drawing/2014/main" id="{850ED853-E99D-478C-B1EF-9CB72B29C7B4}"/>
              </a:ext>
            </a:extLst>
          </p:cNvPr>
          <p:cNvSpPr>
            <a:spLocks noGrp="1"/>
          </p:cNvSpPr>
          <p:nvPr>
            <p:ph type="sldNum" sz="quarter" idx="16"/>
          </p:nvPr>
        </p:nvSpPr>
        <p:spPr/>
        <p:txBody>
          <a:bodyPr/>
          <a:lstStyle/>
          <a:p>
            <a:fld id="{5382645D-9DD6-408C-B0EA-C65795F9B1DE}" type="slidenum">
              <a:rPr lang="en-US" smtClean="0"/>
              <a:pPr/>
              <a:t>33</a:t>
            </a:fld>
            <a:endParaRPr lang="en-US"/>
          </a:p>
        </p:txBody>
      </p:sp>
      <p:sp>
        <p:nvSpPr>
          <p:cNvPr id="55" name="Content Placeholder 2">
            <a:extLst>
              <a:ext uri="{FF2B5EF4-FFF2-40B4-BE49-F238E27FC236}">
                <a16:creationId xmlns:a16="http://schemas.microsoft.com/office/drawing/2014/main" id="{DA4151EB-35BF-4A92-8AA1-83635C639A70}"/>
              </a:ext>
            </a:extLst>
          </p:cNvPr>
          <p:cNvSpPr txBox="1">
            <a:spLocks/>
          </p:cNvSpPr>
          <p:nvPr/>
        </p:nvSpPr>
        <p:spPr>
          <a:xfrm>
            <a:off x="6096000" y="1491334"/>
            <a:ext cx="5257800" cy="474980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spcAft>
                <a:spcPts val="600"/>
              </a:spcAft>
              <a:buClr>
                <a:srgbClr val="ED7D31"/>
              </a:buClr>
              <a:buNone/>
              <a:defRPr/>
            </a:pPr>
            <a:r>
              <a:rPr lang="en-US" sz="1600"/>
              <a:t>Roads, paved or gravel surfaces, </a:t>
            </a:r>
            <a:r>
              <a:rPr lang="en-US" sz="1600">
                <a:solidFill>
                  <a:srgbClr val="00B050"/>
                </a:solidFill>
              </a:rPr>
              <a:t>mowed grassy areas adjacent to field</a:t>
            </a:r>
            <a:r>
              <a:rPr lang="en-US" sz="1600"/>
              <a:t>, and areas of bare ground from recent plowing or grading that are contiguous with the treated field.  </a:t>
            </a:r>
          </a:p>
          <a:p>
            <a:pPr marL="0" lvl="1" indent="0">
              <a:lnSpc>
                <a:spcPct val="100000"/>
              </a:lnSpc>
              <a:spcBef>
                <a:spcPts val="600"/>
              </a:spcBef>
              <a:spcAft>
                <a:spcPts val="600"/>
              </a:spcAft>
              <a:buClr>
                <a:srgbClr val="ED7D31"/>
              </a:buClr>
              <a:buNone/>
              <a:defRPr/>
            </a:pPr>
            <a:r>
              <a:rPr lang="en-US" sz="1600"/>
              <a:t>Planted agricultural fields containing: corn, dicamba-tolerant cotton, dicamba-tolerant soybean, sorghum, </a:t>
            </a:r>
            <a:r>
              <a:rPr lang="en-US" sz="1600" err="1"/>
              <a:t>proso</a:t>
            </a:r>
            <a:r>
              <a:rPr lang="en-US" sz="1600"/>
              <a:t> millet, small grains, sugarcane and </a:t>
            </a:r>
            <a:r>
              <a:rPr lang="en-US" sz="1600">
                <a:solidFill>
                  <a:srgbClr val="00B050"/>
                </a:solidFill>
              </a:rPr>
              <a:t>other crops for which dicamba has a post-emergent approved use.</a:t>
            </a:r>
            <a:r>
              <a:rPr lang="en-US" sz="1600"/>
              <a:t> </a:t>
            </a:r>
            <a:endParaRPr lang="en-US" sz="1600">
              <a:cs typeface="Arial"/>
            </a:endParaRPr>
          </a:p>
          <a:p>
            <a:pPr marL="457200" lvl="1" indent="0">
              <a:lnSpc>
                <a:spcPct val="100000"/>
              </a:lnSpc>
              <a:spcAft>
                <a:spcPts val="600"/>
              </a:spcAft>
              <a:buClr>
                <a:srgbClr val="ED7D31"/>
              </a:buClr>
              <a:buNone/>
              <a:defRPr/>
            </a:pPr>
            <a:r>
              <a:rPr lang="en-US" sz="1200"/>
              <a:t>If the applicator intends to include such crops as dicamba-tolerant cotton and/or dicamba-tolerant soybeans in the buffer distance composition, the applicator must confirm the crops are in fact dicamba tolerant.</a:t>
            </a:r>
            <a:endParaRPr lang="en-US" sz="1200">
              <a:cs typeface="Arial"/>
            </a:endParaRPr>
          </a:p>
          <a:p>
            <a:pPr marL="0" lvl="1" indent="0">
              <a:lnSpc>
                <a:spcPct val="100000"/>
              </a:lnSpc>
              <a:spcBef>
                <a:spcPts val="600"/>
              </a:spcBef>
              <a:spcAft>
                <a:spcPts val="600"/>
              </a:spcAft>
              <a:buClr>
                <a:srgbClr val="ED7D31"/>
              </a:buClr>
              <a:buNone/>
              <a:defRPr/>
            </a:pPr>
            <a:r>
              <a:rPr lang="en-US" sz="1600"/>
              <a:t>Agricultural fields that have been prepared </a:t>
            </a:r>
            <a:br>
              <a:rPr lang="en-US" sz="1600"/>
            </a:br>
            <a:r>
              <a:rPr lang="en-US" sz="1600"/>
              <a:t>for planting.</a:t>
            </a:r>
            <a:endParaRPr lang="en-US" sz="1600">
              <a:cs typeface="Arial"/>
            </a:endParaRPr>
          </a:p>
          <a:p>
            <a:pPr marL="0" lvl="1" indent="0">
              <a:lnSpc>
                <a:spcPct val="100000"/>
              </a:lnSpc>
              <a:spcBef>
                <a:spcPts val="600"/>
              </a:spcBef>
              <a:spcAft>
                <a:spcPts val="600"/>
              </a:spcAft>
              <a:buClr>
                <a:srgbClr val="ED7D31"/>
              </a:buClr>
              <a:buNone/>
              <a:defRPr/>
            </a:pPr>
            <a:r>
              <a:rPr lang="en-US" sz="1600"/>
              <a:t>Areas covered by the footprint of a building, silo, </a:t>
            </a:r>
            <a:br>
              <a:rPr lang="en-US" sz="1600"/>
            </a:br>
            <a:r>
              <a:rPr lang="en-US" sz="1600"/>
              <a:t>or other man-made structure with walls and/or roof.</a:t>
            </a:r>
            <a:endParaRPr lang="en-US" sz="1600">
              <a:cs typeface="Arial"/>
            </a:endParaRPr>
          </a:p>
        </p:txBody>
      </p:sp>
      <p:sp>
        <p:nvSpPr>
          <p:cNvPr id="58" name="Isosceles Triangle 20">
            <a:extLst>
              <a:ext uri="{FF2B5EF4-FFF2-40B4-BE49-F238E27FC236}">
                <a16:creationId xmlns:a16="http://schemas.microsoft.com/office/drawing/2014/main" id="{F4EFFB53-7E8B-4A55-BBDF-949D9385B8F5}"/>
              </a:ext>
            </a:extLst>
          </p:cNvPr>
          <p:cNvSpPr/>
          <p:nvPr/>
        </p:nvSpPr>
        <p:spPr>
          <a:xfrm rot="5400000">
            <a:off x="5538428" y="3140828"/>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59" name="Straight Connector 58">
            <a:extLst>
              <a:ext uri="{FF2B5EF4-FFF2-40B4-BE49-F238E27FC236}">
                <a16:creationId xmlns:a16="http://schemas.microsoft.com/office/drawing/2014/main" id="{FAE4A2DF-6CA1-4BB9-AB1C-9FFF6C0F75FE}"/>
              </a:ext>
            </a:extLst>
          </p:cNvPr>
          <p:cNvCxnSpPr>
            <a:cxnSpLocks/>
          </p:cNvCxnSpPr>
          <p:nvPr/>
        </p:nvCxnSpPr>
        <p:spPr>
          <a:xfrm>
            <a:off x="6466703" y="3738222"/>
            <a:ext cx="0" cy="81741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DE1088-4E05-4EBC-8367-CE212E71B2A8}"/>
              </a:ext>
            </a:extLst>
          </p:cNvPr>
          <p:cNvCxnSpPr>
            <a:cxnSpLocks/>
          </p:cNvCxnSpPr>
          <p:nvPr/>
        </p:nvCxnSpPr>
        <p:spPr>
          <a:xfrm>
            <a:off x="6189785" y="2591515"/>
            <a:ext cx="5083405"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FC1E690-1E13-4714-B4C3-C1FE3FF4D75C}"/>
              </a:ext>
            </a:extLst>
          </p:cNvPr>
          <p:cNvCxnSpPr>
            <a:cxnSpLocks/>
          </p:cNvCxnSpPr>
          <p:nvPr/>
        </p:nvCxnSpPr>
        <p:spPr>
          <a:xfrm>
            <a:off x="6189785" y="4636351"/>
            <a:ext cx="5083405"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A9B892C-3A44-43EA-B82E-A3105BFA6413}"/>
              </a:ext>
            </a:extLst>
          </p:cNvPr>
          <p:cNvCxnSpPr>
            <a:cxnSpLocks/>
          </p:cNvCxnSpPr>
          <p:nvPr/>
        </p:nvCxnSpPr>
        <p:spPr>
          <a:xfrm>
            <a:off x="6189785" y="5243683"/>
            <a:ext cx="5083405"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20844FE-094C-46D7-8068-946825F6FC22}"/>
              </a:ext>
            </a:extLst>
          </p:cNvPr>
          <p:cNvGrpSpPr>
            <a:grpSpLocks noChangeAspect="1"/>
          </p:cNvGrpSpPr>
          <p:nvPr/>
        </p:nvGrpSpPr>
        <p:grpSpPr>
          <a:xfrm>
            <a:off x="2330493" y="3012422"/>
            <a:ext cx="656906" cy="658368"/>
            <a:chOff x="-1143000" y="-2349500"/>
            <a:chExt cx="2139950" cy="2144712"/>
          </a:xfrm>
        </p:grpSpPr>
        <p:sp>
          <p:nvSpPr>
            <p:cNvPr id="49" name="Oval 48">
              <a:extLst>
                <a:ext uri="{FF2B5EF4-FFF2-40B4-BE49-F238E27FC236}">
                  <a16:creationId xmlns:a16="http://schemas.microsoft.com/office/drawing/2014/main" id="{DD48683D-A824-4F1D-BCDD-F9DC513E59AB}"/>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
              <a:extLst>
                <a:ext uri="{FF2B5EF4-FFF2-40B4-BE49-F238E27FC236}">
                  <a16:creationId xmlns:a16="http://schemas.microsoft.com/office/drawing/2014/main" id="{41A77DE0-B36B-4B9A-B480-EC80BE1790B0}"/>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 name="Rectangle 41">
            <a:extLst>
              <a:ext uri="{FF2B5EF4-FFF2-40B4-BE49-F238E27FC236}">
                <a16:creationId xmlns:a16="http://schemas.microsoft.com/office/drawing/2014/main" id="{64FBC610-0C7B-4B2B-B1E3-A6E51E2577D5}"/>
              </a:ext>
            </a:extLst>
          </p:cNvPr>
          <p:cNvSpPr>
            <a:spLocks noChangeArrowheads="1"/>
          </p:cNvSpPr>
          <p:nvPr/>
        </p:nvSpPr>
        <p:spPr bwMode="auto">
          <a:xfrm>
            <a:off x="4281198" y="1494416"/>
            <a:ext cx="9326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en-US" altLang="en-US" sz="1200" b="1" kern="0" spc="140">
                <a:latin typeface="Arial Narrow" charset="0"/>
              </a:rPr>
              <a:t>DOWNWIND </a:t>
            </a:r>
          </a:p>
          <a:p>
            <a:pPr eaLnBrk="1" fontAlgn="auto" hangingPunct="1">
              <a:spcBef>
                <a:spcPts val="0"/>
              </a:spcBef>
              <a:spcAft>
                <a:spcPts val="0"/>
              </a:spcAft>
              <a:defRPr/>
            </a:pPr>
            <a:r>
              <a:rPr lang="en-US" altLang="en-US" sz="1200" b="1" kern="0" spc="140">
                <a:latin typeface="Arial Narrow" charset="0"/>
              </a:rPr>
              <a:t>ADJACENT</a:t>
            </a:r>
            <a:br>
              <a:rPr lang="en-US" altLang="en-US" sz="1200" b="1" kern="0" spc="140">
                <a:latin typeface="Arial Narrow" charset="0"/>
              </a:rPr>
            </a:br>
            <a:r>
              <a:rPr lang="en-US" altLang="en-US" sz="1200" b="1" kern="0" spc="140">
                <a:latin typeface="Arial Narrow" charset="0"/>
              </a:rPr>
              <a:t>AREA</a:t>
            </a:r>
            <a:endParaRPr lang="en-US" altLang="en-US" sz="1200" b="1" kern="0" spc="140">
              <a:latin typeface="+mj-lt"/>
            </a:endParaRPr>
          </a:p>
        </p:txBody>
      </p:sp>
      <p:sp>
        <p:nvSpPr>
          <p:cNvPr id="86" name="Freeform 87">
            <a:extLst>
              <a:ext uri="{FF2B5EF4-FFF2-40B4-BE49-F238E27FC236}">
                <a16:creationId xmlns:a16="http://schemas.microsoft.com/office/drawing/2014/main" id="{4D1BD996-B6DD-4848-8023-858226F762F0}"/>
              </a:ext>
            </a:extLst>
          </p:cNvPr>
          <p:cNvSpPr>
            <a:spLocks noEditPoints="1"/>
          </p:cNvSpPr>
          <p:nvPr/>
        </p:nvSpPr>
        <p:spPr bwMode="auto">
          <a:xfrm>
            <a:off x="5492522" y="5195500"/>
            <a:ext cx="155675" cy="289458"/>
          </a:xfrm>
          <a:custGeom>
            <a:avLst/>
            <a:gdLst>
              <a:gd name="T0" fmla="*/ 6 w 48"/>
              <a:gd name="T1" fmla="*/ 89 h 89"/>
              <a:gd name="T2" fmla="*/ 0 w 48"/>
              <a:gd name="T3" fmla="*/ 83 h 89"/>
              <a:gd name="T4" fmla="*/ 0 w 48"/>
              <a:gd name="T5" fmla="*/ 39 h 89"/>
              <a:gd name="T6" fmla="*/ 0 w 48"/>
              <a:gd name="T7" fmla="*/ 38 h 89"/>
              <a:gd name="T8" fmla="*/ 0 w 48"/>
              <a:gd name="T9" fmla="*/ 7 h 89"/>
              <a:gd name="T10" fmla="*/ 2 w 48"/>
              <a:gd name="T11" fmla="*/ 2 h 89"/>
              <a:gd name="T12" fmla="*/ 8 w 48"/>
              <a:gd name="T13" fmla="*/ 1 h 89"/>
              <a:gd name="T14" fmla="*/ 44 w 48"/>
              <a:gd name="T15" fmla="*/ 17 h 89"/>
              <a:gd name="T16" fmla="*/ 48 w 48"/>
              <a:gd name="T17" fmla="*/ 23 h 89"/>
              <a:gd name="T18" fmla="*/ 44 w 48"/>
              <a:gd name="T19" fmla="*/ 28 h 89"/>
              <a:gd name="T20" fmla="*/ 12 w 48"/>
              <a:gd name="T21" fmla="*/ 42 h 89"/>
              <a:gd name="T22" fmla="*/ 12 w 48"/>
              <a:gd name="T23" fmla="*/ 83 h 89"/>
              <a:gd name="T24" fmla="*/ 6 w 48"/>
              <a:gd name="T25" fmla="*/ 89 h 89"/>
              <a:gd name="T26" fmla="*/ 12 w 48"/>
              <a:gd name="T27" fmla="*/ 16 h 89"/>
              <a:gd name="T28" fmla="*/ 12 w 48"/>
              <a:gd name="T29" fmla="*/ 29 h 89"/>
              <a:gd name="T30" fmla="*/ 27 w 48"/>
              <a:gd name="T31" fmla="*/ 23 h 89"/>
              <a:gd name="T32" fmla="*/ 12 w 48"/>
              <a:gd name="T33" fmla="*/ 1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9">
                <a:moveTo>
                  <a:pt x="6" y="89"/>
                </a:moveTo>
                <a:cubicBezTo>
                  <a:pt x="2" y="89"/>
                  <a:pt x="0" y="86"/>
                  <a:pt x="0" y="83"/>
                </a:cubicBezTo>
                <a:cubicBezTo>
                  <a:pt x="0" y="39"/>
                  <a:pt x="0" y="39"/>
                  <a:pt x="0" y="39"/>
                </a:cubicBezTo>
                <a:cubicBezTo>
                  <a:pt x="0" y="38"/>
                  <a:pt x="0" y="38"/>
                  <a:pt x="0" y="38"/>
                </a:cubicBezTo>
                <a:cubicBezTo>
                  <a:pt x="0" y="7"/>
                  <a:pt x="0" y="7"/>
                  <a:pt x="0" y="7"/>
                </a:cubicBezTo>
                <a:cubicBezTo>
                  <a:pt x="0" y="5"/>
                  <a:pt x="1" y="3"/>
                  <a:pt x="2" y="2"/>
                </a:cubicBezTo>
                <a:cubicBezTo>
                  <a:pt x="4" y="0"/>
                  <a:pt x="6" y="0"/>
                  <a:pt x="8" y="1"/>
                </a:cubicBezTo>
                <a:cubicBezTo>
                  <a:pt x="44" y="17"/>
                  <a:pt x="44" y="17"/>
                  <a:pt x="44" y="17"/>
                </a:cubicBezTo>
                <a:cubicBezTo>
                  <a:pt x="46" y="18"/>
                  <a:pt x="48" y="20"/>
                  <a:pt x="48" y="23"/>
                </a:cubicBezTo>
                <a:cubicBezTo>
                  <a:pt x="48" y="25"/>
                  <a:pt x="46" y="27"/>
                  <a:pt x="44" y="28"/>
                </a:cubicBezTo>
                <a:cubicBezTo>
                  <a:pt x="12" y="42"/>
                  <a:pt x="12" y="42"/>
                  <a:pt x="12" y="42"/>
                </a:cubicBezTo>
                <a:cubicBezTo>
                  <a:pt x="12" y="83"/>
                  <a:pt x="12" y="83"/>
                  <a:pt x="12" y="83"/>
                </a:cubicBezTo>
                <a:cubicBezTo>
                  <a:pt x="12" y="86"/>
                  <a:pt x="9" y="89"/>
                  <a:pt x="6" y="89"/>
                </a:cubicBezTo>
                <a:close/>
                <a:moveTo>
                  <a:pt x="12" y="16"/>
                </a:moveTo>
                <a:cubicBezTo>
                  <a:pt x="12" y="29"/>
                  <a:pt x="12" y="29"/>
                  <a:pt x="12" y="29"/>
                </a:cubicBezTo>
                <a:cubicBezTo>
                  <a:pt x="27" y="23"/>
                  <a:pt x="27" y="23"/>
                  <a:pt x="27" y="23"/>
                </a:cubicBezTo>
                <a:lnTo>
                  <a:pt x="12"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8">
            <a:extLst>
              <a:ext uri="{FF2B5EF4-FFF2-40B4-BE49-F238E27FC236}">
                <a16:creationId xmlns:a16="http://schemas.microsoft.com/office/drawing/2014/main" id="{EBE0A01F-04BE-4455-9F70-0AA902CCE1B2}"/>
              </a:ext>
            </a:extLst>
          </p:cNvPr>
          <p:cNvSpPr>
            <a:spLocks noEditPoints="1"/>
          </p:cNvSpPr>
          <p:nvPr/>
        </p:nvSpPr>
        <p:spPr bwMode="auto">
          <a:xfrm>
            <a:off x="4113594" y="5195500"/>
            <a:ext cx="155675" cy="289458"/>
          </a:xfrm>
          <a:custGeom>
            <a:avLst/>
            <a:gdLst>
              <a:gd name="T0" fmla="*/ 6 w 48"/>
              <a:gd name="T1" fmla="*/ 89 h 89"/>
              <a:gd name="T2" fmla="*/ 0 w 48"/>
              <a:gd name="T3" fmla="*/ 83 h 89"/>
              <a:gd name="T4" fmla="*/ 0 w 48"/>
              <a:gd name="T5" fmla="*/ 39 h 89"/>
              <a:gd name="T6" fmla="*/ 0 w 48"/>
              <a:gd name="T7" fmla="*/ 38 h 89"/>
              <a:gd name="T8" fmla="*/ 0 w 48"/>
              <a:gd name="T9" fmla="*/ 7 h 89"/>
              <a:gd name="T10" fmla="*/ 2 w 48"/>
              <a:gd name="T11" fmla="*/ 2 h 89"/>
              <a:gd name="T12" fmla="*/ 8 w 48"/>
              <a:gd name="T13" fmla="*/ 1 h 89"/>
              <a:gd name="T14" fmla="*/ 44 w 48"/>
              <a:gd name="T15" fmla="*/ 17 h 89"/>
              <a:gd name="T16" fmla="*/ 48 w 48"/>
              <a:gd name="T17" fmla="*/ 23 h 89"/>
              <a:gd name="T18" fmla="*/ 44 w 48"/>
              <a:gd name="T19" fmla="*/ 28 h 89"/>
              <a:gd name="T20" fmla="*/ 12 w 48"/>
              <a:gd name="T21" fmla="*/ 42 h 89"/>
              <a:gd name="T22" fmla="*/ 12 w 48"/>
              <a:gd name="T23" fmla="*/ 83 h 89"/>
              <a:gd name="T24" fmla="*/ 6 w 48"/>
              <a:gd name="T25" fmla="*/ 89 h 89"/>
              <a:gd name="T26" fmla="*/ 12 w 48"/>
              <a:gd name="T27" fmla="*/ 16 h 89"/>
              <a:gd name="T28" fmla="*/ 12 w 48"/>
              <a:gd name="T29" fmla="*/ 29 h 89"/>
              <a:gd name="T30" fmla="*/ 27 w 48"/>
              <a:gd name="T31" fmla="*/ 23 h 89"/>
              <a:gd name="T32" fmla="*/ 12 w 48"/>
              <a:gd name="T33" fmla="*/ 1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9">
                <a:moveTo>
                  <a:pt x="6" y="89"/>
                </a:moveTo>
                <a:cubicBezTo>
                  <a:pt x="2" y="89"/>
                  <a:pt x="0" y="86"/>
                  <a:pt x="0" y="83"/>
                </a:cubicBezTo>
                <a:cubicBezTo>
                  <a:pt x="0" y="39"/>
                  <a:pt x="0" y="39"/>
                  <a:pt x="0" y="39"/>
                </a:cubicBezTo>
                <a:cubicBezTo>
                  <a:pt x="0" y="38"/>
                  <a:pt x="0" y="38"/>
                  <a:pt x="0" y="38"/>
                </a:cubicBezTo>
                <a:cubicBezTo>
                  <a:pt x="0" y="7"/>
                  <a:pt x="0" y="7"/>
                  <a:pt x="0" y="7"/>
                </a:cubicBezTo>
                <a:cubicBezTo>
                  <a:pt x="0" y="5"/>
                  <a:pt x="1" y="3"/>
                  <a:pt x="2" y="2"/>
                </a:cubicBezTo>
                <a:cubicBezTo>
                  <a:pt x="4" y="0"/>
                  <a:pt x="6" y="0"/>
                  <a:pt x="8" y="1"/>
                </a:cubicBezTo>
                <a:cubicBezTo>
                  <a:pt x="44" y="17"/>
                  <a:pt x="44" y="17"/>
                  <a:pt x="44" y="17"/>
                </a:cubicBezTo>
                <a:cubicBezTo>
                  <a:pt x="46" y="18"/>
                  <a:pt x="48" y="20"/>
                  <a:pt x="48" y="23"/>
                </a:cubicBezTo>
                <a:cubicBezTo>
                  <a:pt x="48" y="25"/>
                  <a:pt x="46" y="27"/>
                  <a:pt x="44" y="28"/>
                </a:cubicBezTo>
                <a:cubicBezTo>
                  <a:pt x="12" y="42"/>
                  <a:pt x="12" y="42"/>
                  <a:pt x="12" y="42"/>
                </a:cubicBezTo>
                <a:cubicBezTo>
                  <a:pt x="12" y="83"/>
                  <a:pt x="12" y="83"/>
                  <a:pt x="12" y="83"/>
                </a:cubicBezTo>
                <a:cubicBezTo>
                  <a:pt x="12" y="86"/>
                  <a:pt x="9" y="89"/>
                  <a:pt x="6" y="89"/>
                </a:cubicBezTo>
                <a:close/>
                <a:moveTo>
                  <a:pt x="12" y="16"/>
                </a:moveTo>
                <a:cubicBezTo>
                  <a:pt x="12" y="29"/>
                  <a:pt x="12" y="29"/>
                  <a:pt x="12" y="29"/>
                </a:cubicBezTo>
                <a:cubicBezTo>
                  <a:pt x="27" y="23"/>
                  <a:pt x="27" y="23"/>
                  <a:pt x="27" y="23"/>
                </a:cubicBezTo>
                <a:lnTo>
                  <a:pt x="12"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12EF1644-87A8-452F-B31C-07CD7FC450CF}"/>
              </a:ext>
            </a:extLst>
          </p:cNvPr>
          <p:cNvGrpSpPr/>
          <p:nvPr/>
        </p:nvGrpSpPr>
        <p:grpSpPr>
          <a:xfrm flipV="1">
            <a:off x="4176249" y="5438715"/>
            <a:ext cx="1295382" cy="56665"/>
            <a:chOff x="2881625" y="5527000"/>
            <a:chExt cx="1097021" cy="38919"/>
          </a:xfrm>
        </p:grpSpPr>
        <p:sp>
          <p:nvSpPr>
            <p:cNvPr id="87" name="Freeform 89">
              <a:extLst>
                <a:ext uri="{FF2B5EF4-FFF2-40B4-BE49-F238E27FC236}">
                  <a16:creationId xmlns:a16="http://schemas.microsoft.com/office/drawing/2014/main" id="{9128A5A7-77DB-4E01-8E48-9B2483CC7C19}"/>
                </a:ext>
              </a:extLst>
            </p:cNvPr>
            <p:cNvSpPr>
              <a:spLocks/>
            </p:cNvSpPr>
            <p:nvPr/>
          </p:nvSpPr>
          <p:spPr bwMode="auto">
            <a:xfrm>
              <a:off x="2881625" y="5527000"/>
              <a:ext cx="97297" cy="38919"/>
            </a:xfrm>
            <a:custGeom>
              <a:avLst/>
              <a:gdLst>
                <a:gd name="T0" fmla="*/ 24 w 30"/>
                <a:gd name="T1" fmla="*/ 12 h 12"/>
                <a:gd name="T2" fmla="*/ 6 w 30"/>
                <a:gd name="T3" fmla="*/ 12 h 12"/>
                <a:gd name="T4" fmla="*/ 0 w 30"/>
                <a:gd name="T5" fmla="*/ 6 h 12"/>
                <a:gd name="T6" fmla="*/ 6 w 30"/>
                <a:gd name="T7" fmla="*/ 0 h 12"/>
                <a:gd name="T8" fmla="*/ 24 w 30"/>
                <a:gd name="T9" fmla="*/ 0 h 12"/>
                <a:gd name="T10" fmla="*/ 30 w 30"/>
                <a:gd name="T11" fmla="*/ 6 h 12"/>
                <a:gd name="T12" fmla="*/ 24 w 3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0" h="12">
                  <a:moveTo>
                    <a:pt x="24" y="12"/>
                  </a:moveTo>
                  <a:cubicBezTo>
                    <a:pt x="6" y="12"/>
                    <a:pt x="6" y="12"/>
                    <a:pt x="6" y="12"/>
                  </a:cubicBezTo>
                  <a:cubicBezTo>
                    <a:pt x="3" y="12"/>
                    <a:pt x="0" y="9"/>
                    <a:pt x="0" y="6"/>
                  </a:cubicBezTo>
                  <a:cubicBezTo>
                    <a:pt x="0" y="3"/>
                    <a:pt x="3" y="0"/>
                    <a:pt x="6" y="0"/>
                  </a:cubicBezTo>
                  <a:cubicBezTo>
                    <a:pt x="24" y="0"/>
                    <a:pt x="24" y="0"/>
                    <a:pt x="24" y="0"/>
                  </a:cubicBezTo>
                  <a:cubicBezTo>
                    <a:pt x="28" y="0"/>
                    <a:pt x="30" y="3"/>
                    <a:pt x="30" y="6"/>
                  </a:cubicBezTo>
                  <a:cubicBezTo>
                    <a:pt x="30" y="9"/>
                    <a:pt x="28" y="12"/>
                    <a:pt x="24"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0">
              <a:extLst>
                <a:ext uri="{FF2B5EF4-FFF2-40B4-BE49-F238E27FC236}">
                  <a16:creationId xmlns:a16="http://schemas.microsoft.com/office/drawing/2014/main" id="{A6E30AD5-62CA-4593-BE29-C391E9AB1BAB}"/>
                </a:ext>
              </a:extLst>
            </p:cNvPr>
            <p:cNvSpPr>
              <a:spLocks noEditPoints="1"/>
            </p:cNvSpPr>
            <p:nvPr/>
          </p:nvSpPr>
          <p:spPr bwMode="auto">
            <a:xfrm>
              <a:off x="3027570" y="5527000"/>
              <a:ext cx="295539" cy="38919"/>
            </a:xfrm>
            <a:custGeom>
              <a:avLst/>
              <a:gdLst>
                <a:gd name="T0" fmla="*/ 85 w 91"/>
                <a:gd name="T1" fmla="*/ 12 h 12"/>
                <a:gd name="T2" fmla="*/ 59 w 91"/>
                <a:gd name="T3" fmla="*/ 12 h 12"/>
                <a:gd name="T4" fmla="*/ 53 w 91"/>
                <a:gd name="T5" fmla="*/ 6 h 12"/>
                <a:gd name="T6" fmla="*/ 59 w 91"/>
                <a:gd name="T7" fmla="*/ 0 h 12"/>
                <a:gd name="T8" fmla="*/ 85 w 91"/>
                <a:gd name="T9" fmla="*/ 0 h 12"/>
                <a:gd name="T10" fmla="*/ 91 w 91"/>
                <a:gd name="T11" fmla="*/ 6 h 12"/>
                <a:gd name="T12" fmla="*/ 85 w 91"/>
                <a:gd name="T13" fmla="*/ 12 h 12"/>
                <a:gd name="T14" fmla="*/ 32 w 91"/>
                <a:gd name="T15" fmla="*/ 12 h 12"/>
                <a:gd name="T16" fmla="*/ 6 w 91"/>
                <a:gd name="T17" fmla="*/ 12 h 12"/>
                <a:gd name="T18" fmla="*/ 0 w 91"/>
                <a:gd name="T19" fmla="*/ 6 h 12"/>
                <a:gd name="T20" fmla="*/ 6 w 91"/>
                <a:gd name="T21" fmla="*/ 0 h 12"/>
                <a:gd name="T22" fmla="*/ 32 w 91"/>
                <a:gd name="T23" fmla="*/ 0 h 12"/>
                <a:gd name="T24" fmla="*/ 38 w 91"/>
                <a:gd name="T25" fmla="*/ 6 h 12"/>
                <a:gd name="T26" fmla="*/ 32 w 91"/>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12">
                  <a:moveTo>
                    <a:pt x="85" y="12"/>
                  </a:moveTo>
                  <a:cubicBezTo>
                    <a:pt x="59" y="12"/>
                    <a:pt x="59" y="12"/>
                    <a:pt x="59" y="12"/>
                  </a:cubicBezTo>
                  <a:cubicBezTo>
                    <a:pt x="55" y="12"/>
                    <a:pt x="53" y="9"/>
                    <a:pt x="53" y="6"/>
                  </a:cubicBezTo>
                  <a:cubicBezTo>
                    <a:pt x="53" y="3"/>
                    <a:pt x="55" y="0"/>
                    <a:pt x="59" y="0"/>
                  </a:cubicBezTo>
                  <a:cubicBezTo>
                    <a:pt x="85" y="0"/>
                    <a:pt x="85" y="0"/>
                    <a:pt x="85" y="0"/>
                  </a:cubicBezTo>
                  <a:cubicBezTo>
                    <a:pt x="88" y="0"/>
                    <a:pt x="91" y="3"/>
                    <a:pt x="91" y="6"/>
                  </a:cubicBezTo>
                  <a:cubicBezTo>
                    <a:pt x="91" y="9"/>
                    <a:pt x="88" y="12"/>
                    <a:pt x="85" y="12"/>
                  </a:cubicBezTo>
                  <a:close/>
                  <a:moveTo>
                    <a:pt x="32" y="12"/>
                  </a:moveTo>
                  <a:cubicBezTo>
                    <a:pt x="6" y="12"/>
                    <a:pt x="6" y="12"/>
                    <a:pt x="6" y="12"/>
                  </a:cubicBezTo>
                  <a:cubicBezTo>
                    <a:pt x="3" y="12"/>
                    <a:pt x="0" y="9"/>
                    <a:pt x="0" y="6"/>
                  </a:cubicBezTo>
                  <a:cubicBezTo>
                    <a:pt x="0" y="3"/>
                    <a:pt x="3" y="0"/>
                    <a:pt x="6" y="0"/>
                  </a:cubicBezTo>
                  <a:cubicBezTo>
                    <a:pt x="32" y="0"/>
                    <a:pt x="32" y="0"/>
                    <a:pt x="32" y="0"/>
                  </a:cubicBezTo>
                  <a:cubicBezTo>
                    <a:pt x="36" y="0"/>
                    <a:pt x="38" y="3"/>
                    <a:pt x="38" y="6"/>
                  </a:cubicBezTo>
                  <a:cubicBezTo>
                    <a:pt x="38" y="9"/>
                    <a:pt x="36" y="12"/>
                    <a:pt x="32"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1">
              <a:extLst>
                <a:ext uri="{FF2B5EF4-FFF2-40B4-BE49-F238E27FC236}">
                  <a16:creationId xmlns:a16="http://schemas.microsoft.com/office/drawing/2014/main" id="{A76CD9EE-EB16-4420-82C7-C0C3554E7CE8}"/>
                </a:ext>
              </a:extLst>
            </p:cNvPr>
            <p:cNvSpPr>
              <a:spLocks noEditPoints="1"/>
            </p:cNvSpPr>
            <p:nvPr/>
          </p:nvSpPr>
          <p:spPr bwMode="auto">
            <a:xfrm>
              <a:off x="3369325" y="5527000"/>
              <a:ext cx="467024" cy="38919"/>
            </a:xfrm>
            <a:custGeom>
              <a:avLst/>
              <a:gdLst>
                <a:gd name="T0" fmla="*/ 138 w 144"/>
                <a:gd name="T1" fmla="*/ 12 h 12"/>
                <a:gd name="T2" fmla="*/ 112 w 144"/>
                <a:gd name="T3" fmla="*/ 12 h 12"/>
                <a:gd name="T4" fmla="*/ 106 w 144"/>
                <a:gd name="T5" fmla="*/ 6 h 12"/>
                <a:gd name="T6" fmla="*/ 112 w 144"/>
                <a:gd name="T7" fmla="*/ 0 h 12"/>
                <a:gd name="T8" fmla="*/ 138 w 144"/>
                <a:gd name="T9" fmla="*/ 0 h 12"/>
                <a:gd name="T10" fmla="*/ 144 w 144"/>
                <a:gd name="T11" fmla="*/ 6 h 12"/>
                <a:gd name="T12" fmla="*/ 138 w 144"/>
                <a:gd name="T13" fmla="*/ 12 h 12"/>
                <a:gd name="T14" fmla="*/ 85 w 144"/>
                <a:gd name="T15" fmla="*/ 12 h 12"/>
                <a:gd name="T16" fmla="*/ 59 w 144"/>
                <a:gd name="T17" fmla="*/ 12 h 12"/>
                <a:gd name="T18" fmla="*/ 53 w 144"/>
                <a:gd name="T19" fmla="*/ 6 h 12"/>
                <a:gd name="T20" fmla="*/ 59 w 144"/>
                <a:gd name="T21" fmla="*/ 0 h 12"/>
                <a:gd name="T22" fmla="*/ 85 w 144"/>
                <a:gd name="T23" fmla="*/ 0 h 12"/>
                <a:gd name="T24" fmla="*/ 91 w 144"/>
                <a:gd name="T25" fmla="*/ 6 h 12"/>
                <a:gd name="T26" fmla="*/ 85 w 144"/>
                <a:gd name="T27" fmla="*/ 12 h 12"/>
                <a:gd name="T28" fmla="*/ 33 w 144"/>
                <a:gd name="T29" fmla="*/ 12 h 12"/>
                <a:gd name="T30" fmla="*/ 6 w 144"/>
                <a:gd name="T31" fmla="*/ 12 h 12"/>
                <a:gd name="T32" fmla="*/ 0 w 144"/>
                <a:gd name="T33" fmla="*/ 6 h 12"/>
                <a:gd name="T34" fmla="*/ 6 w 144"/>
                <a:gd name="T35" fmla="*/ 0 h 12"/>
                <a:gd name="T36" fmla="*/ 33 w 144"/>
                <a:gd name="T37" fmla="*/ 0 h 12"/>
                <a:gd name="T38" fmla="*/ 39 w 144"/>
                <a:gd name="T39" fmla="*/ 6 h 12"/>
                <a:gd name="T40" fmla="*/ 33 w 144"/>
                <a:gd name="T4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2">
                  <a:moveTo>
                    <a:pt x="138" y="12"/>
                  </a:moveTo>
                  <a:cubicBezTo>
                    <a:pt x="112" y="12"/>
                    <a:pt x="112" y="12"/>
                    <a:pt x="112" y="12"/>
                  </a:cubicBezTo>
                  <a:cubicBezTo>
                    <a:pt x="108" y="12"/>
                    <a:pt x="106" y="9"/>
                    <a:pt x="106" y="6"/>
                  </a:cubicBezTo>
                  <a:cubicBezTo>
                    <a:pt x="106" y="3"/>
                    <a:pt x="108" y="0"/>
                    <a:pt x="112" y="0"/>
                  </a:cubicBezTo>
                  <a:cubicBezTo>
                    <a:pt x="138" y="0"/>
                    <a:pt x="138" y="0"/>
                    <a:pt x="138" y="0"/>
                  </a:cubicBezTo>
                  <a:cubicBezTo>
                    <a:pt x="141" y="0"/>
                    <a:pt x="144" y="3"/>
                    <a:pt x="144" y="6"/>
                  </a:cubicBezTo>
                  <a:cubicBezTo>
                    <a:pt x="144" y="9"/>
                    <a:pt x="141" y="12"/>
                    <a:pt x="138" y="12"/>
                  </a:cubicBezTo>
                  <a:close/>
                  <a:moveTo>
                    <a:pt x="85" y="12"/>
                  </a:moveTo>
                  <a:cubicBezTo>
                    <a:pt x="59" y="12"/>
                    <a:pt x="59" y="12"/>
                    <a:pt x="59" y="12"/>
                  </a:cubicBezTo>
                  <a:cubicBezTo>
                    <a:pt x="56" y="12"/>
                    <a:pt x="53" y="9"/>
                    <a:pt x="53" y="6"/>
                  </a:cubicBezTo>
                  <a:cubicBezTo>
                    <a:pt x="53" y="3"/>
                    <a:pt x="56" y="0"/>
                    <a:pt x="59" y="0"/>
                  </a:cubicBezTo>
                  <a:cubicBezTo>
                    <a:pt x="85" y="0"/>
                    <a:pt x="85" y="0"/>
                    <a:pt x="85" y="0"/>
                  </a:cubicBezTo>
                  <a:cubicBezTo>
                    <a:pt x="89" y="0"/>
                    <a:pt x="91" y="3"/>
                    <a:pt x="91" y="6"/>
                  </a:cubicBezTo>
                  <a:cubicBezTo>
                    <a:pt x="91" y="9"/>
                    <a:pt x="89" y="12"/>
                    <a:pt x="85" y="12"/>
                  </a:cubicBezTo>
                  <a:close/>
                  <a:moveTo>
                    <a:pt x="33" y="12"/>
                  </a:moveTo>
                  <a:cubicBezTo>
                    <a:pt x="6" y="12"/>
                    <a:pt x="6" y="12"/>
                    <a:pt x="6" y="12"/>
                  </a:cubicBezTo>
                  <a:cubicBezTo>
                    <a:pt x="3" y="12"/>
                    <a:pt x="0" y="9"/>
                    <a:pt x="0" y="6"/>
                  </a:cubicBezTo>
                  <a:cubicBezTo>
                    <a:pt x="0" y="3"/>
                    <a:pt x="3" y="0"/>
                    <a:pt x="6" y="0"/>
                  </a:cubicBezTo>
                  <a:cubicBezTo>
                    <a:pt x="33" y="0"/>
                    <a:pt x="33" y="0"/>
                    <a:pt x="33" y="0"/>
                  </a:cubicBezTo>
                  <a:cubicBezTo>
                    <a:pt x="36" y="0"/>
                    <a:pt x="39" y="3"/>
                    <a:pt x="39" y="6"/>
                  </a:cubicBezTo>
                  <a:cubicBezTo>
                    <a:pt x="39" y="9"/>
                    <a:pt x="36" y="12"/>
                    <a:pt x="33"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2">
              <a:extLst>
                <a:ext uri="{FF2B5EF4-FFF2-40B4-BE49-F238E27FC236}">
                  <a16:creationId xmlns:a16="http://schemas.microsoft.com/office/drawing/2014/main" id="{DF6634AE-FA17-45BE-BFDE-9EB5959B8068}"/>
                </a:ext>
              </a:extLst>
            </p:cNvPr>
            <p:cNvSpPr>
              <a:spLocks/>
            </p:cNvSpPr>
            <p:nvPr/>
          </p:nvSpPr>
          <p:spPr bwMode="auto">
            <a:xfrm>
              <a:off x="3881349" y="5527000"/>
              <a:ext cx="97297" cy="38919"/>
            </a:xfrm>
            <a:custGeom>
              <a:avLst/>
              <a:gdLst>
                <a:gd name="T0" fmla="*/ 24 w 30"/>
                <a:gd name="T1" fmla="*/ 12 h 12"/>
                <a:gd name="T2" fmla="*/ 6 w 30"/>
                <a:gd name="T3" fmla="*/ 12 h 12"/>
                <a:gd name="T4" fmla="*/ 0 w 30"/>
                <a:gd name="T5" fmla="*/ 6 h 12"/>
                <a:gd name="T6" fmla="*/ 6 w 30"/>
                <a:gd name="T7" fmla="*/ 0 h 12"/>
                <a:gd name="T8" fmla="*/ 24 w 30"/>
                <a:gd name="T9" fmla="*/ 0 h 12"/>
                <a:gd name="T10" fmla="*/ 30 w 30"/>
                <a:gd name="T11" fmla="*/ 6 h 12"/>
                <a:gd name="T12" fmla="*/ 24 w 3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0" h="12">
                  <a:moveTo>
                    <a:pt x="24" y="12"/>
                  </a:moveTo>
                  <a:cubicBezTo>
                    <a:pt x="6" y="12"/>
                    <a:pt x="6" y="12"/>
                    <a:pt x="6" y="12"/>
                  </a:cubicBezTo>
                  <a:cubicBezTo>
                    <a:pt x="3" y="12"/>
                    <a:pt x="0" y="9"/>
                    <a:pt x="0" y="6"/>
                  </a:cubicBezTo>
                  <a:cubicBezTo>
                    <a:pt x="0" y="3"/>
                    <a:pt x="3" y="0"/>
                    <a:pt x="6" y="0"/>
                  </a:cubicBezTo>
                  <a:cubicBezTo>
                    <a:pt x="24" y="0"/>
                    <a:pt x="24" y="0"/>
                    <a:pt x="24" y="0"/>
                  </a:cubicBezTo>
                  <a:cubicBezTo>
                    <a:pt x="28" y="0"/>
                    <a:pt x="30" y="3"/>
                    <a:pt x="30" y="6"/>
                  </a:cubicBezTo>
                  <a:cubicBezTo>
                    <a:pt x="30" y="9"/>
                    <a:pt x="28" y="12"/>
                    <a:pt x="24"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 name="Freeform 164">
            <a:extLst>
              <a:ext uri="{FF2B5EF4-FFF2-40B4-BE49-F238E27FC236}">
                <a16:creationId xmlns:a16="http://schemas.microsoft.com/office/drawing/2014/main" id="{4E762381-467A-4F17-B9ED-696530FE7A0C}"/>
              </a:ext>
            </a:extLst>
          </p:cNvPr>
          <p:cNvSpPr>
            <a:spLocks/>
          </p:cNvSpPr>
          <p:nvPr/>
        </p:nvSpPr>
        <p:spPr bwMode="auto">
          <a:xfrm>
            <a:off x="4022378" y="5529957"/>
            <a:ext cx="227431" cy="116756"/>
          </a:xfrm>
          <a:custGeom>
            <a:avLst/>
            <a:gdLst>
              <a:gd name="T0" fmla="*/ 0 w 187"/>
              <a:gd name="T1" fmla="*/ 96 h 96"/>
              <a:gd name="T2" fmla="*/ 94 w 187"/>
              <a:gd name="T3" fmla="*/ 0 h 96"/>
              <a:gd name="T4" fmla="*/ 187 w 187"/>
              <a:gd name="T5" fmla="*/ 96 h 96"/>
              <a:gd name="T6" fmla="*/ 0 w 187"/>
              <a:gd name="T7" fmla="*/ 96 h 96"/>
            </a:gdLst>
            <a:ahLst/>
            <a:cxnLst>
              <a:cxn ang="0">
                <a:pos x="T0" y="T1"/>
              </a:cxn>
              <a:cxn ang="0">
                <a:pos x="T2" y="T3"/>
              </a:cxn>
              <a:cxn ang="0">
                <a:pos x="T4" y="T5"/>
              </a:cxn>
              <a:cxn ang="0">
                <a:pos x="T6" y="T7"/>
              </a:cxn>
            </a:cxnLst>
            <a:rect l="0" t="0" r="r" b="b"/>
            <a:pathLst>
              <a:path w="187" h="96">
                <a:moveTo>
                  <a:pt x="0" y="96"/>
                </a:moveTo>
                <a:lnTo>
                  <a:pt x="94" y="0"/>
                </a:lnTo>
                <a:lnTo>
                  <a:pt x="187" y="96"/>
                </a:lnTo>
                <a:lnTo>
                  <a:pt x="0"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DABA0593-9C89-4DB3-B64A-74D80CF214B5}"/>
              </a:ext>
            </a:extLst>
          </p:cNvPr>
          <p:cNvSpPr>
            <a:spLocks noChangeArrowheads="1"/>
          </p:cNvSpPr>
          <p:nvPr/>
        </p:nvSpPr>
        <p:spPr bwMode="auto">
          <a:xfrm>
            <a:off x="4191388" y="5201699"/>
            <a:ext cx="136032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200" b="1" kern="0" spc="140">
                <a:latin typeface="Arial Narrow" charset="0"/>
              </a:rPr>
              <a:t>Buffer Distance</a:t>
            </a:r>
            <a:endParaRPr lang="en-US" altLang="en-US" sz="1200" b="1" kern="0" spc="140">
              <a:latin typeface="+mj-lt"/>
            </a:endParaRPr>
          </a:p>
        </p:txBody>
      </p:sp>
      <p:sp>
        <p:nvSpPr>
          <p:cNvPr id="94" name="Rectangle 41">
            <a:extLst>
              <a:ext uri="{FF2B5EF4-FFF2-40B4-BE49-F238E27FC236}">
                <a16:creationId xmlns:a16="http://schemas.microsoft.com/office/drawing/2014/main" id="{13CBFC8F-7C65-4500-8CD8-BA8C46379B77}"/>
              </a:ext>
            </a:extLst>
          </p:cNvPr>
          <p:cNvSpPr>
            <a:spLocks noChangeArrowheads="1"/>
          </p:cNvSpPr>
          <p:nvPr/>
        </p:nvSpPr>
        <p:spPr bwMode="auto">
          <a:xfrm>
            <a:off x="3707624" y="5676194"/>
            <a:ext cx="939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200" b="1" kern="0" spc="140">
                <a:latin typeface="Arial Narrow" charset="0"/>
              </a:rPr>
              <a:t>FIELD EDGE</a:t>
            </a:r>
            <a:endParaRPr lang="en-US" altLang="en-US" sz="1200" b="1" kern="0" spc="140">
              <a:latin typeface="+mj-lt"/>
            </a:endParaRPr>
          </a:p>
        </p:txBody>
      </p:sp>
      <p:pic>
        <p:nvPicPr>
          <p:cNvPr id="283" name="Picture 282">
            <a:extLst>
              <a:ext uri="{FF2B5EF4-FFF2-40B4-BE49-F238E27FC236}">
                <a16:creationId xmlns:a16="http://schemas.microsoft.com/office/drawing/2014/main" id="{211BD5C0-91A8-4B45-90CC-7004F44177AC}"/>
              </a:ext>
            </a:extLst>
          </p:cNvPr>
          <p:cNvPicPr>
            <a:picLocks noChangeAspect="1"/>
          </p:cNvPicPr>
          <p:nvPr/>
        </p:nvPicPr>
        <p:blipFill>
          <a:blip r:embed="rId3"/>
          <a:stretch>
            <a:fillRect/>
          </a:stretch>
        </p:blipFill>
        <p:spPr>
          <a:xfrm>
            <a:off x="838200" y="6393164"/>
            <a:ext cx="1333500" cy="378995"/>
          </a:xfrm>
          <a:prstGeom prst="rect">
            <a:avLst/>
          </a:prstGeom>
        </p:spPr>
      </p:pic>
      <p:sp>
        <p:nvSpPr>
          <p:cNvPr id="284" name="Rectangle 41">
            <a:extLst>
              <a:ext uri="{FF2B5EF4-FFF2-40B4-BE49-F238E27FC236}">
                <a16:creationId xmlns:a16="http://schemas.microsoft.com/office/drawing/2014/main" id="{BD818323-6CCB-40C8-A3B4-5789EDCAB9D9}"/>
              </a:ext>
            </a:extLst>
          </p:cNvPr>
          <p:cNvSpPr>
            <a:spLocks noChangeArrowheads="1"/>
          </p:cNvSpPr>
          <p:nvPr/>
        </p:nvSpPr>
        <p:spPr bwMode="auto">
          <a:xfrm>
            <a:off x="1229145" y="1530404"/>
            <a:ext cx="27570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en-US" altLang="en-US" sz="1200" b="1" kern="0" spc="140">
                <a:latin typeface="Arial Narrow" charset="0"/>
              </a:rPr>
              <a:t>DICAMBA-TOLERANT CROP APPROVED APPLICATION</a:t>
            </a:r>
            <a:endParaRPr lang="en-US" altLang="en-US" sz="1200" b="1" kern="0" spc="140">
              <a:latin typeface="+mj-lt"/>
            </a:endParaRPr>
          </a:p>
        </p:txBody>
      </p:sp>
    </p:spTree>
    <p:extLst>
      <p:ext uri="{BB962C8B-B14F-4D97-AF65-F5344CB8AC3E}">
        <p14:creationId xmlns:p14="http://schemas.microsoft.com/office/powerpoint/2010/main" val="197687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anim calcmode="lin" valueType="num">
                                      <p:cBhvr>
                                        <p:cTn id="8" dur="500" fill="hold"/>
                                        <p:tgtEl>
                                          <p:spTgt spid="48"/>
                                        </p:tgtEl>
                                        <p:attrNameLst>
                                          <p:attrName>ppt_x</p:attrName>
                                        </p:attrNameLst>
                                      </p:cBhvr>
                                      <p:tavLst>
                                        <p:tav tm="0">
                                          <p:val>
                                            <p:strVal val="#ppt_x"/>
                                          </p:val>
                                        </p:tav>
                                        <p:tav tm="100000">
                                          <p:val>
                                            <p:strVal val="#ppt_x"/>
                                          </p:val>
                                        </p:tav>
                                      </p:tavLst>
                                    </p:anim>
                                    <p:anim calcmode="lin" valueType="num">
                                      <p:cBhvr>
                                        <p:cTn id="9" dur="5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Group 130">
            <a:extLst>
              <a:ext uri="{FF2B5EF4-FFF2-40B4-BE49-F238E27FC236}">
                <a16:creationId xmlns:a16="http://schemas.microsoft.com/office/drawing/2014/main" id="{9A09EB39-8924-4567-B0A1-EC211C034398}"/>
              </a:ext>
            </a:extLst>
          </p:cNvPr>
          <p:cNvGrpSpPr>
            <a:grpSpLocks noChangeAspect="1"/>
          </p:cNvGrpSpPr>
          <p:nvPr/>
        </p:nvGrpSpPr>
        <p:grpSpPr>
          <a:xfrm>
            <a:off x="1582831" y="2834462"/>
            <a:ext cx="656906" cy="658368"/>
            <a:chOff x="-1143000" y="-2349500"/>
            <a:chExt cx="2139950" cy="2144712"/>
          </a:xfrm>
        </p:grpSpPr>
        <p:sp>
          <p:nvSpPr>
            <p:cNvPr id="132" name="Oval 131">
              <a:extLst>
                <a:ext uri="{FF2B5EF4-FFF2-40B4-BE49-F238E27FC236}">
                  <a16:creationId xmlns:a16="http://schemas.microsoft.com/office/drawing/2014/main" id="{64B19628-E3EA-4AF4-A504-B01074AC5B66}"/>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
              <a:extLst>
                <a:ext uri="{FF2B5EF4-FFF2-40B4-BE49-F238E27FC236}">
                  <a16:creationId xmlns:a16="http://schemas.microsoft.com/office/drawing/2014/main" id="{7A8458C5-517D-4697-9864-2010D4047BD0}"/>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7">
            <a:extLst>
              <a:ext uri="{FF2B5EF4-FFF2-40B4-BE49-F238E27FC236}">
                <a16:creationId xmlns:a16="http://schemas.microsoft.com/office/drawing/2014/main" id="{CA2AF3D2-18F4-4009-825D-6406F7F498A0}"/>
              </a:ext>
            </a:extLst>
          </p:cNvPr>
          <p:cNvSpPr>
            <a:spLocks noChangeArrowheads="1"/>
          </p:cNvSpPr>
          <p:nvPr/>
        </p:nvSpPr>
        <p:spPr bwMode="auto">
          <a:xfrm>
            <a:off x="6351588" y="1470025"/>
            <a:ext cx="2151063" cy="1616075"/>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687D2E7-519B-4617-B559-0ED168573FC3}"/>
              </a:ext>
            </a:extLst>
          </p:cNvPr>
          <p:cNvSpPr>
            <a:spLocks/>
          </p:cNvSpPr>
          <p:nvPr/>
        </p:nvSpPr>
        <p:spPr bwMode="auto">
          <a:xfrm>
            <a:off x="8555038" y="1470025"/>
            <a:ext cx="2706688" cy="3124200"/>
          </a:xfrm>
          <a:custGeom>
            <a:avLst/>
            <a:gdLst>
              <a:gd name="T0" fmla="*/ 0 w 1705"/>
              <a:gd name="T1" fmla="*/ 1968 h 1968"/>
              <a:gd name="T2" fmla="*/ 1705 w 1705"/>
              <a:gd name="T3" fmla="*/ 1220 h 1968"/>
              <a:gd name="T4" fmla="*/ 1705 w 1705"/>
              <a:gd name="T5" fmla="*/ 0 h 1968"/>
              <a:gd name="T6" fmla="*/ 0 w 1705"/>
              <a:gd name="T7" fmla="*/ 0 h 1968"/>
              <a:gd name="T8" fmla="*/ 0 w 1705"/>
              <a:gd name="T9" fmla="*/ 1968 h 1968"/>
            </a:gdLst>
            <a:ahLst/>
            <a:cxnLst>
              <a:cxn ang="0">
                <a:pos x="T0" y="T1"/>
              </a:cxn>
              <a:cxn ang="0">
                <a:pos x="T2" y="T3"/>
              </a:cxn>
              <a:cxn ang="0">
                <a:pos x="T4" y="T5"/>
              </a:cxn>
              <a:cxn ang="0">
                <a:pos x="T6" y="T7"/>
              </a:cxn>
              <a:cxn ang="0">
                <a:pos x="T8" y="T9"/>
              </a:cxn>
            </a:cxnLst>
            <a:rect l="0" t="0" r="r" b="b"/>
            <a:pathLst>
              <a:path w="1705" h="1968">
                <a:moveTo>
                  <a:pt x="0" y="1968"/>
                </a:moveTo>
                <a:lnTo>
                  <a:pt x="1705" y="1220"/>
                </a:lnTo>
                <a:lnTo>
                  <a:pt x="1705" y="0"/>
                </a:lnTo>
                <a:lnTo>
                  <a:pt x="0" y="0"/>
                </a:lnTo>
                <a:lnTo>
                  <a:pt x="0" y="19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9">
            <a:extLst>
              <a:ext uri="{FF2B5EF4-FFF2-40B4-BE49-F238E27FC236}">
                <a16:creationId xmlns:a16="http://schemas.microsoft.com/office/drawing/2014/main" id="{A36E3E8E-88CB-4A09-98E3-9964CDE19661}"/>
              </a:ext>
            </a:extLst>
          </p:cNvPr>
          <p:cNvSpPr>
            <a:spLocks noChangeArrowheads="1"/>
          </p:cNvSpPr>
          <p:nvPr/>
        </p:nvSpPr>
        <p:spPr bwMode="auto">
          <a:xfrm>
            <a:off x="3452813" y="1470025"/>
            <a:ext cx="2841625" cy="1616075"/>
          </a:xfrm>
          <a:prstGeom prst="rect">
            <a:avLst/>
          </a:prstGeom>
          <a:solidFill>
            <a:schemeClr val="bg2">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7B96F78D-65F1-49A6-9A12-F72E0AD74375}"/>
              </a:ext>
            </a:extLst>
          </p:cNvPr>
          <p:cNvSpPr>
            <a:spLocks/>
          </p:cNvSpPr>
          <p:nvPr/>
        </p:nvSpPr>
        <p:spPr bwMode="auto">
          <a:xfrm>
            <a:off x="6351588" y="3136900"/>
            <a:ext cx="2151063" cy="2146300"/>
          </a:xfrm>
          <a:custGeom>
            <a:avLst/>
            <a:gdLst>
              <a:gd name="T0" fmla="*/ 0 w 1355"/>
              <a:gd name="T1" fmla="*/ 0 h 1352"/>
              <a:gd name="T2" fmla="*/ 0 w 1355"/>
              <a:gd name="T3" fmla="*/ 1352 h 1352"/>
              <a:gd name="T4" fmla="*/ 391 w 1355"/>
              <a:gd name="T5" fmla="*/ 1352 h 1352"/>
              <a:gd name="T6" fmla="*/ 1355 w 1355"/>
              <a:gd name="T7" fmla="*/ 932 h 1352"/>
              <a:gd name="T8" fmla="*/ 1355 w 1355"/>
              <a:gd name="T9" fmla="*/ 0 h 1352"/>
              <a:gd name="T10" fmla="*/ 0 w 1355"/>
              <a:gd name="T11" fmla="*/ 0 h 1352"/>
            </a:gdLst>
            <a:ahLst/>
            <a:cxnLst>
              <a:cxn ang="0">
                <a:pos x="T0" y="T1"/>
              </a:cxn>
              <a:cxn ang="0">
                <a:pos x="T2" y="T3"/>
              </a:cxn>
              <a:cxn ang="0">
                <a:pos x="T4" y="T5"/>
              </a:cxn>
              <a:cxn ang="0">
                <a:pos x="T6" y="T7"/>
              </a:cxn>
              <a:cxn ang="0">
                <a:pos x="T8" y="T9"/>
              </a:cxn>
              <a:cxn ang="0">
                <a:pos x="T10" y="T11"/>
              </a:cxn>
            </a:cxnLst>
            <a:rect l="0" t="0" r="r" b="b"/>
            <a:pathLst>
              <a:path w="1355" h="1352">
                <a:moveTo>
                  <a:pt x="0" y="0"/>
                </a:moveTo>
                <a:lnTo>
                  <a:pt x="0" y="1352"/>
                </a:lnTo>
                <a:lnTo>
                  <a:pt x="391" y="1352"/>
                </a:lnTo>
                <a:lnTo>
                  <a:pt x="1355" y="932"/>
                </a:lnTo>
                <a:lnTo>
                  <a:pt x="1355" y="0"/>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1DE99310-1D53-4A9E-BAC4-03BC1E2D9111}"/>
              </a:ext>
            </a:extLst>
          </p:cNvPr>
          <p:cNvSpPr>
            <a:spLocks/>
          </p:cNvSpPr>
          <p:nvPr/>
        </p:nvSpPr>
        <p:spPr bwMode="auto">
          <a:xfrm>
            <a:off x="6361113" y="4122738"/>
            <a:ext cx="3390900" cy="1843088"/>
          </a:xfrm>
          <a:custGeom>
            <a:avLst/>
            <a:gdLst>
              <a:gd name="T0" fmla="*/ 2136 w 2136"/>
              <a:gd name="T1" fmla="*/ 0 h 1161"/>
              <a:gd name="T2" fmla="*/ 401 w 2136"/>
              <a:gd name="T3" fmla="*/ 761 h 1161"/>
              <a:gd name="T4" fmla="*/ 0 w 2136"/>
              <a:gd name="T5" fmla="*/ 761 h 1161"/>
              <a:gd name="T6" fmla="*/ 0 w 2136"/>
              <a:gd name="T7" fmla="*/ 1161 h 1161"/>
              <a:gd name="T8" fmla="*/ 2136 w 2136"/>
              <a:gd name="T9" fmla="*/ 1161 h 1161"/>
              <a:gd name="T10" fmla="*/ 2136 w 2136"/>
              <a:gd name="T11" fmla="*/ 0 h 1161"/>
            </a:gdLst>
            <a:ahLst/>
            <a:cxnLst>
              <a:cxn ang="0">
                <a:pos x="T0" y="T1"/>
              </a:cxn>
              <a:cxn ang="0">
                <a:pos x="T2" y="T3"/>
              </a:cxn>
              <a:cxn ang="0">
                <a:pos x="T4" y="T5"/>
              </a:cxn>
              <a:cxn ang="0">
                <a:pos x="T6" y="T7"/>
              </a:cxn>
              <a:cxn ang="0">
                <a:pos x="T8" y="T9"/>
              </a:cxn>
              <a:cxn ang="0">
                <a:pos x="T10" y="T11"/>
              </a:cxn>
            </a:cxnLst>
            <a:rect l="0" t="0" r="r" b="b"/>
            <a:pathLst>
              <a:path w="2136" h="1161">
                <a:moveTo>
                  <a:pt x="2136" y="0"/>
                </a:moveTo>
                <a:lnTo>
                  <a:pt x="401" y="761"/>
                </a:lnTo>
                <a:lnTo>
                  <a:pt x="0" y="761"/>
                </a:lnTo>
                <a:lnTo>
                  <a:pt x="0" y="1161"/>
                </a:lnTo>
                <a:lnTo>
                  <a:pt x="2136" y="1161"/>
                </a:lnTo>
                <a:lnTo>
                  <a:pt x="2136"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03C5520D-672B-4F52-B9A3-0D0AD00B4DCA}"/>
              </a:ext>
            </a:extLst>
          </p:cNvPr>
          <p:cNvSpPr>
            <a:spLocks/>
          </p:cNvSpPr>
          <p:nvPr/>
        </p:nvSpPr>
        <p:spPr bwMode="auto">
          <a:xfrm>
            <a:off x="9804401" y="3460750"/>
            <a:ext cx="1457325" cy="2508250"/>
          </a:xfrm>
          <a:custGeom>
            <a:avLst/>
            <a:gdLst>
              <a:gd name="T0" fmla="*/ 0 w 918"/>
              <a:gd name="T1" fmla="*/ 403 h 1580"/>
              <a:gd name="T2" fmla="*/ 0 w 918"/>
              <a:gd name="T3" fmla="*/ 1580 h 1580"/>
              <a:gd name="T4" fmla="*/ 918 w 918"/>
              <a:gd name="T5" fmla="*/ 1580 h 1580"/>
              <a:gd name="T6" fmla="*/ 918 w 918"/>
              <a:gd name="T7" fmla="*/ 0 h 1580"/>
              <a:gd name="T8" fmla="*/ 0 w 918"/>
              <a:gd name="T9" fmla="*/ 403 h 1580"/>
            </a:gdLst>
            <a:ahLst/>
            <a:cxnLst>
              <a:cxn ang="0">
                <a:pos x="T0" y="T1"/>
              </a:cxn>
              <a:cxn ang="0">
                <a:pos x="T2" y="T3"/>
              </a:cxn>
              <a:cxn ang="0">
                <a:pos x="T4" y="T5"/>
              </a:cxn>
              <a:cxn ang="0">
                <a:pos x="T6" y="T7"/>
              </a:cxn>
              <a:cxn ang="0">
                <a:pos x="T8" y="T9"/>
              </a:cxn>
            </a:cxnLst>
            <a:rect l="0" t="0" r="r" b="b"/>
            <a:pathLst>
              <a:path w="918" h="1580">
                <a:moveTo>
                  <a:pt x="0" y="403"/>
                </a:moveTo>
                <a:lnTo>
                  <a:pt x="0" y="1580"/>
                </a:lnTo>
                <a:lnTo>
                  <a:pt x="918" y="1580"/>
                </a:lnTo>
                <a:lnTo>
                  <a:pt x="918" y="0"/>
                </a:lnTo>
                <a:lnTo>
                  <a:pt x="0" y="40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
            <a:extLst>
              <a:ext uri="{FF2B5EF4-FFF2-40B4-BE49-F238E27FC236}">
                <a16:creationId xmlns:a16="http://schemas.microsoft.com/office/drawing/2014/main" id="{236C6A5D-4F43-4543-AB49-22A5051FCD79}"/>
              </a:ext>
            </a:extLst>
          </p:cNvPr>
          <p:cNvSpPr>
            <a:spLocks noChangeArrowheads="1"/>
          </p:cNvSpPr>
          <p:nvPr/>
        </p:nvSpPr>
        <p:spPr bwMode="auto">
          <a:xfrm>
            <a:off x="3459163" y="3136900"/>
            <a:ext cx="2841625" cy="283210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8" name="Group 127">
            <a:extLst>
              <a:ext uri="{FF2B5EF4-FFF2-40B4-BE49-F238E27FC236}">
                <a16:creationId xmlns:a16="http://schemas.microsoft.com/office/drawing/2014/main" id="{47B44F36-5A85-4827-89B4-CD1BB4271A1B}"/>
              </a:ext>
            </a:extLst>
          </p:cNvPr>
          <p:cNvGrpSpPr/>
          <p:nvPr/>
        </p:nvGrpSpPr>
        <p:grpSpPr>
          <a:xfrm>
            <a:off x="942976" y="4813300"/>
            <a:ext cx="1704627" cy="1155700"/>
            <a:chOff x="942976" y="4813300"/>
            <a:chExt cx="1704627" cy="1155700"/>
          </a:xfrm>
        </p:grpSpPr>
        <p:sp>
          <p:nvSpPr>
            <p:cNvPr id="113" name="Rectangle 110">
              <a:extLst>
                <a:ext uri="{FF2B5EF4-FFF2-40B4-BE49-F238E27FC236}">
                  <a16:creationId xmlns:a16="http://schemas.microsoft.com/office/drawing/2014/main" id="{A2E0A347-112D-474C-965A-848046BB2B72}"/>
                </a:ext>
              </a:extLst>
            </p:cNvPr>
            <p:cNvSpPr>
              <a:spLocks noChangeArrowheads="1"/>
            </p:cNvSpPr>
            <p:nvPr/>
          </p:nvSpPr>
          <p:spPr bwMode="auto">
            <a:xfrm>
              <a:off x="1357313" y="4829175"/>
              <a:ext cx="9699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Application 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4" name="Oval 111">
              <a:extLst>
                <a:ext uri="{FF2B5EF4-FFF2-40B4-BE49-F238E27FC236}">
                  <a16:creationId xmlns:a16="http://schemas.microsoft.com/office/drawing/2014/main" id="{BAD217C1-7D20-4D3F-8540-5DCF1448EA4C}"/>
                </a:ext>
              </a:extLst>
            </p:cNvPr>
            <p:cNvSpPr>
              <a:spLocks noChangeArrowheads="1"/>
            </p:cNvSpPr>
            <p:nvPr/>
          </p:nvSpPr>
          <p:spPr bwMode="auto">
            <a:xfrm>
              <a:off x="942976" y="4813300"/>
              <a:ext cx="228600" cy="22860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12">
              <a:extLst>
                <a:ext uri="{FF2B5EF4-FFF2-40B4-BE49-F238E27FC236}">
                  <a16:creationId xmlns:a16="http://schemas.microsoft.com/office/drawing/2014/main" id="{CAC77972-D303-4797-ADBB-0A72C9A73646}"/>
                </a:ext>
              </a:extLst>
            </p:cNvPr>
            <p:cNvSpPr>
              <a:spLocks noChangeArrowheads="1"/>
            </p:cNvSpPr>
            <p:nvPr/>
          </p:nvSpPr>
          <p:spPr bwMode="auto">
            <a:xfrm>
              <a:off x="1357313" y="5137150"/>
              <a:ext cx="12902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Dicamba Tolerant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8" name="Oval 115">
              <a:extLst>
                <a:ext uri="{FF2B5EF4-FFF2-40B4-BE49-F238E27FC236}">
                  <a16:creationId xmlns:a16="http://schemas.microsoft.com/office/drawing/2014/main" id="{7FBBD618-0257-44D1-B094-0E333F3CF45F}"/>
                </a:ext>
              </a:extLst>
            </p:cNvPr>
            <p:cNvSpPr>
              <a:spLocks noChangeArrowheads="1"/>
            </p:cNvSpPr>
            <p:nvPr/>
          </p:nvSpPr>
          <p:spPr bwMode="auto">
            <a:xfrm>
              <a:off x="942976" y="5122863"/>
              <a:ext cx="228600" cy="228600"/>
            </a:xfrm>
            <a:prstGeom prst="ellipse">
              <a:avLst/>
            </a:prstGeom>
            <a:solidFill>
              <a:srgbClr val="B2B4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6">
              <a:extLst>
                <a:ext uri="{FF2B5EF4-FFF2-40B4-BE49-F238E27FC236}">
                  <a16:creationId xmlns:a16="http://schemas.microsoft.com/office/drawing/2014/main" id="{9E44489D-96D2-4258-AC18-CCA14F0EA719}"/>
                </a:ext>
              </a:extLst>
            </p:cNvPr>
            <p:cNvSpPr>
              <a:spLocks noChangeArrowheads="1"/>
            </p:cNvSpPr>
            <p:nvPr/>
          </p:nvSpPr>
          <p:spPr bwMode="auto">
            <a:xfrm>
              <a:off x="1357313" y="5446713"/>
              <a:ext cx="5222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No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0" name="Oval 117">
              <a:extLst>
                <a:ext uri="{FF2B5EF4-FFF2-40B4-BE49-F238E27FC236}">
                  <a16:creationId xmlns:a16="http://schemas.microsoft.com/office/drawing/2014/main" id="{7F0AB5B6-3F11-46D9-A579-40C9929B4C0F}"/>
                </a:ext>
              </a:extLst>
            </p:cNvPr>
            <p:cNvSpPr>
              <a:spLocks noChangeArrowheads="1"/>
            </p:cNvSpPr>
            <p:nvPr/>
          </p:nvSpPr>
          <p:spPr bwMode="auto">
            <a:xfrm>
              <a:off x="942976" y="5430838"/>
              <a:ext cx="228600" cy="228600"/>
            </a:xfrm>
            <a:prstGeom prst="ellipse">
              <a:avLst/>
            </a:prstGeom>
            <a:solidFill>
              <a:srgbClr val="6C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18">
              <a:extLst>
                <a:ext uri="{FF2B5EF4-FFF2-40B4-BE49-F238E27FC236}">
                  <a16:creationId xmlns:a16="http://schemas.microsoft.com/office/drawing/2014/main" id="{746FF963-E3D5-4A9F-A156-059F323BA7D4}"/>
                </a:ext>
              </a:extLst>
            </p:cNvPr>
            <p:cNvSpPr>
              <a:spLocks noChangeArrowheads="1"/>
            </p:cNvSpPr>
            <p:nvPr/>
          </p:nvSpPr>
          <p:spPr bwMode="auto">
            <a:xfrm>
              <a:off x="1357313" y="5754688"/>
              <a:ext cx="8667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Sensitive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Oval 119">
              <a:extLst>
                <a:ext uri="{FF2B5EF4-FFF2-40B4-BE49-F238E27FC236}">
                  <a16:creationId xmlns:a16="http://schemas.microsoft.com/office/drawing/2014/main" id="{0CA3E211-2864-47ED-883E-FABF2E9082F1}"/>
                </a:ext>
              </a:extLst>
            </p:cNvPr>
            <p:cNvSpPr>
              <a:spLocks noChangeArrowheads="1"/>
            </p:cNvSpPr>
            <p:nvPr/>
          </p:nvSpPr>
          <p:spPr bwMode="auto">
            <a:xfrm>
              <a:off x="942976" y="5740400"/>
              <a:ext cx="228600" cy="228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a:extLst>
              <a:ext uri="{FF2B5EF4-FFF2-40B4-BE49-F238E27FC236}">
                <a16:creationId xmlns:a16="http://schemas.microsoft.com/office/drawing/2014/main" id="{37D15052-69EE-461D-8BC7-EF2C9FF7226E}"/>
              </a:ext>
            </a:extLst>
          </p:cNvPr>
          <p:cNvSpPr>
            <a:spLocks noGrp="1"/>
          </p:cNvSpPr>
          <p:nvPr>
            <p:ph type="body" sz="quarter" idx="14"/>
          </p:nvPr>
        </p:nvSpPr>
        <p:spPr>
          <a:xfrm>
            <a:off x="838200" y="870295"/>
            <a:ext cx="10515600" cy="341632"/>
          </a:xfrm>
        </p:spPr>
        <p:txBody>
          <a:bodyPr/>
          <a:lstStyle/>
          <a:p>
            <a:r>
              <a:rPr lang="en-US"/>
              <a:t>downwind adjacent areas</a:t>
            </a:r>
          </a:p>
        </p:txBody>
      </p:sp>
      <p:sp>
        <p:nvSpPr>
          <p:cNvPr id="4" name="Title 3">
            <a:extLst>
              <a:ext uri="{FF2B5EF4-FFF2-40B4-BE49-F238E27FC236}">
                <a16:creationId xmlns:a16="http://schemas.microsoft.com/office/drawing/2014/main" id="{B05B9D20-D630-486A-AFDE-A97A1CB3ABF0}"/>
              </a:ext>
            </a:extLst>
          </p:cNvPr>
          <p:cNvSpPr>
            <a:spLocks noGrp="1"/>
          </p:cNvSpPr>
          <p:nvPr>
            <p:ph type="title"/>
          </p:nvPr>
        </p:nvSpPr>
        <p:spPr>
          <a:xfrm>
            <a:off x="838200" y="318014"/>
            <a:ext cx="10515600" cy="590931"/>
          </a:xfrm>
        </p:spPr>
        <p:txBody>
          <a:bodyPr/>
          <a:lstStyle/>
          <a:p>
            <a:r>
              <a:rPr lang="en-US"/>
              <a:t>BUFFER REQUIREMENT</a:t>
            </a:r>
          </a:p>
        </p:txBody>
      </p:sp>
      <p:sp>
        <p:nvSpPr>
          <p:cNvPr id="136" name="Rectangle 106">
            <a:extLst>
              <a:ext uri="{FF2B5EF4-FFF2-40B4-BE49-F238E27FC236}">
                <a16:creationId xmlns:a16="http://schemas.microsoft.com/office/drawing/2014/main" id="{BDBF304A-7386-4E44-A8C8-355B5244537C}"/>
              </a:ext>
            </a:extLst>
          </p:cNvPr>
          <p:cNvSpPr>
            <a:spLocks noChangeArrowheads="1"/>
          </p:cNvSpPr>
          <p:nvPr/>
        </p:nvSpPr>
        <p:spPr bwMode="auto">
          <a:xfrm>
            <a:off x="78024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38" name="Rectangle 106">
            <a:extLst>
              <a:ext uri="{FF2B5EF4-FFF2-40B4-BE49-F238E27FC236}">
                <a16:creationId xmlns:a16="http://schemas.microsoft.com/office/drawing/2014/main" id="{91E0ACCD-CBE2-41D9-8C29-2BD77EC4D6C2}"/>
              </a:ext>
            </a:extLst>
          </p:cNvPr>
          <p:cNvSpPr>
            <a:spLocks noChangeArrowheads="1"/>
          </p:cNvSpPr>
          <p:nvPr/>
        </p:nvSpPr>
        <p:spPr bwMode="auto">
          <a:xfrm>
            <a:off x="102789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4" name="Rectangle 106">
            <a:extLst>
              <a:ext uri="{FF2B5EF4-FFF2-40B4-BE49-F238E27FC236}">
                <a16:creationId xmlns:a16="http://schemas.microsoft.com/office/drawing/2014/main" id="{A783EB0C-9C7D-4C55-BE1B-7BC71F3A734C}"/>
              </a:ext>
            </a:extLst>
          </p:cNvPr>
          <p:cNvSpPr>
            <a:spLocks noChangeArrowheads="1"/>
          </p:cNvSpPr>
          <p:nvPr/>
        </p:nvSpPr>
        <p:spPr bwMode="auto">
          <a:xfrm>
            <a:off x="9267983" y="2378963"/>
            <a:ext cx="128079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solidFill>
                  <a:schemeClr val="bg1"/>
                </a:solidFill>
                <a:effectLst/>
                <a:latin typeface="Arial Narrow" panose="020B0606020202030204" pitchFamily="34" charset="0"/>
              </a:rPr>
              <a:t>NON-DICAMBA</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TOLERANT</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SOYBEANS</a:t>
            </a:r>
            <a:endParaRPr kumimoji="0" lang="en-US" altLang="en-US" sz="1800" b="0" i="0" u="none" strike="noStrike" cap="none" spc="150" normalizeH="0">
              <a:ln>
                <a:noFill/>
              </a:ln>
              <a:solidFill>
                <a:schemeClr val="bg1"/>
              </a:solidFill>
              <a:effectLst/>
            </a:endParaRPr>
          </a:p>
        </p:txBody>
      </p:sp>
      <p:sp>
        <p:nvSpPr>
          <p:cNvPr id="226" name="Freeform 58">
            <a:extLst>
              <a:ext uri="{FF2B5EF4-FFF2-40B4-BE49-F238E27FC236}">
                <a16:creationId xmlns:a16="http://schemas.microsoft.com/office/drawing/2014/main" id="{0A1949E8-75F1-4B05-93AE-D96EC843EA40}"/>
              </a:ext>
            </a:extLst>
          </p:cNvPr>
          <p:cNvSpPr>
            <a:spLocks noEditPoints="1"/>
          </p:cNvSpPr>
          <p:nvPr/>
        </p:nvSpPr>
        <p:spPr bwMode="auto">
          <a:xfrm>
            <a:off x="5454598" y="2539207"/>
            <a:ext cx="1911350" cy="1911350"/>
          </a:xfrm>
          <a:custGeom>
            <a:avLst/>
            <a:gdLst>
              <a:gd name="T0" fmla="*/ 194 w 1204"/>
              <a:gd name="T1" fmla="*/ 999 h 1204"/>
              <a:gd name="T2" fmla="*/ 0 w 1204"/>
              <a:gd name="T3" fmla="*/ 1193 h 1204"/>
              <a:gd name="T4" fmla="*/ 0 w 1204"/>
              <a:gd name="T5" fmla="*/ 1204 h 1204"/>
              <a:gd name="T6" fmla="*/ 194 w 1204"/>
              <a:gd name="T7" fmla="*/ 1010 h 1204"/>
              <a:gd name="T8" fmla="*/ 194 w 1204"/>
              <a:gd name="T9" fmla="*/ 999 h 1204"/>
              <a:gd name="T10" fmla="*/ 1204 w 1204"/>
              <a:gd name="T11" fmla="*/ 0 h 1204"/>
              <a:gd name="T12" fmla="*/ 1192 w 1204"/>
              <a:gd name="T13" fmla="*/ 0 h 1204"/>
              <a:gd name="T14" fmla="*/ 1016 w 1204"/>
              <a:gd name="T15" fmla="*/ 177 h 1204"/>
              <a:gd name="T16" fmla="*/ 1027 w 1204"/>
              <a:gd name="T17" fmla="*/ 177 h 1204"/>
              <a:gd name="T18" fmla="*/ 1204 w 1204"/>
              <a:gd name="T19" fmla="*/ 0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4" h="1204">
                <a:moveTo>
                  <a:pt x="194" y="999"/>
                </a:moveTo>
                <a:lnTo>
                  <a:pt x="0" y="1193"/>
                </a:lnTo>
                <a:lnTo>
                  <a:pt x="0" y="1204"/>
                </a:lnTo>
                <a:lnTo>
                  <a:pt x="194" y="1010"/>
                </a:lnTo>
                <a:lnTo>
                  <a:pt x="194" y="999"/>
                </a:lnTo>
                <a:moveTo>
                  <a:pt x="1204" y="0"/>
                </a:moveTo>
                <a:lnTo>
                  <a:pt x="1192" y="0"/>
                </a:lnTo>
                <a:lnTo>
                  <a:pt x="1016" y="177"/>
                </a:lnTo>
                <a:lnTo>
                  <a:pt x="1027" y="177"/>
                </a:lnTo>
                <a:lnTo>
                  <a:pt x="1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9" name="Group 48">
            <a:extLst>
              <a:ext uri="{FF2B5EF4-FFF2-40B4-BE49-F238E27FC236}">
                <a16:creationId xmlns:a16="http://schemas.microsoft.com/office/drawing/2014/main" id="{3A55FB76-D53A-4600-95DE-7416CF7FAC5B}"/>
              </a:ext>
            </a:extLst>
          </p:cNvPr>
          <p:cNvGrpSpPr/>
          <p:nvPr/>
        </p:nvGrpSpPr>
        <p:grpSpPr>
          <a:xfrm rot="2700000">
            <a:off x="1219772" y="2293819"/>
            <a:ext cx="1536700" cy="407988"/>
            <a:chOff x="9229726" y="4735513"/>
            <a:chExt cx="1536700" cy="407988"/>
          </a:xfrm>
        </p:grpSpPr>
        <p:sp>
          <p:nvSpPr>
            <p:cNvPr id="50" name="Freeform 97">
              <a:extLst>
                <a:ext uri="{FF2B5EF4-FFF2-40B4-BE49-F238E27FC236}">
                  <a16:creationId xmlns:a16="http://schemas.microsoft.com/office/drawing/2014/main" id="{E4811489-BBF6-4B86-907B-0142BC461F2C}"/>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8">
              <a:extLst>
                <a:ext uri="{FF2B5EF4-FFF2-40B4-BE49-F238E27FC236}">
                  <a16:creationId xmlns:a16="http://schemas.microsoft.com/office/drawing/2014/main" id="{05B5EDBE-9F2C-4B6E-A5F0-D938E2730F13}"/>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9">
              <a:extLst>
                <a:ext uri="{FF2B5EF4-FFF2-40B4-BE49-F238E27FC236}">
                  <a16:creationId xmlns:a16="http://schemas.microsoft.com/office/drawing/2014/main" id="{53DA22EB-00E5-4F17-9BE9-6D4D8300E8A6}"/>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00">
              <a:extLst>
                <a:ext uri="{FF2B5EF4-FFF2-40B4-BE49-F238E27FC236}">
                  <a16:creationId xmlns:a16="http://schemas.microsoft.com/office/drawing/2014/main" id="{8D02925F-411F-4D75-A89C-366B54819316}"/>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01">
              <a:extLst>
                <a:ext uri="{FF2B5EF4-FFF2-40B4-BE49-F238E27FC236}">
                  <a16:creationId xmlns:a16="http://schemas.microsoft.com/office/drawing/2014/main" id="{2A68EF1F-2C38-42E0-8CB0-F1D29D26882E}"/>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2">
              <a:extLst>
                <a:ext uri="{FF2B5EF4-FFF2-40B4-BE49-F238E27FC236}">
                  <a16:creationId xmlns:a16="http://schemas.microsoft.com/office/drawing/2014/main" id="{D6254EFC-E330-4997-8DF0-BA143455AB78}"/>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3">
              <a:extLst>
                <a:ext uri="{FF2B5EF4-FFF2-40B4-BE49-F238E27FC236}">
                  <a16:creationId xmlns:a16="http://schemas.microsoft.com/office/drawing/2014/main" id="{F2941B70-D91D-4C75-BFF7-1270C637E3B3}"/>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4">
              <a:extLst>
                <a:ext uri="{FF2B5EF4-FFF2-40B4-BE49-F238E27FC236}">
                  <a16:creationId xmlns:a16="http://schemas.microsoft.com/office/drawing/2014/main" id="{742E4123-507B-45ED-A768-46E66F44845B}"/>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5">
              <a:extLst>
                <a:ext uri="{FF2B5EF4-FFF2-40B4-BE49-F238E27FC236}">
                  <a16:creationId xmlns:a16="http://schemas.microsoft.com/office/drawing/2014/main" id="{7D6CD4AA-C4C2-4281-8719-E87CFB8B5ADE}"/>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06">
              <a:extLst>
                <a:ext uri="{FF2B5EF4-FFF2-40B4-BE49-F238E27FC236}">
                  <a16:creationId xmlns:a16="http://schemas.microsoft.com/office/drawing/2014/main" id="{405B7AD1-EBA8-49BE-8591-69B42FBC5290}"/>
                </a:ext>
              </a:extLst>
            </p:cNvPr>
            <p:cNvSpPr>
              <a:spLocks noChangeArrowheads="1"/>
            </p:cNvSpPr>
            <p:nvPr/>
          </p:nvSpPr>
          <p:spPr bwMode="auto">
            <a:xfrm>
              <a:off x="955699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sp>
        <p:nvSpPr>
          <p:cNvPr id="2" name="Slide Number Placeholder 1">
            <a:extLst>
              <a:ext uri="{FF2B5EF4-FFF2-40B4-BE49-F238E27FC236}">
                <a16:creationId xmlns:a16="http://schemas.microsoft.com/office/drawing/2014/main" id="{7E62333F-EBF9-41D1-A893-2701ED1606C6}"/>
              </a:ext>
            </a:extLst>
          </p:cNvPr>
          <p:cNvSpPr>
            <a:spLocks noGrp="1"/>
          </p:cNvSpPr>
          <p:nvPr>
            <p:ph type="sldNum" sz="quarter" idx="16"/>
          </p:nvPr>
        </p:nvSpPr>
        <p:spPr/>
        <p:txBody>
          <a:bodyPr/>
          <a:lstStyle/>
          <a:p>
            <a:fld id="{5382645D-9DD6-408C-B0EA-C65795F9B1DE}" type="slidenum">
              <a:rPr lang="en-US" smtClean="0"/>
              <a:pPr/>
              <a:t>34</a:t>
            </a:fld>
            <a:endParaRPr lang="en-US"/>
          </a:p>
        </p:txBody>
      </p:sp>
      <p:sp>
        <p:nvSpPr>
          <p:cNvPr id="224" name="Footer Placeholder 223">
            <a:extLst>
              <a:ext uri="{FF2B5EF4-FFF2-40B4-BE49-F238E27FC236}">
                <a16:creationId xmlns:a16="http://schemas.microsoft.com/office/drawing/2014/main" id="{0BF2ECF1-2142-4986-8FA5-DFA286A2963F}"/>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10" name="Rectangle 12">
            <a:extLst>
              <a:ext uri="{FF2B5EF4-FFF2-40B4-BE49-F238E27FC236}">
                <a16:creationId xmlns:a16="http://schemas.microsoft.com/office/drawing/2014/main" id="{F38ED1E1-A115-44C3-BF06-E21A0A084C1E}"/>
              </a:ext>
            </a:extLst>
          </p:cNvPr>
          <p:cNvSpPr>
            <a:spLocks noChangeArrowheads="1"/>
          </p:cNvSpPr>
          <p:nvPr/>
        </p:nvSpPr>
        <p:spPr bwMode="auto">
          <a:xfrm>
            <a:off x="1323976" y="1606550"/>
            <a:ext cx="1160463"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6">
            <a:extLst>
              <a:ext uri="{FF2B5EF4-FFF2-40B4-BE49-F238E27FC236}">
                <a16:creationId xmlns:a16="http://schemas.microsoft.com/office/drawing/2014/main" id="{D860201D-2232-4673-9AA6-8ECDC0EB1CED}"/>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moveTo>
                  <a:pt x="1193" y="0"/>
                </a:moveTo>
                <a:lnTo>
                  <a:pt x="0" y="0"/>
                </a:lnTo>
                <a:lnTo>
                  <a:pt x="0" y="232"/>
                </a:lnTo>
                <a:lnTo>
                  <a:pt x="584" y="232"/>
                </a:lnTo>
                <a:lnTo>
                  <a:pt x="608" y="232"/>
                </a:lnTo>
                <a:lnTo>
                  <a:pt x="1193" y="232"/>
                </a:lnTo>
                <a:lnTo>
                  <a:pt x="1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oup 111">
            <a:extLst>
              <a:ext uri="{FF2B5EF4-FFF2-40B4-BE49-F238E27FC236}">
                <a16:creationId xmlns:a16="http://schemas.microsoft.com/office/drawing/2014/main" id="{B0E5610F-0115-4F40-A3B3-EE990AAF4E68}"/>
              </a:ext>
            </a:extLst>
          </p:cNvPr>
          <p:cNvGrpSpPr/>
          <p:nvPr/>
        </p:nvGrpSpPr>
        <p:grpSpPr>
          <a:xfrm>
            <a:off x="958851" y="4081575"/>
            <a:ext cx="1893888" cy="369888"/>
            <a:chOff x="958851" y="3832068"/>
            <a:chExt cx="1893888" cy="369888"/>
          </a:xfrm>
        </p:grpSpPr>
        <p:sp>
          <p:nvSpPr>
            <p:cNvPr id="116" name="Freeform 19">
              <a:extLst>
                <a:ext uri="{FF2B5EF4-FFF2-40B4-BE49-F238E27FC236}">
                  <a16:creationId xmlns:a16="http://schemas.microsoft.com/office/drawing/2014/main" id="{E0407B73-40F8-4952-BE3F-D9AE2658CADD}"/>
                </a:ext>
              </a:extLst>
            </p:cNvPr>
            <p:cNvSpPr>
              <a:spLocks noEditPoints="1"/>
            </p:cNvSpPr>
            <p:nvPr/>
          </p:nvSpPr>
          <p:spPr bwMode="auto">
            <a:xfrm>
              <a:off x="958851" y="3832068"/>
              <a:ext cx="1893888" cy="369888"/>
            </a:xfrm>
            <a:custGeom>
              <a:avLst/>
              <a:gdLst>
                <a:gd name="T0" fmla="*/ 1193 w 1193"/>
                <a:gd name="T1" fmla="*/ 233 h 233"/>
                <a:gd name="T2" fmla="*/ 0 w 1193"/>
                <a:gd name="T3" fmla="*/ 233 h 233"/>
                <a:gd name="T4" fmla="*/ 0 w 1193"/>
                <a:gd name="T5" fmla="*/ 0 h 233"/>
                <a:gd name="T6" fmla="*/ 1193 w 1193"/>
                <a:gd name="T7" fmla="*/ 0 h 233"/>
                <a:gd name="T8" fmla="*/ 1193 w 1193"/>
                <a:gd name="T9" fmla="*/ 233 h 233"/>
                <a:gd name="T10" fmla="*/ 24 w 1193"/>
                <a:gd name="T11" fmla="*/ 209 h 233"/>
                <a:gd name="T12" fmla="*/ 1169 w 1193"/>
                <a:gd name="T13" fmla="*/ 209 h 233"/>
                <a:gd name="T14" fmla="*/ 1169 w 1193"/>
                <a:gd name="T15" fmla="*/ 24 h 233"/>
                <a:gd name="T16" fmla="*/ 24 w 1193"/>
                <a:gd name="T17" fmla="*/ 24 h 233"/>
                <a:gd name="T18" fmla="*/ 24 w 1193"/>
                <a:gd name="T19" fmla="*/ 20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3" h="233">
                  <a:moveTo>
                    <a:pt x="1193" y="233"/>
                  </a:moveTo>
                  <a:lnTo>
                    <a:pt x="0" y="233"/>
                  </a:lnTo>
                  <a:lnTo>
                    <a:pt x="0" y="0"/>
                  </a:lnTo>
                  <a:lnTo>
                    <a:pt x="1193" y="0"/>
                  </a:lnTo>
                  <a:lnTo>
                    <a:pt x="1193" y="233"/>
                  </a:lnTo>
                  <a:close/>
                  <a:moveTo>
                    <a:pt x="24" y="209"/>
                  </a:moveTo>
                  <a:lnTo>
                    <a:pt x="1169" y="209"/>
                  </a:lnTo>
                  <a:lnTo>
                    <a:pt x="1169" y="24"/>
                  </a:lnTo>
                  <a:lnTo>
                    <a:pt x="24" y="24"/>
                  </a:lnTo>
                  <a:lnTo>
                    <a:pt x="24"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8">
              <a:extLst>
                <a:ext uri="{FF2B5EF4-FFF2-40B4-BE49-F238E27FC236}">
                  <a16:creationId xmlns:a16="http://schemas.microsoft.com/office/drawing/2014/main" id="{948DF273-46B4-4512-BF26-FF3EE08CB954}"/>
                </a:ext>
              </a:extLst>
            </p:cNvPr>
            <p:cNvSpPr>
              <a:spLocks noChangeArrowheads="1"/>
            </p:cNvSpPr>
            <p:nvPr/>
          </p:nvSpPr>
          <p:spPr bwMode="auto">
            <a:xfrm>
              <a:off x="1637293" y="3932000"/>
              <a:ext cx="5370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latin typeface="Arial" panose="020B0604020202020204" pitchFamily="34" charset="0"/>
                </a:rPr>
                <a:t>Buff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24" name="Group 123">
            <a:extLst>
              <a:ext uri="{FF2B5EF4-FFF2-40B4-BE49-F238E27FC236}">
                <a16:creationId xmlns:a16="http://schemas.microsoft.com/office/drawing/2014/main" id="{52FE5794-1583-48BA-A49A-CA75C4AD0C66}"/>
              </a:ext>
            </a:extLst>
          </p:cNvPr>
          <p:cNvGrpSpPr/>
          <p:nvPr/>
        </p:nvGrpSpPr>
        <p:grpSpPr>
          <a:xfrm>
            <a:off x="960438" y="1476375"/>
            <a:ext cx="1893888" cy="576263"/>
            <a:chOff x="960438" y="1476375"/>
            <a:chExt cx="1893888" cy="576263"/>
          </a:xfrm>
        </p:grpSpPr>
        <p:grpSp>
          <p:nvGrpSpPr>
            <p:cNvPr id="126" name="Group 125">
              <a:extLst>
                <a:ext uri="{FF2B5EF4-FFF2-40B4-BE49-F238E27FC236}">
                  <a16:creationId xmlns:a16="http://schemas.microsoft.com/office/drawing/2014/main" id="{92B77929-BFF6-4781-A359-B6C3A99FE020}"/>
                </a:ext>
              </a:extLst>
            </p:cNvPr>
            <p:cNvGrpSpPr/>
            <p:nvPr/>
          </p:nvGrpSpPr>
          <p:grpSpPr>
            <a:xfrm>
              <a:off x="960438" y="1476375"/>
              <a:ext cx="1893888" cy="576263"/>
              <a:chOff x="960438" y="1476375"/>
              <a:chExt cx="1893888" cy="576263"/>
            </a:xfrm>
          </p:grpSpPr>
          <p:sp>
            <p:nvSpPr>
              <p:cNvPr id="129" name="Freeform 11">
                <a:extLst>
                  <a:ext uri="{FF2B5EF4-FFF2-40B4-BE49-F238E27FC236}">
                    <a16:creationId xmlns:a16="http://schemas.microsoft.com/office/drawing/2014/main" id="{19CE666A-129D-4A47-906D-597DF43E2839}"/>
                  </a:ext>
                </a:extLst>
              </p:cNvPr>
              <p:cNvSpPr>
                <a:spLocks/>
              </p:cNvSpPr>
              <p:nvPr/>
            </p:nvSpPr>
            <p:spPr bwMode="auto">
              <a:xfrm>
                <a:off x="1817688" y="1844675"/>
                <a:ext cx="179388" cy="207963"/>
              </a:xfrm>
              <a:custGeom>
                <a:avLst/>
                <a:gdLst>
                  <a:gd name="T0" fmla="*/ 167 w 277"/>
                  <a:gd name="T1" fmla="*/ 0 h 322"/>
                  <a:gd name="T2" fmla="*/ 107 w 277"/>
                  <a:gd name="T3" fmla="*/ 0 h 322"/>
                  <a:gd name="T4" fmla="*/ 107 w 277"/>
                  <a:gd name="T5" fmla="*/ 211 h 322"/>
                  <a:gd name="T6" fmla="*/ 55 w 277"/>
                  <a:gd name="T7" fmla="*/ 150 h 322"/>
                  <a:gd name="T8" fmla="*/ 33 w 277"/>
                  <a:gd name="T9" fmla="*/ 140 h 322"/>
                  <a:gd name="T10" fmla="*/ 13 w 277"/>
                  <a:gd name="T11" fmla="*/ 147 h 322"/>
                  <a:gd name="T12" fmla="*/ 10 w 277"/>
                  <a:gd name="T13" fmla="*/ 189 h 322"/>
                  <a:gd name="T14" fmla="*/ 116 w 277"/>
                  <a:gd name="T15" fmla="*/ 311 h 322"/>
                  <a:gd name="T16" fmla="*/ 138 w 277"/>
                  <a:gd name="T17" fmla="*/ 322 h 322"/>
                  <a:gd name="T18" fmla="*/ 160 w 277"/>
                  <a:gd name="T19" fmla="*/ 311 h 322"/>
                  <a:gd name="T20" fmla="*/ 266 w 277"/>
                  <a:gd name="T21" fmla="*/ 189 h 322"/>
                  <a:gd name="T22" fmla="*/ 263 w 277"/>
                  <a:gd name="T23" fmla="*/ 147 h 322"/>
                  <a:gd name="T24" fmla="*/ 244 w 277"/>
                  <a:gd name="T25" fmla="*/ 140 h 322"/>
                  <a:gd name="T26" fmla="*/ 221 w 277"/>
                  <a:gd name="T27" fmla="*/ 150 h 322"/>
                  <a:gd name="T28" fmla="*/ 167 w 277"/>
                  <a:gd name="T29" fmla="*/ 214 h 322"/>
                  <a:gd name="T30" fmla="*/ 167 w 277"/>
                  <a:gd name="T3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2">
                    <a:moveTo>
                      <a:pt x="167" y="0"/>
                    </a:moveTo>
                    <a:cubicBezTo>
                      <a:pt x="107" y="0"/>
                      <a:pt x="107" y="0"/>
                      <a:pt x="107" y="0"/>
                    </a:cubicBezTo>
                    <a:cubicBezTo>
                      <a:pt x="107" y="211"/>
                      <a:pt x="107" y="211"/>
                      <a:pt x="107" y="211"/>
                    </a:cubicBezTo>
                    <a:cubicBezTo>
                      <a:pt x="55" y="150"/>
                      <a:pt x="55" y="150"/>
                      <a:pt x="55" y="150"/>
                    </a:cubicBezTo>
                    <a:cubicBezTo>
                      <a:pt x="49" y="144"/>
                      <a:pt x="41" y="140"/>
                      <a:pt x="33" y="140"/>
                    </a:cubicBezTo>
                    <a:cubicBezTo>
                      <a:pt x="26" y="140"/>
                      <a:pt x="19" y="142"/>
                      <a:pt x="13" y="147"/>
                    </a:cubicBezTo>
                    <a:cubicBezTo>
                      <a:pt x="1" y="158"/>
                      <a:pt x="0" y="177"/>
                      <a:pt x="10" y="189"/>
                    </a:cubicBezTo>
                    <a:cubicBezTo>
                      <a:pt x="116" y="311"/>
                      <a:pt x="116" y="311"/>
                      <a:pt x="116" y="311"/>
                    </a:cubicBezTo>
                    <a:cubicBezTo>
                      <a:pt x="121" y="318"/>
                      <a:pt x="130" y="322"/>
                      <a:pt x="138" y="322"/>
                    </a:cubicBezTo>
                    <a:cubicBezTo>
                      <a:pt x="147" y="322"/>
                      <a:pt x="155" y="318"/>
                      <a:pt x="160" y="311"/>
                    </a:cubicBezTo>
                    <a:cubicBezTo>
                      <a:pt x="266" y="189"/>
                      <a:pt x="266" y="189"/>
                      <a:pt x="266" y="189"/>
                    </a:cubicBezTo>
                    <a:cubicBezTo>
                      <a:pt x="277" y="177"/>
                      <a:pt x="275" y="158"/>
                      <a:pt x="263" y="147"/>
                    </a:cubicBezTo>
                    <a:cubicBezTo>
                      <a:pt x="257" y="142"/>
                      <a:pt x="251" y="140"/>
                      <a:pt x="244" y="140"/>
                    </a:cubicBezTo>
                    <a:cubicBezTo>
                      <a:pt x="235" y="140"/>
                      <a:pt x="227" y="144"/>
                      <a:pt x="221" y="150"/>
                    </a:cubicBezTo>
                    <a:cubicBezTo>
                      <a:pt x="167" y="214"/>
                      <a:pt x="167" y="214"/>
                      <a:pt x="167" y="214"/>
                    </a:cubicBezTo>
                    <a:cubicBezTo>
                      <a:pt x="167" y="0"/>
                      <a:pt x="167" y="0"/>
                      <a:pt x="167"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15">
                <a:extLst>
                  <a:ext uri="{FF2B5EF4-FFF2-40B4-BE49-F238E27FC236}">
                    <a16:creationId xmlns:a16="http://schemas.microsoft.com/office/drawing/2014/main" id="{19C4EA59-D634-4988-9E9D-FB19DDE13426}"/>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close/>
                    <a:moveTo>
                      <a:pt x="1193" y="0"/>
                    </a:moveTo>
                    <a:lnTo>
                      <a:pt x="0" y="0"/>
                    </a:lnTo>
                    <a:lnTo>
                      <a:pt x="0" y="232"/>
                    </a:lnTo>
                    <a:lnTo>
                      <a:pt x="584" y="232"/>
                    </a:lnTo>
                    <a:lnTo>
                      <a:pt x="608" y="232"/>
                    </a:lnTo>
                    <a:lnTo>
                      <a:pt x="1193" y="232"/>
                    </a:lnTo>
                    <a:lnTo>
                      <a:pt x="119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7" name="Rectangle 14">
              <a:extLst>
                <a:ext uri="{FF2B5EF4-FFF2-40B4-BE49-F238E27FC236}">
                  <a16:creationId xmlns:a16="http://schemas.microsoft.com/office/drawing/2014/main" id="{9B52C607-FAC9-428B-BAA5-55C1CC602BF0}"/>
                </a:ext>
              </a:extLst>
            </p:cNvPr>
            <p:cNvSpPr>
              <a:spLocks noChangeArrowheads="1"/>
            </p:cNvSpPr>
            <p:nvPr/>
          </p:nvSpPr>
          <p:spPr bwMode="auto">
            <a:xfrm>
              <a:off x="1316547" y="1574720"/>
              <a:ext cx="11816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a:t>W</a:t>
              </a:r>
              <a:r>
                <a:rPr kumimoji="0" lang="en-US" altLang="en-US" sz="1200" b="1" i="0" u="none" strike="noStrike" cap="none" normalizeH="0" baseline="0">
                  <a:ln>
                    <a:noFill/>
                  </a:ln>
                  <a:effectLst/>
                  <a:latin typeface="Arial" panose="020B0604020202020204" pitchFamily="34" charset="0"/>
                </a:rPr>
                <a:t>ind Direction?</a:t>
              </a:r>
              <a:endParaRPr kumimoji="0" lang="en-US" altLang="en-US" sz="1800" b="0" i="0" u="none" strike="noStrike" cap="none" normalizeH="0" baseline="0">
                <a:ln>
                  <a:noFill/>
                </a:ln>
                <a:effectLst/>
                <a:latin typeface="Arial" panose="020B0604020202020204" pitchFamily="34" charset="0"/>
              </a:endParaRPr>
            </a:p>
          </p:txBody>
        </p:sp>
      </p:grpSp>
      <p:sp>
        <p:nvSpPr>
          <p:cNvPr id="151" name="TextBox 150">
            <a:extLst>
              <a:ext uri="{FF2B5EF4-FFF2-40B4-BE49-F238E27FC236}">
                <a16:creationId xmlns:a16="http://schemas.microsoft.com/office/drawing/2014/main" id="{4D63401F-76B0-4F0F-AC55-FA09FCEDC5BE}"/>
              </a:ext>
            </a:extLst>
          </p:cNvPr>
          <p:cNvSpPr txBox="1"/>
          <p:nvPr/>
        </p:nvSpPr>
        <p:spPr>
          <a:xfrm>
            <a:off x="888984" y="3571546"/>
            <a:ext cx="2037145" cy="369332"/>
          </a:xfrm>
          <a:prstGeom prst="rect">
            <a:avLst/>
          </a:prstGeom>
          <a:noFill/>
        </p:spPr>
        <p:txBody>
          <a:bodyPr wrap="square" rtlCol="0">
            <a:spAutoFit/>
          </a:bodyPr>
          <a:lstStyle/>
          <a:p>
            <a:pPr algn="ctr"/>
            <a:r>
              <a:rPr lang="en-US">
                <a:solidFill>
                  <a:schemeClr val="accent6"/>
                </a:solidFill>
                <a:latin typeface="+mj-lt"/>
              </a:rPr>
              <a:t>SPRAY</a:t>
            </a:r>
          </a:p>
        </p:txBody>
      </p:sp>
      <p:sp>
        <p:nvSpPr>
          <p:cNvPr id="152" name="Rectangle 151">
            <a:extLst>
              <a:ext uri="{FF2B5EF4-FFF2-40B4-BE49-F238E27FC236}">
                <a16:creationId xmlns:a16="http://schemas.microsoft.com/office/drawing/2014/main" id="{9F280B1A-D927-42C8-A0EF-75D03ED13ED2}"/>
              </a:ext>
            </a:extLst>
          </p:cNvPr>
          <p:cNvSpPr/>
          <p:nvPr/>
        </p:nvSpPr>
        <p:spPr>
          <a:xfrm>
            <a:off x="683288" y="1346479"/>
            <a:ext cx="2451798" cy="2604809"/>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0B17F2C5-8BAB-486F-B0FC-D5DEACC827DC}"/>
              </a:ext>
            </a:extLst>
          </p:cNvPr>
          <p:cNvPicPr>
            <a:picLocks noChangeAspect="1"/>
          </p:cNvPicPr>
          <p:nvPr/>
        </p:nvPicPr>
        <p:blipFill>
          <a:blip r:embed="rId3"/>
          <a:stretch>
            <a:fillRect/>
          </a:stretch>
        </p:blipFill>
        <p:spPr>
          <a:xfrm>
            <a:off x="914400" y="6337268"/>
            <a:ext cx="1171575" cy="495300"/>
          </a:xfrm>
          <a:prstGeom prst="rect">
            <a:avLst/>
          </a:prstGeom>
        </p:spPr>
      </p:pic>
      <p:pic>
        <p:nvPicPr>
          <p:cNvPr id="117" name="Picture 116">
            <a:extLst>
              <a:ext uri="{FF2B5EF4-FFF2-40B4-BE49-F238E27FC236}">
                <a16:creationId xmlns:a16="http://schemas.microsoft.com/office/drawing/2014/main" id="{0C953AAF-CC63-461F-A33D-721CEF9E51B7}"/>
              </a:ext>
            </a:extLst>
          </p:cNvPr>
          <p:cNvPicPr>
            <a:picLocks noChangeAspect="1"/>
          </p:cNvPicPr>
          <p:nvPr/>
        </p:nvPicPr>
        <p:blipFill>
          <a:blip r:embed="rId4"/>
          <a:stretch>
            <a:fillRect/>
          </a:stretch>
        </p:blipFill>
        <p:spPr>
          <a:xfrm>
            <a:off x="838200" y="6393164"/>
            <a:ext cx="1333500" cy="378995"/>
          </a:xfrm>
          <a:prstGeom prst="rect">
            <a:avLst/>
          </a:prstGeom>
        </p:spPr>
      </p:pic>
      <p:sp>
        <p:nvSpPr>
          <p:cNvPr id="134" name="Rectangle 106">
            <a:extLst>
              <a:ext uri="{FF2B5EF4-FFF2-40B4-BE49-F238E27FC236}">
                <a16:creationId xmlns:a16="http://schemas.microsoft.com/office/drawing/2014/main" id="{27F30433-025A-4E60-A055-1F63F0976041}"/>
              </a:ext>
            </a:extLst>
          </p:cNvPr>
          <p:cNvSpPr>
            <a:spLocks noChangeArrowheads="1"/>
          </p:cNvSpPr>
          <p:nvPr/>
        </p:nvSpPr>
        <p:spPr bwMode="auto">
          <a:xfrm>
            <a:off x="7173043" y="217034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35" name="Rectangle 106">
            <a:extLst>
              <a:ext uri="{FF2B5EF4-FFF2-40B4-BE49-F238E27FC236}">
                <a16:creationId xmlns:a16="http://schemas.microsoft.com/office/drawing/2014/main" id="{4CB91F67-8577-4BF5-817B-B8C876B38616}"/>
              </a:ext>
            </a:extLst>
          </p:cNvPr>
          <p:cNvSpPr>
            <a:spLocks noChangeArrowheads="1"/>
          </p:cNvSpPr>
          <p:nvPr/>
        </p:nvSpPr>
        <p:spPr bwMode="auto">
          <a:xfrm>
            <a:off x="4374713" y="4122063"/>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sp>
        <p:nvSpPr>
          <p:cNvPr id="137" name="Rectangle 106">
            <a:extLst>
              <a:ext uri="{FF2B5EF4-FFF2-40B4-BE49-F238E27FC236}">
                <a16:creationId xmlns:a16="http://schemas.microsoft.com/office/drawing/2014/main" id="{20D872F0-AF3A-4371-BA66-C80D00ADDE3F}"/>
              </a:ext>
            </a:extLst>
          </p:cNvPr>
          <p:cNvSpPr>
            <a:spLocks noChangeArrowheads="1"/>
          </p:cNvSpPr>
          <p:nvPr/>
        </p:nvSpPr>
        <p:spPr bwMode="auto">
          <a:xfrm>
            <a:off x="4328814" y="1994367"/>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sp>
        <p:nvSpPr>
          <p:cNvPr id="139" name="Rectangle 106">
            <a:extLst>
              <a:ext uri="{FF2B5EF4-FFF2-40B4-BE49-F238E27FC236}">
                <a16:creationId xmlns:a16="http://schemas.microsoft.com/office/drawing/2014/main" id="{86F76A32-1709-4F30-8CFD-C08FD8509310}"/>
              </a:ext>
            </a:extLst>
          </p:cNvPr>
          <p:cNvSpPr>
            <a:spLocks noChangeArrowheads="1"/>
          </p:cNvSpPr>
          <p:nvPr/>
        </p:nvSpPr>
        <p:spPr bwMode="auto">
          <a:xfrm>
            <a:off x="3574818" y="6033669"/>
            <a:ext cx="767004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BUFFER COMPOSITION IS 240’. MAY BE REDUCED WHEN UTILIZING QUALIFIED DRT.</a:t>
            </a:r>
          </a:p>
        </p:txBody>
      </p:sp>
      <p:sp>
        <p:nvSpPr>
          <p:cNvPr id="62" name="Rectangle 41">
            <a:extLst>
              <a:ext uri="{FF2B5EF4-FFF2-40B4-BE49-F238E27FC236}">
                <a16:creationId xmlns:a16="http://schemas.microsoft.com/office/drawing/2014/main" id="{9D68A9CC-C900-4C00-A8DC-4A66271B0B16}"/>
              </a:ext>
            </a:extLst>
          </p:cNvPr>
          <p:cNvSpPr>
            <a:spLocks noChangeArrowheads="1"/>
          </p:cNvSpPr>
          <p:nvPr/>
        </p:nvSpPr>
        <p:spPr bwMode="auto">
          <a:xfrm>
            <a:off x="6653772" y="3573658"/>
            <a:ext cx="155747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dirty="0">
                <a:solidFill>
                  <a:schemeClr val="bg1"/>
                </a:solidFill>
                <a:latin typeface="Arial Narrow"/>
              </a:rPr>
              <a:t>DICAMBA</a:t>
            </a:r>
            <a:endParaRPr lang="en-US" dirty="0">
              <a:solidFill>
                <a:schemeClr val="bg1"/>
              </a:solidFill>
            </a:endParaRPr>
          </a:p>
          <a:p>
            <a:pPr algn="ctr">
              <a:spcBef>
                <a:spcPts val="0"/>
              </a:spcBef>
              <a:spcAft>
                <a:spcPts val="0"/>
              </a:spcAft>
              <a:defRPr/>
            </a:pPr>
            <a:r>
              <a:rPr lang="en-US" altLang="en-US" sz="1400" b="1" kern="0" spc="140" dirty="0">
                <a:solidFill>
                  <a:schemeClr val="bg1"/>
                </a:solidFill>
                <a:latin typeface="Arial Narrow"/>
              </a:rPr>
              <a:t>TOLERANT CROP</a:t>
            </a:r>
            <a:endParaRPr lang="en-US" dirty="0">
              <a:solidFill>
                <a:schemeClr val="bg1"/>
              </a:solidFill>
            </a:endParaRPr>
          </a:p>
          <a:p>
            <a:pPr algn="ctr" eaLnBrk="1" fontAlgn="auto" hangingPunct="1">
              <a:spcBef>
                <a:spcPts val="0"/>
              </a:spcBef>
              <a:spcAft>
                <a:spcPts val="0"/>
              </a:spcAft>
              <a:defRPr/>
            </a:pPr>
            <a:r>
              <a:rPr lang="en-US" altLang="en-US" sz="1400" b="1" kern="0" spc="140" dirty="0">
                <a:solidFill>
                  <a:schemeClr val="bg1"/>
                </a:solidFill>
                <a:latin typeface="Arial Narrow"/>
              </a:rPr>
              <a:t>APPROVED APPLICATION</a:t>
            </a:r>
          </a:p>
        </p:txBody>
      </p:sp>
      <p:grpSp>
        <p:nvGrpSpPr>
          <p:cNvPr id="8" name="Group 7">
            <a:extLst>
              <a:ext uri="{FF2B5EF4-FFF2-40B4-BE49-F238E27FC236}">
                <a16:creationId xmlns:a16="http://schemas.microsoft.com/office/drawing/2014/main" id="{F613A37F-54D9-4A4E-BAF9-F342DB6317F0}"/>
              </a:ext>
            </a:extLst>
          </p:cNvPr>
          <p:cNvGrpSpPr/>
          <p:nvPr/>
        </p:nvGrpSpPr>
        <p:grpSpPr>
          <a:xfrm>
            <a:off x="5876014" y="2665172"/>
            <a:ext cx="2624256" cy="2618028"/>
            <a:chOff x="5876014" y="2665172"/>
            <a:chExt cx="2624256" cy="2618028"/>
          </a:xfrm>
        </p:grpSpPr>
        <p:sp>
          <p:nvSpPr>
            <p:cNvPr id="7" name="Rectangle 6">
              <a:extLst>
                <a:ext uri="{FF2B5EF4-FFF2-40B4-BE49-F238E27FC236}">
                  <a16:creationId xmlns:a16="http://schemas.microsoft.com/office/drawing/2014/main" id="{AF6891A5-5902-4A69-B51C-BDC531D8089B}"/>
                </a:ext>
              </a:extLst>
            </p:cNvPr>
            <p:cNvSpPr/>
            <p:nvPr/>
          </p:nvSpPr>
          <p:spPr>
            <a:xfrm>
              <a:off x="5876014" y="3136900"/>
              <a:ext cx="424774" cy="2146300"/>
            </a:xfrm>
            <a:prstGeom prst="rect">
              <a:avLst/>
            </a:prstGeom>
            <a:pattFill prst="wdUpDiag">
              <a:fgClr>
                <a:schemeClr val="bg1"/>
              </a:fgClr>
              <a:bgClr>
                <a:schemeClr val="bg1">
                  <a:lumMod val="75000"/>
                </a:schemeClr>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106">
              <a:extLst>
                <a:ext uri="{FF2B5EF4-FFF2-40B4-BE49-F238E27FC236}">
                  <a16:creationId xmlns:a16="http://schemas.microsoft.com/office/drawing/2014/main" id="{A7828482-0EDC-4BCA-B422-A77AA61EBF19}"/>
                </a:ext>
              </a:extLst>
            </p:cNvPr>
            <p:cNvSpPr>
              <a:spLocks noChangeArrowheads="1"/>
            </p:cNvSpPr>
            <p:nvPr/>
          </p:nvSpPr>
          <p:spPr bwMode="auto">
            <a:xfrm rot="16200000">
              <a:off x="5812562" y="4120404"/>
              <a:ext cx="601126" cy="153888"/>
            </a:xfrm>
            <a:prstGeom prst="rect">
              <a:avLst/>
            </a:prstGeom>
            <a:solidFill>
              <a:schemeClr val="bg1">
                <a:lumMod val="75000"/>
              </a:schemeClr>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spc="150" normalizeH="0">
                  <a:ln>
                    <a:noFill/>
                  </a:ln>
                  <a:effectLst/>
                  <a:latin typeface="Arial Narrow" panose="020B0606020202030204" pitchFamily="34" charset="0"/>
                </a:rPr>
                <a:t>BUFFER*</a:t>
              </a:r>
              <a:endParaRPr kumimoji="0" lang="en-US" altLang="en-US" sz="1100" b="0" i="0" u="none" strike="noStrike" cap="none" spc="150" normalizeH="0">
                <a:ln>
                  <a:noFill/>
                </a:ln>
                <a:effectLst/>
              </a:endParaRPr>
            </a:p>
          </p:txBody>
        </p:sp>
        <p:sp>
          <p:nvSpPr>
            <p:cNvPr id="64" name="Rectangle 63">
              <a:extLst>
                <a:ext uri="{FF2B5EF4-FFF2-40B4-BE49-F238E27FC236}">
                  <a16:creationId xmlns:a16="http://schemas.microsoft.com/office/drawing/2014/main" id="{851FD3BE-8EB0-43B1-87E8-696A2340D7B9}"/>
                </a:ext>
              </a:extLst>
            </p:cNvPr>
            <p:cNvSpPr/>
            <p:nvPr/>
          </p:nvSpPr>
          <p:spPr>
            <a:xfrm rot="16200000">
              <a:off x="7212353" y="1802031"/>
              <a:ext cx="424774" cy="2151061"/>
            </a:xfrm>
            <a:prstGeom prst="rect">
              <a:avLst/>
            </a:prstGeom>
            <a:pattFill prst="wdUpDiag">
              <a:fgClr>
                <a:schemeClr val="bg1"/>
              </a:fgClr>
              <a:bgClr>
                <a:schemeClr val="bg1">
                  <a:lumMod val="75000"/>
                </a:schemeClr>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C4349DFD-3E03-4337-AE13-74A1CF3D89D0}"/>
                </a:ext>
              </a:extLst>
            </p:cNvPr>
            <p:cNvSpPr/>
            <p:nvPr/>
          </p:nvSpPr>
          <p:spPr>
            <a:xfrm rot="16200000">
              <a:off x="5878400" y="2662787"/>
              <a:ext cx="420005" cy="424775"/>
            </a:xfrm>
            <a:prstGeom prst="rect">
              <a:avLst/>
            </a:prstGeom>
            <a:pattFill prst="wdUpDiag">
              <a:fgClr>
                <a:schemeClr val="bg1"/>
              </a:fgClr>
              <a:bgClr>
                <a:schemeClr val="bg1">
                  <a:lumMod val="75000"/>
                </a:schemeClr>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106">
              <a:extLst>
                <a:ext uri="{FF2B5EF4-FFF2-40B4-BE49-F238E27FC236}">
                  <a16:creationId xmlns:a16="http://schemas.microsoft.com/office/drawing/2014/main" id="{D8C0F2F8-6A83-4CF0-9829-2D938A111AEE}"/>
                </a:ext>
              </a:extLst>
            </p:cNvPr>
            <p:cNvSpPr>
              <a:spLocks noChangeArrowheads="1"/>
            </p:cNvSpPr>
            <p:nvPr/>
          </p:nvSpPr>
          <p:spPr bwMode="auto">
            <a:xfrm>
              <a:off x="7129113" y="2794125"/>
              <a:ext cx="601126" cy="153888"/>
            </a:xfrm>
            <a:prstGeom prst="rect">
              <a:avLst/>
            </a:prstGeom>
            <a:solidFill>
              <a:schemeClr val="bg1">
                <a:lumMod val="75000"/>
              </a:schemeClr>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spc="150" normalizeH="0">
                  <a:ln>
                    <a:noFill/>
                  </a:ln>
                  <a:effectLst/>
                  <a:latin typeface="Arial Narrow" panose="020B0606020202030204" pitchFamily="34" charset="0"/>
                </a:rPr>
                <a:t>BUFFER*</a:t>
              </a:r>
              <a:endParaRPr kumimoji="0" lang="en-US" altLang="en-US" sz="1100" b="0" i="0" u="none" strike="noStrike" cap="none" spc="150" normalizeH="0">
                <a:ln>
                  <a:noFill/>
                </a:ln>
                <a:effectLst/>
              </a:endParaRPr>
            </a:p>
          </p:txBody>
        </p:sp>
      </p:grpSp>
    </p:spTree>
    <p:extLst>
      <p:ext uri="{BB962C8B-B14F-4D97-AF65-F5344CB8AC3E}">
        <p14:creationId xmlns:p14="http://schemas.microsoft.com/office/powerpoint/2010/main" val="44683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anim calcmode="lin" valueType="num">
                                      <p:cBhvr>
                                        <p:cTn id="8" dur="500" fill="hold"/>
                                        <p:tgtEl>
                                          <p:spTgt spid="131"/>
                                        </p:tgtEl>
                                        <p:attrNameLst>
                                          <p:attrName>ppt_x</p:attrName>
                                        </p:attrNameLst>
                                      </p:cBhvr>
                                      <p:tavLst>
                                        <p:tav tm="0">
                                          <p:val>
                                            <p:strVal val="#ppt_x"/>
                                          </p:val>
                                        </p:tav>
                                        <p:tav tm="100000">
                                          <p:val>
                                            <p:strVal val="#ppt_x"/>
                                          </p:val>
                                        </p:tav>
                                      </p:tavLst>
                                    </p:anim>
                                    <p:anim calcmode="lin" valueType="num">
                                      <p:cBhvr>
                                        <p:cTn id="9" dur="500" fill="hold"/>
                                        <p:tgtEl>
                                          <p:spTgt spid="131"/>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51"/>
                                        </p:tgtEl>
                                        <p:attrNameLst>
                                          <p:attrName>style.visibility</p:attrName>
                                        </p:attrNameLst>
                                      </p:cBhvr>
                                      <p:to>
                                        <p:strVal val="visible"/>
                                      </p:to>
                                    </p:set>
                                    <p:animEffect transition="in" filter="fade">
                                      <p:cBhvr>
                                        <p:cTn id="13" dur="500"/>
                                        <p:tgtEl>
                                          <p:spTgt spid="1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2"/>
                                        </p:tgtEl>
                                        <p:attrNameLst>
                                          <p:attrName>style.visibility</p:attrName>
                                        </p:attrNameLst>
                                      </p:cBhvr>
                                      <p:to>
                                        <p:strVal val="visible"/>
                                      </p:to>
                                    </p:set>
                                    <p:animEffect transition="in" filter="fade">
                                      <p:cBhvr>
                                        <p:cTn id="18" dur="500"/>
                                        <p:tgtEl>
                                          <p:spTgt spid="1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2"/>
                                        </p:tgtEl>
                                        <p:attrNameLst>
                                          <p:attrName>style.visibility</p:attrName>
                                        </p:attrNameLst>
                                      </p:cBhvr>
                                      <p:to>
                                        <p:strVal val="visible"/>
                                      </p:to>
                                    </p:set>
                                    <p:animEffect transition="in" filter="fade">
                                      <p:cBhvr>
                                        <p:cTn id="21" dur="500"/>
                                        <p:tgtEl>
                                          <p:spTgt spid="152"/>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139"/>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p:bldP spid="152" grpId="0" animBg="1"/>
      <p:bldP spid="13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9">
            <a:extLst>
              <a:ext uri="{FF2B5EF4-FFF2-40B4-BE49-F238E27FC236}">
                <a16:creationId xmlns:a16="http://schemas.microsoft.com/office/drawing/2014/main" id="{A36E3E8E-88CB-4A09-98E3-9964CDE19661}"/>
              </a:ext>
            </a:extLst>
          </p:cNvPr>
          <p:cNvSpPr>
            <a:spLocks noChangeArrowheads="1"/>
          </p:cNvSpPr>
          <p:nvPr/>
        </p:nvSpPr>
        <p:spPr bwMode="auto">
          <a:xfrm>
            <a:off x="3459163" y="1470025"/>
            <a:ext cx="2841625"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Rectangle 106">
            <a:extLst>
              <a:ext uri="{FF2B5EF4-FFF2-40B4-BE49-F238E27FC236}">
                <a16:creationId xmlns:a16="http://schemas.microsoft.com/office/drawing/2014/main" id="{8027A05B-F798-4814-8637-112E91BA5ED9}"/>
              </a:ext>
            </a:extLst>
          </p:cNvPr>
          <p:cNvSpPr>
            <a:spLocks noChangeArrowheads="1"/>
          </p:cNvSpPr>
          <p:nvPr/>
        </p:nvSpPr>
        <p:spPr bwMode="auto">
          <a:xfrm>
            <a:off x="4326588" y="1995243"/>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grpSp>
        <p:nvGrpSpPr>
          <p:cNvPr id="162" name="Group 161">
            <a:extLst>
              <a:ext uri="{FF2B5EF4-FFF2-40B4-BE49-F238E27FC236}">
                <a16:creationId xmlns:a16="http://schemas.microsoft.com/office/drawing/2014/main" id="{8D311116-21C6-47AE-9883-64FEF5F425D2}"/>
              </a:ext>
            </a:extLst>
          </p:cNvPr>
          <p:cNvGrpSpPr>
            <a:grpSpLocks noChangeAspect="1"/>
          </p:cNvGrpSpPr>
          <p:nvPr/>
        </p:nvGrpSpPr>
        <p:grpSpPr>
          <a:xfrm>
            <a:off x="1405604" y="2621714"/>
            <a:ext cx="656906" cy="658368"/>
            <a:chOff x="-1143000" y="-2349500"/>
            <a:chExt cx="2139950" cy="2144712"/>
          </a:xfrm>
        </p:grpSpPr>
        <p:sp>
          <p:nvSpPr>
            <p:cNvPr id="164" name="Oval 163">
              <a:extLst>
                <a:ext uri="{FF2B5EF4-FFF2-40B4-BE49-F238E27FC236}">
                  <a16:creationId xmlns:a16="http://schemas.microsoft.com/office/drawing/2014/main" id="{B3A8495F-6775-4E9F-8342-F67571457F94}"/>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a:extLst>
                <a:ext uri="{FF2B5EF4-FFF2-40B4-BE49-F238E27FC236}">
                  <a16:creationId xmlns:a16="http://schemas.microsoft.com/office/drawing/2014/main" id="{3C738627-9F01-49B8-B608-798FCE03D491}"/>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7">
            <a:extLst>
              <a:ext uri="{FF2B5EF4-FFF2-40B4-BE49-F238E27FC236}">
                <a16:creationId xmlns:a16="http://schemas.microsoft.com/office/drawing/2014/main" id="{CA2AF3D2-18F4-4009-825D-6406F7F498A0}"/>
              </a:ext>
            </a:extLst>
          </p:cNvPr>
          <p:cNvSpPr>
            <a:spLocks noChangeArrowheads="1"/>
          </p:cNvSpPr>
          <p:nvPr/>
        </p:nvSpPr>
        <p:spPr bwMode="auto">
          <a:xfrm>
            <a:off x="6351588" y="1470025"/>
            <a:ext cx="2151063"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687D2E7-519B-4617-B559-0ED168573FC3}"/>
              </a:ext>
            </a:extLst>
          </p:cNvPr>
          <p:cNvSpPr>
            <a:spLocks/>
          </p:cNvSpPr>
          <p:nvPr/>
        </p:nvSpPr>
        <p:spPr bwMode="auto">
          <a:xfrm>
            <a:off x="8555038" y="1470025"/>
            <a:ext cx="2706688" cy="3124200"/>
          </a:xfrm>
          <a:custGeom>
            <a:avLst/>
            <a:gdLst>
              <a:gd name="T0" fmla="*/ 0 w 1705"/>
              <a:gd name="T1" fmla="*/ 1968 h 1968"/>
              <a:gd name="T2" fmla="*/ 1705 w 1705"/>
              <a:gd name="T3" fmla="*/ 1220 h 1968"/>
              <a:gd name="T4" fmla="*/ 1705 w 1705"/>
              <a:gd name="T5" fmla="*/ 0 h 1968"/>
              <a:gd name="T6" fmla="*/ 0 w 1705"/>
              <a:gd name="T7" fmla="*/ 0 h 1968"/>
              <a:gd name="T8" fmla="*/ 0 w 1705"/>
              <a:gd name="T9" fmla="*/ 1968 h 1968"/>
            </a:gdLst>
            <a:ahLst/>
            <a:cxnLst>
              <a:cxn ang="0">
                <a:pos x="T0" y="T1"/>
              </a:cxn>
              <a:cxn ang="0">
                <a:pos x="T2" y="T3"/>
              </a:cxn>
              <a:cxn ang="0">
                <a:pos x="T4" y="T5"/>
              </a:cxn>
              <a:cxn ang="0">
                <a:pos x="T6" y="T7"/>
              </a:cxn>
              <a:cxn ang="0">
                <a:pos x="T8" y="T9"/>
              </a:cxn>
            </a:cxnLst>
            <a:rect l="0" t="0" r="r" b="b"/>
            <a:pathLst>
              <a:path w="1705" h="1968">
                <a:moveTo>
                  <a:pt x="0" y="1968"/>
                </a:moveTo>
                <a:lnTo>
                  <a:pt x="1705" y="1220"/>
                </a:lnTo>
                <a:lnTo>
                  <a:pt x="1705" y="0"/>
                </a:lnTo>
                <a:lnTo>
                  <a:pt x="0" y="0"/>
                </a:lnTo>
                <a:lnTo>
                  <a:pt x="0" y="19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7B96F78D-65F1-49A6-9A12-F72E0AD74375}"/>
              </a:ext>
            </a:extLst>
          </p:cNvPr>
          <p:cNvSpPr>
            <a:spLocks/>
          </p:cNvSpPr>
          <p:nvPr/>
        </p:nvSpPr>
        <p:spPr bwMode="auto">
          <a:xfrm>
            <a:off x="6351588" y="3136900"/>
            <a:ext cx="2151063" cy="2146300"/>
          </a:xfrm>
          <a:custGeom>
            <a:avLst/>
            <a:gdLst>
              <a:gd name="T0" fmla="*/ 0 w 1355"/>
              <a:gd name="T1" fmla="*/ 0 h 1352"/>
              <a:gd name="T2" fmla="*/ 0 w 1355"/>
              <a:gd name="T3" fmla="*/ 1352 h 1352"/>
              <a:gd name="T4" fmla="*/ 391 w 1355"/>
              <a:gd name="T5" fmla="*/ 1352 h 1352"/>
              <a:gd name="T6" fmla="*/ 1355 w 1355"/>
              <a:gd name="T7" fmla="*/ 932 h 1352"/>
              <a:gd name="T8" fmla="*/ 1355 w 1355"/>
              <a:gd name="T9" fmla="*/ 0 h 1352"/>
              <a:gd name="T10" fmla="*/ 0 w 1355"/>
              <a:gd name="T11" fmla="*/ 0 h 1352"/>
            </a:gdLst>
            <a:ahLst/>
            <a:cxnLst>
              <a:cxn ang="0">
                <a:pos x="T0" y="T1"/>
              </a:cxn>
              <a:cxn ang="0">
                <a:pos x="T2" y="T3"/>
              </a:cxn>
              <a:cxn ang="0">
                <a:pos x="T4" y="T5"/>
              </a:cxn>
              <a:cxn ang="0">
                <a:pos x="T6" y="T7"/>
              </a:cxn>
              <a:cxn ang="0">
                <a:pos x="T8" y="T9"/>
              </a:cxn>
              <a:cxn ang="0">
                <a:pos x="T10" y="T11"/>
              </a:cxn>
            </a:cxnLst>
            <a:rect l="0" t="0" r="r" b="b"/>
            <a:pathLst>
              <a:path w="1355" h="1352">
                <a:moveTo>
                  <a:pt x="0" y="0"/>
                </a:moveTo>
                <a:lnTo>
                  <a:pt x="0" y="1352"/>
                </a:lnTo>
                <a:lnTo>
                  <a:pt x="391" y="1352"/>
                </a:lnTo>
                <a:lnTo>
                  <a:pt x="1355" y="932"/>
                </a:lnTo>
                <a:lnTo>
                  <a:pt x="1355" y="0"/>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1DE99310-1D53-4A9E-BAC4-03BC1E2D9111}"/>
              </a:ext>
            </a:extLst>
          </p:cNvPr>
          <p:cNvSpPr>
            <a:spLocks/>
          </p:cNvSpPr>
          <p:nvPr/>
        </p:nvSpPr>
        <p:spPr bwMode="auto">
          <a:xfrm>
            <a:off x="6361113" y="4122738"/>
            <a:ext cx="3390900" cy="1843088"/>
          </a:xfrm>
          <a:custGeom>
            <a:avLst/>
            <a:gdLst>
              <a:gd name="T0" fmla="*/ 2136 w 2136"/>
              <a:gd name="T1" fmla="*/ 0 h 1161"/>
              <a:gd name="T2" fmla="*/ 401 w 2136"/>
              <a:gd name="T3" fmla="*/ 761 h 1161"/>
              <a:gd name="T4" fmla="*/ 0 w 2136"/>
              <a:gd name="T5" fmla="*/ 761 h 1161"/>
              <a:gd name="T6" fmla="*/ 0 w 2136"/>
              <a:gd name="T7" fmla="*/ 1161 h 1161"/>
              <a:gd name="T8" fmla="*/ 2136 w 2136"/>
              <a:gd name="T9" fmla="*/ 1161 h 1161"/>
              <a:gd name="T10" fmla="*/ 2136 w 2136"/>
              <a:gd name="T11" fmla="*/ 0 h 1161"/>
            </a:gdLst>
            <a:ahLst/>
            <a:cxnLst>
              <a:cxn ang="0">
                <a:pos x="T0" y="T1"/>
              </a:cxn>
              <a:cxn ang="0">
                <a:pos x="T2" y="T3"/>
              </a:cxn>
              <a:cxn ang="0">
                <a:pos x="T4" y="T5"/>
              </a:cxn>
              <a:cxn ang="0">
                <a:pos x="T6" y="T7"/>
              </a:cxn>
              <a:cxn ang="0">
                <a:pos x="T8" y="T9"/>
              </a:cxn>
              <a:cxn ang="0">
                <a:pos x="T10" y="T11"/>
              </a:cxn>
            </a:cxnLst>
            <a:rect l="0" t="0" r="r" b="b"/>
            <a:pathLst>
              <a:path w="2136" h="1161">
                <a:moveTo>
                  <a:pt x="2136" y="0"/>
                </a:moveTo>
                <a:lnTo>
                  <a:pt x="401" y="761"/>
                </a:lnTo>
                <a:lnTo>
                  <a:pt x="0" y="761"/>
                </a:lnTo>
                <a:lnTo>
                  <a:pt x="0" y="1161"/>
                </a:lnTo>
                <a:lnTo>
                  <a:pt x="2136" y="1161"/>
                </a:lnTo>
                <a:lnTo>
                  <a:pt x="2136"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03C5520D-672B-4F52-B9A3-0D0AD00B4DCA}"/>
              </a:ext>
            </a:extLst>
          </p:cNvPr>
          <p:cNvSpPr>
            <a:spLocks/>
          </p:cNvSpPr>
          <p:nvPr/>
        </p:nvSpPr>
        <p:spPr bwMode="auto">
          <a:xfrm>
            <a:off x="9804401" y="3460750"/>
            <a:ext cx="1457325" cy="2508250"/>
          </a:xfrm>
          <a:custGeom>
            <a:avLst/>
            <a:gdLst>
              <a:gd name="T0" fmla="*/ 0 w 918"/>
              <a:gd name="T1" fmla="*/ 403 h 1580"/>
              <a:gd name="T2" fmla="*/ 0 w 918"/>
              <a:gd name="T3" fmla="*/ 1580 h 1580"/>
              <a:gd name="T4" fmla="*/ 918 w 918"/>
              <a:gd name="T5" fmla="*/ 1580 h 1580"/>
              <a:gd name="T6" fmla="*/ 918 w 918"/>
              <a:gd name="T7" fmla="*/ 0 h 1580"/>
              <a:gd name="T8" fmla="*/ 0 w 918"/>
              <a:gd name="T9" fmla="*/ 403 h 1580"/>
            </a:gdLst>
            <a:ahLst/>
            <a:cxnLst>
              <a:cxn ang="0">
                <a:pos x="T0" y="T1"/>
              </a:cxn>
              <a:cxn ang="0">
                <a:pos x="T2" y="T3"/>
              </a:cxn>
              <a:cxn ang="0">
                <a:pos x="T4" y="T5"/>
              </a:cxn>
              <a:cxn ang="0">
                <a:pos x="T6" y="T7"/>
              </a:cxn>
              <a:cxn ang="0">
                <a:pos x="T8" y="T9"/>
              </a:cxn>
            </a:cxnLst>
            <a:rect l="0" t="0" r="r" b="b"/>
            <a:pathLst>
              <a:path w="918" h="1580">
                <a:moveTo>
                  <a:pt x="0" y="403"/>
                </a:moveTo>
                <a:lnTo>
                  <a:pt x="0" y="1580"/>
                </a:lnTo>
                <a:lnTo>
                  <a:pt x="918" y="1580"/>
                </a:lnTo>
                <a:lnTo>
                  <a:pt x="918" y="0"/>
                </a:lnTo>
                <a:lnTo>
                  <a:pt x="0" y="40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Rectangle 22">
            <a:extLst>
              <a:ext uri="{FF2B5EF4-FFF2-40B4-BE49-F238E27FC236}">
                <a16:creationId xmlns:a16="http://schemas.microsoft.com/office/drawing/2014/main" id="{236C6A5D-4F43-4543-AB49-22A5051FCD79}"/>
              </a:ext>
            </a:extLst>
          </p:cNvPr>
          <p:cNvSpPr>
            <a:spLocks noChangeArrowheads="1"/>
          </p:cNvSpPr>
          <p:nvPr/>
        </p:nvSpPr>
        <p:spPr bwMode="auto">
          <a:xfrm>
            <a:off x="3459163" y="3136900"/>
            <a:ext cx="2841625" cy="283210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8" name="Group 127">
            <a:extLst>
              <a:ext uri="{FF2B5EF4-FFF2-40B4-BE49-F238E27FC236}">
                <a16:creationId xmlns:a16="http://schemas.microsoft.com/office/drawing/2014/main" id="{47B44F36-5A85-4827-89B4-CD1BB4271A1B}"/>
              </a:ext>
            </a:extLst>
          </p:cNvPr>
          <p:cNvGrpSpPr/>
          <p:nvPr/>
        </p:nvGrpSpPr>
        <p:grpSpPr>
          <a:xfrm>
            <a:off x="942976" y="4813300"/>
            <a:ext cx="1704627" cy="1155700"/>
            <a:chOff x="942976" y="4813300"/>
            <a:chExt cx="1704627" cy="1155700"/>
          </a:xfrm>
        </p:grpSpPr>
        <p:sp>
          <p:nvSpPr>
            <p:cNvPr id="113" name="Rectangle 110">
              <a:extLst>
                <a:ext uri="{FF2B5EF4-FFF2-40B4-BE49-F238E27FC236}">
                  <a16:creationId xmlns:a16="http://schemas.microsoft.com/office/drawing/2014/main" id="{A2E0A347-112D-474C-965A-848046BB2B72}"/>
                </a:ext>
              </a:extLst>
            </p:cNvPr>
            <p:cNvSpPr>
              <a:spLocks noChangeArrowheads="1"/>
            </p:cNvSpPr>
            <p:nvPr/>
          </p:nvSpPr>
          <p:spPr bwMode="auto">
            <a:xfrm>
              <a:off x="1357313" y="4829175"/>
              <a:ext cx="9699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Application 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4" name="Oval 111">
              <a:extLst>
                <a:ext uri="{FF2B5EF4-FFF2-40B4-BE49-F238E27FC236}">
                  <a16:creationId xmlns:a16="http://schemas.microsoft.com/office/drawing/2014/main" id="{BAD217C1-7D20-4D3F-8540-5DCF1448EA4C}"/>
                </a:ext>
              </a:extLst>
            </p:cNvPr>
            <p:cNvSpPr>
              <a:spLocks noChangeArrowheads="1"/>
            </p:cNvSpPr>
            <p:nvPr/>
          </p:nvSpPr>
          <p:spPr bwMode="auto">
            <a:xfrm>
              <a:off x="942976" y="4813300"/>
              <a:ext cx="228600" cy="22860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12">
              <a:extLst>
                <a:ext uri="{FF2B5EF4-FFF2-40B4-BE49-F238E27FC236}">
                  <a16:creationId xmlns:a16="http://schemas.microsoft.com/office/drawing/2014/main" id="{CAC77972-D303-4797-ADBB-0A72C9A73646}"/>
                </a:ext>
              </a:extLst>
            </p:cNvPr>
            <p:cNvSpPr>
              <a:spLocks noChangeArrowheads="1"/>
            </p:cNvSpPr>
            <p:nvPr/>
          </p:nvSpPr>
          <p:spPr bwMode="auto">
            <a:xfrm>
              <a:off x="1357313" y="5137150"/>
              <a:ext cx="12902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Dicamba Tolerant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8" name="Oval 115">
              <a:extLst>
                <a:ext uri="{FF2B5EF4-FFF2-40B4-BE49-F238E27FC236}">
                  <a16:creationId xmlns:a16="http://schemas.microsoft.com/office/drawing/2014/main" id="{7FBBD618-0257-44D1-B094-0E333F3CF45F}"/>
                </a:ext>
              </a:extLst>
            </p:cNvPr>
            <p:cNvSpPr>
              <a:spLocks noChangeArrowheads="1"/>
            </p:cNvSpPr>
            <p:nvPr/>
          </p:nvSpPr>
          <p:spPr bwMode="auto">
            <a:xfrm>
              <a:off x="942976" y="5122863"/>
              <a:ext cx="228600" cy="228600"/>
            </a:xfrm>
            <a:prstGeom prst="ellipse">
              <a:avLst/>
            </a:prstGeom>
            <a:solidFill>
              <a:srgbClr val="B2B4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6">
              <a:extLst>
                <a:ext uri="{FF2B5EF4-FFF2-40B4-BE49-F238E27FC236}">
                  <a16:creationId xmlns:a16="http://schemas.microsoft.com/office/drawing/2014/main" id="{9E44489D-96D2-4258-AC18-CCA14F0EA719}"/>
                </a:ext>
              </a:extLst>
            </p:cNvPr>
            <p:cNvSpPr>
              <a:spLocks noChangeArrowheads="1"/>
            </p:cNvSpPr>
            <p:nvPr/>
          </p:nvSpPr>
          <p:spPr bwMode="auto">
            <a:xfrm>
              <a:off x="1357313" y="5446713"/>
              <a:ext cx="5222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No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0" name="Oval 117">
              <a:extLst>
                <a:ext uri="{FF2B5EF4-FFF2-40B4-BE49-F238E27FC236}">
                  <a16:creationId xmlns:a16="http://schemas.microsoft.com/office/drawing/2014/main" id="{7F0AB5B6-3F11-46D9-A579-40C9929B4C0F}"/>
                </a:ext>
              </a:extLst>
            </p:cNvPr>
            <p:cNvSpPr>
              <a:spLocks noChangeArrowheads="1"/>
            </p:cNvSpPr>
            <p:nvPr/>
          </p:nvSpPr>
          <p:spPr bwMode="auto">
            <a:xfrm>
              <a:off x="942976" y="5430838"/>
              <a:ext cx="228600" cy="228600"/>
            </a:xfrm>
            <a:prstGeom prst="ellipse">
              <a:avLst/>
            </a:prstGeom>
            <a:solidFill>
              <a:srgbClr val="6C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18">
              <a:extLst>
                <a:ext uri="{FF2B5EF4-FFF2-40B4-BE49-F238E27FC236}">
                  <a16:creationId xmlns:a16="http://schemas.microsoft.com/office/drawing/2014/main" id="{746FF963-E3D5-4A9F-A156-059F323BA7D4}"/>
                </a:ext>
              </a:extLst>
            </p:cNvPr>
            <p:cNvSpPr>
              <a:spLocks noChangeArrowheads="1"/>
            </p:cNvSpPr>
            <p:nvPr/>
          </p:nvSpPr>
          <p:spPr bwMode="auto">
            <a:xfrm>
              <a:off x="1357313" y="5754688"/>
              <a:ext cx="8667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Sensitive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Oval 119">
              <a:extLst>
                <a:ext uri="{FF2B5EF4-FFF2-40B4-BE49-F238E27FC236}">
                  <a16:creationId xmlns:a16="http://schemas.microsoft.com/office/drawing/2014/main" id="{0CA3E211-2864-47ED-883E-FABF2E9082F1}"/>
                </a:ext>
              </a:extLst>
            </p:cNvPr>
            <p:cNvSpPr>
              <a:spLocks noChangeArrowheads="1"/>
            </p:cNvSpPr>
            <p:nvPr/>
          </p:nvSpPr>
          <p:spPr bwMode="auto">
            <a:xfrm>
              <a:off x="942976" y="5740400"/>
              <a:ext cx="228600" cy="228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a:extLst>
              <a:ext uri="{FF2B5EF4-FFF2-40B4-BE49-F238E27FC236}">
                <a16:creationId xmlns:a16="http://schemas.microsoft.com/office/drawing/2014/main" id="{37D15052-69EE-461D-8BC7-EF2C9FF7226E}"/>
              </a:ext>
            </a:extLst>
          </p:cNvPr>
          <p:cNvSpPr>
            <a:spLocks noGrp="1"/>
          </p:cNvSpPr>
          <p:nvPr>
            <p:ph type="body" sz="quarter" idx="14"/>
          </p:nvPr>
        </p:nvSpPr>
        <p:spPr>
          <a:xfrm>
            <a:off x="838200" y="870295"/>
            <a:ext cx="10515600" cy="341632"/>
          </a:xfrm>
        </p:spPr>
        <p:txBody>
          <a:bodyPr/>
          <a:lstStyle/>
          <a:p>
            <a:r>
              <a:rPr lang="en-US"/>
              <a:t>downwind adjacent areas</a:t>
            </a:r>
          </a:p>
        </p:txBody>
      </p:sp>
      <p:sp>
        <p:nvSpPr>
          <p:cNvPr id="4" name="Title 3">
            <a:extLst>
              <a:ext uri="{FF2B5EF4-FFF2-40B4-BE49-F238E27FC236}">
                <a16:creationId xmlns:a16="http://schemas.microsoft.com/office/drawing/2014/main" id="{B05B9D20-D630-486A-AFDE-A97A1CB3ABF0}"/>
              </a:ext>
            </a:extLst>
          </p:cNvPr>
          <p:cNvSpPr>
            <a:spLocks noGrp="1"/>
          </p:cNvSpPr>
          <p:nvPr>
            <p:ph type="title"/>
          </p:nvPr>
        </p:nvSpPr>
        <p:spPr/>
        <p:txBody>
          <a:bodyPr/>
          <a:lstStyle/>
          <a:p>
            <a:r>
              <a:rPr lang="en-US"/>
              <a:t>Buffer Requirement </a:t>
            </a:r>
          </a:p>
        </p:txBody>
      </p:sp>
      <p:sp>
        <p:nvSpPr>
          <p:cNvPr id="136" name="Rectangle 106">
            <a:extLst>
              <a:ext uri="{FF2B5EF4-FFF2-40B4-BE49-F238E27FC236}">
                <a16:creationId xmlns:a16="http://schemas.microsoft.com/office/drawing/2014/main" id="{BDBF304A-7386-4E44-A8C8-355B5244537C}"/>
              </a:ext>
            </a:extLst>
          </p:cNvPr>
          <p:cNvSpPr>
            <a:spLocks noChangeArrowheads="1"/>
          </p:cNvSpPr>
          <p:nvPr/>
        </p:nvSpPr>
        <p:spPr bwMode="auto">
          <a:xfrm>
            <a:off x="78024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38" name="Rectangle 106">
            <a:extLst>
              <a:ext uri="{FF2B5EF4-FFF2-40B4-BE49-F238E27FC236}">
                <a16:creationId xmlns:a16="http://schemas.microsoft.com/office/drawing/2014/main" id="{91E0ACCD-CBE2-41D9-8C29-2BD77EC4D6C2}"/>
              </a:ext>
            </a:extLst>
          </p:cNvPr>
          <p:cNvSpPr>
            <a:spLocks noChangeArrowheads="1"/>
          </p:cNvSpPr>
          <p:nvPr/>
        </p:nvSpPr>
        <p:spPr bwMode="auto">
          <a:xfrm>
            <a:off x="102789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3" name="Rectangle 106">
            <a:extLst>
              <a:ext uri="{FF2B5EF4-FFF2-40B4-BE49-F238E27FC236}">
                <a16:creationId xmlns:a16="http://schemas.microsoft.com/office/drawing/2014/main" id="{D479E799-39C2-416C-972A-19134C24F21E}"/>
              </a:ext>
            </a:extLst>
          </p:cNvPr>
          <p:cNvSpPr>
            <a:spLocks noChangeArrowheads="1"/>
          </p:cNvSpPr>
          <p:nvPr/>
        </p:nvSpPr>
        <p:spPr bwMode="auto">
          <a:xfrm>
            <a:off x="7173043" y="217034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4" name="Rectangle 106">
            <a:extLst>
              <a:ext uri="{FF2B5EF4-FFF2-40B4-BE49-F238E27FC236}">
                <a16:creationId xmlns:a16="http://schemas.microsoft.com/office/drawing/2014/main" id="{A783EB0C-9C7D-4C55-BE1B-7BC71F3A734C}"/>
              </a:ext>
            </a:extLst>
          </p:cNvPr>
          <p:cNvSpPr>
            <a:spLocks noChangeArrowheads="1"/>
          </p:cNvSpPr>
          <p:nvPr/>
        </p:nvSpPr>
        <p:spPr bwMode="auto">
          <a:xfrm>
            <a:off x="9267983" y="2378963"/>
            <a:ext cx="128079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solidFill>
                  <a:schemeClr val="bg1"/>
                </a:solidFill>
                <a:effectLst/>
                <a:latin typeface="Arial Narrow" panose="020B0606020202030204" pitchFamily="34" charset="0"/>
              </a:rPr>
              <a:t>NON-DICAMBA</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TOLERANT</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SOYBEANS</a:t>
            </a:r>
            <a:endParaRPr kumimoji="0" lang="en-US" altLang="en-US" sz="1800" b="0" i="0" u="none" strike="noStrike" cap="none" spc="150" normalizeH="0">
              <a:ln>
                <a:noFill/>
              </a:ln>
              <a:solidFill>
                <a:schemeClr val="bg1"/>
              </a:solidFill>
              <a:effectLst/>
            </a:endParaRPr>
          </a:p>
        </p:txBody>
      </p:sp>
      <p:sp>
        <p:nvSpPr>
          <p:cNvPr id="11266" name="Slide Number Placeholder 11265">
            <a:extLst>
              <a:ext uri="{FF2B5EF4-FFF2-40B4-BE49-F238E27FC236}">
                <a16:creationId xmlns:a16="http://schemas.microsoft.com/office/drawing/2014/main" id="{44CBD0DE-7F55-4DD4-AF52-61FAA1AD1585}"/>
              </a:ext>
            </a:extLst>
          </p:cNvPr>
          <p:cNvSpPr>
            <a:spLocks noGrp="1"/>
          </p:cNvSpPr>
          <p:nvPr>
            <p:ph type="sldNum" sz="quarter" idx="16"/>
          </p:nvPr>
        </p:nvSpPr>
        <p:spPr/>
        <p:txBody>
          <a:bodyPr/>
          <a:lstStyle/>
          <a:p>
            <a:fld id="{5382645D-9DD6-408C-B0EA-C65795F9B1DE}" type="slidenum">
              <a:rPr lang="en-US" smtClean="0"/>
              <a:pPr/>
              <a:t>35</a:t>
            </a:fld>
            <a:endParaRPr lang="en-US"/>
          </a:p>
        </p:txBody>
      </p:sp>
      <p:sp>
        <p:nvSpPr>
          <p:cNvPr id="11267" name="Footer Placeholder 11266">
            <a:extLst>
              <a:ext uri="{FF2B5EF4-FFF2-40B4-BE49-F238E27FC236}">
                <a16:creationId xmlns:a16="http://schemas.microsoft.com/office/drawing/2014/main" id="{49BBB9CB-8096-45C2-8303-DD55C2F9ECE5}"/>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grpSp>
        <p:nvGrpSpPr>
          <p:cNvPr id="172" name="Group 171">
            <a:extLst>
              <a:ext uri="{FF2B5EF4-FFF2-40B4-BE49-F238E27FC236}">
                <a16:creationId xmlns:a16="http://schemas.microsoft.com/office/drawing/2014/main" id="{39CC235E-4EBF-4B03-BB7A-DD9FF4BDD8FB}"/>
              </a:ext>
            </a:extLst>
          </p:cNvPr>
          <p:cNvGrpSpPr/>
          <p:nvPr/>
        </p:nvGrpSpPr>
        <p:grpSpPr>
          <a:xfrm>
            <a:off x="965707" y="2143380"/>
            <a:ext cx="1536700" cy="407988"/>
            <a:chOff x="9229726" y="4735513"/>
            <a:chExt cx="1536700" cy="407988"/>
          </a:xfrm>
        </p:grpSpPr>
        <p:sp>
          <p:nvSpPr>
            <p:cNvPr id="174" name="Freeform 97">
              <a:extLst>
                <a:ext uri="{FF2B5EF4-FFF2-40B4-BE49-F238E27FC236}">
                  <a16:creationId xmlns:a16="http://schemas.microsoft.com/office/drawing/2014/main" id="{311980DE-AC9C-40AE-9F36-E4F6C2323B6A}"/>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98">
              <a:extLst>
                <a:ext uri="{FF2B5EF4-FFF2-40B4-BE49-F238E27FC236}">
                  <a16:creationId xmlns:a16="http://schemas.microsoft.com/office/drawing/2014/main" id="{A22C1692-D9CC-4527-80FE-EC6380A4ECD9}"/>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99">
              <a:extLst>
                <a:ext uri="{FF2B5EF4-FFF2-40B4-BE49-F238E27FC236}">
                  <a16:creationId xmlns:a16="http://schemas.microsoft.com/office/drawing/2014/main" id="{C0CA1C1C-7033-451A-BCCC-43C624031505}"/>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00">
              <a:extLst>
                <a:ext uri="{FF2B5EF4-FFF2-40B4-BE49-F238E27FC236}">
                  <a16:creationId xmlns:a16="http://schemas.microsoft.com/office/drawing/2014/main" id="{C1EC1711-9219-4BDD-A0E4-FC2FACC93135}"/>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01">
              <a:extLst>
                <a:ext uri="{FF2B5EF4-FFF2-40B4-BE49-F238E27FC236}">
                  <a16:creationId xmlns:a16="http://schemas.microsoft.com/office/drawing/2014/main" id="{16D784E1-1FF0-4583-BAEF-CDDDD3647A56}"/>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02">
              <a:extLst>
                <a:ext uri="{FF2B5EF4-FFF2-40B4-BE49-F238E27FC236}">
                  <a16:creationId xmlns:a16="http://schemas.microsoft.com/office/drawing/2014/main" id="{0E9CBD03-0440-4CE2-A743-FBFA61304073}"/>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03">
              <a:extLst>
                <a:ext uri="{FF2B5EF4-FFF2-40B4-BE49-F238E27FC236}">
                  <a16:creationId xmlns:a16="http://schemas.microsoft.com/office/drawing/2014/main" id="{02E5088F-3451-486C-92FF-C988103288F0}"/>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04">
              <a:extLst>
                <a:ext uri="{FF2B5EF4-FFF2-40B4-BE49-F238E27FC236}">
                  <a16:creationId xmlns:a16="http://schemas.microsoft.com/office/drawing/2014/main" id="{F4938186-C51D-42CF-9E27-2C5C9F0C75A0}"/>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5">
              <a:extLst>
                <a:ext uri="{FF2B5EF4-FFF2-40B4-BE49-F238E27FC236}">
                  <a16:creationId xmlns:a16="http://schemas.microsoft.com/office/drawing/2014/main" id="{106AA7E7-E5FE-4C08-8872-856B59FF388E}"/>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06">
              <a:extLst>
                <a:ext uri="{FF2B5EF4-FFF2-40B4-BE49-F238E27FC236}">
                  <a16:creationId xmlns:a16="http://schemas.microsoft.com/office/drawing/2014/main" id="{DE0F1C29-2ED6-4D0F-B59F-49847F9D3E82}"/>
                </a:ext>
              </a:extLst>
            </p:cNvPr>
            <p:cNvSpPr>
              <a:spLocks noChangeArrowheads="1"/>
            </p:cNvSpPr>
            <p:nvPr/>
          </p:nvSpPr>
          <p:spPr bwMode="auto">
            <a:xfrm>
              <a:off x="955699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sp>
        <p:nvSpPr>
          <p:cNvPr id="198" name="Rectangle 12">
            <a:extLst>
              <a:ext uri="{FF2B5EF4-FFF2-40B4-BE49-F238E27FC236}">
                <a16:creationId xmlns:a16="http://schemas.microsoft.com/office/drawing/2014/main" id="{8B29ACD3-B302-4CD1-8B9D-363F14E451B7}"/>
              </a:ext>
            </a:extLst>
          </p:cNvPr>
          <p:cNvSpPr>
            <a:spLocks noChangeArrowheads="1"/>
          </p:cNvSpPr>
          <p:nvPr/>
        </p:nvSpPr>
        <p:spPr bwMode="auto">
          <a:xfrm>
            <a:off x="1273736" y="1606550"/>
            <a:ext cx="1160463"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6">
            <a:extLst>
              <a:ext uri="{FF2B5EF4-FFF2-40B4-BE49-F238E27FC236}">
                <a16:creationId xmlns:a16="http://schemas.microsoft.com/office/drawing/2014/main" id="{48E83DC9-38B5-4AF2-894D-21A93A9A3D98}"/>
              </a:ext>
            </a:extLst>
          </p:cNvPr>
          <p:cNvSpPr>
            <a:spLocks noEditPoints="1"/>
          </p:cNvSpPr>
          <p:nvPr/>
        </p:nvSpPr>
        <p:spPr bwMode="auto">
          <a:xfrm>
            <a:off x="959372"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moveTo>
                  <a:pt x="1193" y="0"/>
                </a:moveTo>
                <a:lnTo>
                  <a:pt x="0" y="0"/>
                </a:lnTo>
                <a:lnTo>
                  <a:pt x="0" y="232"/>
                </a:lnTo>
                <a:lnTo>
                  <a:pt x="584" y="232"/>
                </a:lnTo>
                <a:lnTo>
                  <a:pt x="608" y="232"/>
                </a:lnTo>
                <a:lnTo>
                  <a:pt x="1193" y="232"/>
                </a:lnTo>
                <a:lnTo>
                  <a:pt x="1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0" name="Group 199">
            <a:extLst>
              <a:ext uri="{FF2B5EF4-FFF2-40B4-BE49-F238E27FC236}">
                <a16:creationId xmlns:a16="http://schemas.microsoft.com/office/drawing/2014/main" id="{19D210A4-5708-4F72-A345-FEAA8208A8A0}"/>
              </a:ext>
            </a:extLst>
          </p:cNvPr>
          <p:cNvGrpSpPr/>
          <p:nvPr/>
        </p:nvGrpSpPr>
        <p:grpSpPr>
          <a:xfrm>
            <a:off x="787113" y="3951078"/>
            <a:ext cx="1893888" cy="369888"/>
            <a:chOff x="958851" y="3832068"/>
            <a:chExt cx="1893888" cy="369888"/>
          </a:xfrm>
        </p:grpSpPr>
        <p:sp>
          <p:nvSpPr>
            <p:cNvPr id="201" name="Freeform 19">
              <a:extLst>
                <a:ext uri="{FF2B5EF4-FFF2-40B4-BE49-F238E27FC236}">
                  <a16:creationId xmlns:a16="http://schemas.microsoft.com/office/drawing/2014/main" id="{4075D29F-B85B-4E95-B050-4F8A802DE653}"/>
                </a:ext>
              </a:extLst>
            </p:cNvPr>
            <p:cNvSpPr>
              <a:spLocks noEditPoints="1"/>
            </p:cNvSpPr>
            <p:nvPr/>
          </p:nvSpPr>
          <p:spPr bwMode="auto">
            <a:xfrm>
              <a:off x="958851" y="3832068"/>
              <a:ext cx="1893888" cy="369888"/>
            </a:xfrm>
            <a:custGeom>
              <a:avLst/>
              <a:gdLst>
                <a:gd name="T0" fmla="*/ 1193 w 1193"/>
                <a:gd name="T1" fmla="*/ 233 h 233"/>
                <a:gd name="T2" fmla="*/ 0 w 1193"/>
                <a:gd name="T3" fmla="*/ 233 h 233"/>
                <a:gd name="T4" fmla="*/ 0 w 1193"/>
                <a:gd name="T5" fmla="*/ 0 h 233"/>
                <a:gd name="T6" fmla="*/ 1193 w 1193"/>
                <a:gd name="T7" fmla="*/ 0 h 233"/>
                <a:gd name="T8" fmla="*/ 1193 w 1193"/>
                <a:gd name="T9" fmla="*/ 233 h 233"/>
                <a:gd name="T10" fmla="*/ 24 w 1193"/>
                <a:gd name="T11" fmla="*/ 209 h 233"/>
                <a:gd name="T12" fmla="*/ 1169 w 1193"/>
                <a:gd name="T13" fmla="*/ 209 h 233"/>
                <a:gd name="T14" fmla="*/ 1169 w 1193"/>
                <a:gd name="T15" fmla="*/ 24 h 233"/>
                <a:gd name="T16" fmla="*/ 24 w 1193"/>
                <a:gd name="T17" fmla="*/ 24 h 233"/>
                <a:gd name="T18" fmla="*/ 24 w 1193"/>
                <a:gd name="T19" fmla="*/ 20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3" h="233">
                  <a:moveTo>
                    <a:pt x="1193" y="233"/>
                  </a:moveTo>
                  <a:lnTo>
                    <a:pt x="0" y="233"/>
                  </a:lnTo>
                  <a:lnTo>
                    <a:pt x="0" y="0"/>
                  </a:lnTo>
                  <a:lnTo>
                    <a:pt x="1193" y="0"/>
                  </a:lnTo>
                  <a:lnTo>
                    <a:pt x="1193" y="233"/>
                  </a:lnTo>
                  <a:close/>
                  <a:moveTo>
                    <a:pt x="24" y="209"/>
                  </a:moveTo>
                  <a:lnTo>
                    <a:pt x="1169" y="209"/>
                  </a:lnTo>
                  <a:lnTo>
                    <a:pt x="1169" y="24"/>
                  </a:lnTo>
                  <a:lnTo>
                    <a:pt x="24" y="24"/>
                  </a:lnTo>
                  <a:lnTo>
                    <a:pt x="24"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18">
              <a:extLst>
                <a:ext uri="{FF2B5EF4-FFF2-40B4-BE49-F238E27FC236}">
                  <a16:creationId xmlns:a16="http://schemas.microsoft.com/office/drawing/2014/main" id="{D16B9EB1-4476-451A-9F02-DBDD802DA047}"/>
                </a:ext>
              </a:extLst>
            </p:cNvPr>
            <p:cNvSpPr>
              <a:spLocks noChangeArrowheads="1"/>
            </p:cNvSpPr>
            <p:nvPr/>
          </p:nvSpPr>
          <p:spPr bwMode="auto">
            <a:xfrm>
              <a:off x="1637293" y="3932000"/>
              <a:ext cx="5370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latin typeface="Arial" panose="020B0604020202020204" pitchFamily="34" charset="0"/>
                </a:rPr>
                <a:t>Buff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03" name="Group 202">
            <a:extLst>
              <a:ext uri="{FF2B5EF4-FFF2-40B4-BE49-F238E27FC236}">
                <a16:creationId xmlns:a16="http://schemas.microsoft.com/office/drawing/2014/main" id="{0525F5A2-9C7A-4AB8-9E68-8215A8BF7546}"/>
              </a:ext>
            </a:extLst>
          </p:cNvPr>
          <p:cNvGrpSpPr/>
          <p:nvPr/>
        </p:nvGrpSpPr>
        <p:grpSpPr>
          <a:xfrm>
            <a:off x="787113" y="1476375"/>
            <a:ext cx="1893888" cy="576263"/>
            <a:chOff x="960438" y="1476375"/>
            <a:chExt cx="1893888" cy="576263"/>
          </a:xfrm>
        </p:grpSpPr>
        <p:grpSp>
          <p:nvGrpSpPr>
            <p:cNvPr id="204" name="Group 203">
              <a:extLst>
                <a:ext uri="{FF2B5EF4-FFF2-40B4-BE49-F238E27FC236}">
                  <a16:creationId xmlns:a16="http://schemas.microsoft.com/office/drawing/2014/main" id="{5B61B8C8-C94F-40FC-9B5B-435F82077764}"/>
                </a:ext>
              </a:extLst>
            </p:cNvPr>
            <p:cNvGrpSpPr/>
            <p:nvPr/>
          </p:nvGrpSpPr>
          <p:grpSpPr>
            <a:xfrm>
              <a:off x="960438" y="1476375"/>
              <a:ext cx="1893888" cy="576263"/>
              <a:chOff x="960438" y="1476375"/>
              <a:chExt cx="1893888" cy="576263"/>
            </a:xfrm>
          </p:grpSpPr>
          <p:sp>
            <p:nvSpPr>
              <p:cNvPr id="206" name="Freeform 11">
                <a:extLst>
                  <a:ext uri="{FF2B5EF4-FFF2-40B4-BE49-F238E27FC236}">
                    <a16:creationId xmlns:a16="http://schemas.microsoft.com/office/drawing/2014/main" id="{A01F36C6-EE7C-4DB6-A0E9-87A914561E5A}"/>
                  </a:ext>
                </a:extLst>
              </p:cNvPr>
              <p:cNvSpPr>
                <a:spLocks/>
              </p:cNvSpPr>
              <p:nvPr/>
            </p:nvSpPr>
            <p:spPr bwMode="auto">
              <a:xfrm>
                <a:off x="1817688" y="1844675"/>
                <a:ext cx="179388" cy="207963"/>
              </a:xfrm>
              <a:custGeom>
                <a:avLst/>
                <a:gdLst>
                  <a:gd name="T0" fmla="*/ 167 w 277"/>
                  <a:gd name="T1" fmla="*/ 0 h 322"/>
                  <a:gd name="T2" fmla="*/ 107 w 277"/>
                  <a:gd name="T3" fmla="*/ 0 h 322"/>
                  <a:gd name="T4" fmla="*/ 107 w 277"/>
                  <a:gd name="T5" fmla="*/ 211 h 322"/>
                  <a:gd name="T6" fmla="*/ 55 w 277"/>
                  <a:gd name="T7" fmla="*/ 150 h 322"/>
                  <a:gd name="T8" fmla="*/ 33 w 277"/>
                  <a:gd name="T9" fmla="*/ 140 h 322"/>
                  <a:gd name="T10" fmla="*/ 13 w 277"/>
                  <a:gd name="T11" fmla="*/ 147 h 322"/>
                  <a:gd name="T12" fmla="*/ 10 w 277"/>
                  <a:gd name="T13" fmla="*/ 189 h 322"/>
                  <a:gd name="T14" fmla="*/ 116 w 277"/>
                  <a:gd name="T15" fmla="*/ 311 h 322"/>
                  <a:gd name="T16" fmla="*/ 138 w 277"/>
                  <a:gd name="T17" fmla="*/ 322 h 322"/>
                  <a:gd name="T18" fmla="*/ 160 w 277"/>
                  <a:gd name="T19" fmla="*/ 311 h 322"/>
                  <a:gd name="T20" fmla="*/ 266 w 277"/>
                  <a:gd name="T21" fmla="*/ 189 h 322"/>
                  <a:gd name="T22" fmla="*/ 263 w 277"/>
                  <a:gd name="T23" fmla="*/ 147 h 322"/>
                  <a:gd name="T24" fmla="*/ 244 w 277"/>
                  <a:gd name="T25" fmla="*/ 140 h 322"/>
                  <a:gd name="T26" fmla="*/ 221 w 277"/>
                  <a:gd name="T27" fmla="*/ 150 h 322"/>
                  <a:gd name="T28" fmla="*/ 167 w 277"/>
                  <a:gd name="T29" fmla="*/ 214 h 322"/>
                  <a:gd name="T30" fmla="*/ 167 w 277"/>
                  <a:gd name="T3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2">
                    <a:moveTo>
                      <a:pt x="167" y="0"/>
                    </a:moveTo>
                    <a:cubicBezTo>
                      <a:pt x="107" y="0"/>
                      <a:pt x="107" y="0"/>
                      <a:pt x="107" y="0"/>
                    </a:cubicBezTo>
                    <a:cubicBezTo>
                      <a:pt x="107" y="211"/>
                      <a:pt x="107" y="211"/>
                      <a:pt x="107" y="211"/>
                    </a:cubicBezTo>
                    <a:cubicBezTo>
                      <a:pt x="55" y="150"/>
                      <a:pt x="55" y="150"/>
                      <a:pt x="55" y="150"/>
                    </a:cubicBezTo>
                    <a:cubicBezTo>
                      <a:pt x="49" y="144"/>
                      <a:pt x="41" y="140"/>
                      <a:pt x="33" y="140"/>
                    </a:cubicBezTo>
                    <a:cubicBezTo>
                      <a:pt x="26" y="140"/>
                      <a:pt x="19" y="142"/>
                      <a:pt x="13" y="147"/>
                    </a:cubicBezTo>
                    <a:cubicBezTo>
                      <a:pt x="1" y="158"/>
                      <a:pt x="0" y="177"/>
                      <a:pt x="10" y="189"/>
                    </a:cubicBezTo>
                    <a:cubicBezTo>
                      <a:pt x="116" y="311"/>
                      <a:pt x="116" y="311"/>
                      <a:pt x="116" y="311"/>
                    </a:cubicBezTo>
                    <a:cubicBezTo>
                      <a:pt x="121" y="318"/>
                      <a:pt x="130" y="322"/>
                      <a:pt x="138" y="322"/>
                    </a:cubicBezTo>
                    <a:cubicBezTo>
                      <a:pt x="147" y="322"/>
                      <a:pt x="155" y="318"/>
                      <a:pt x="160" y="311"/>
                    </a:cubicBezTo>
                    <a:cubicBezTo>
                      <a:pt x="266" y="189"/>
                      <a:pt x="266" y="189"/>
                      <a:pt x="266" y="189"/>
                    </a:cubicBezTo>
                    <a:cubicBezTo>
                      <a:pt x="277" y="177"/>
                      <a:pt x="275" y="158"/>
                      <a:pt x="263" y="147"/>
                    </a:cubicBezTo>
                    <a:cubicBezTo>
                      <a:pt x="257" y="142"/>
                      <a:pt x="251" y="140"/>
                      <a:pt x="244" y="140"/>
                    </a:cubicBezTo>
                    <a:cubicBezTo>
                      <a:pt x="235" y="140"/>
                      <a:pt x="227" y="144"/>
                      <a:pt x="221" y="150"/>
                    </a:cubicBezTo>
                    <a:cubicBezTo>
                      <a:pt x="167" y="214"/>
                      <a:pt x="167" y="214"/>
                      <a:pt x="167" y="214"/>
                    </a:cubicBezTo>
                    <a:cubicBezTo>
                      <a:pt x="167" y="0"/>
                      <a:pt x="167" y="0"/>
                      <a:pt x="167"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07" name="Freeform 15">
                <a:extLst>
                  <a:ext uri="{FF2B5EF4-FFF2-40B4-BE49-F238E27FC236}">
                    <a16:creationId xmlns:a16="http://schemas.microsoft.com/office/drawing/2014/main" id="{14F22471-4F7C-42B6-B9FD-C22A012F753E}"/>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close/>
                    <a:moveTo>
                      <a:pt x="1193" y="0"/>
                    </a:moveTo>
                    <a:lnTo>
                      <a:pt x="0" y="0"/>
                    </a:lnTo>
                    <a:lnTo>
                      <a:pt x="0" y="232"/>
                    </a:lnTo>
                    <a:lnTo>
                      <a:pt x="584" y="232"/>
                    </a:lnTo>
                    <a:lnTo>
                      <a:pt x="608" y="232"/>
                    </a:lnTo>
                    <a:lnTo>
                      <a:pt x="1193" y="232"/>
                    </a:lnTo>
                    <a:lnTo>
                      <a:pt x="119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05" name="Rectangle 14">
              <a:extLst>
                <a:ext uri="{FF2B5EF4-FFF2-40B4-BE49-F238E27FC236}">
                  <a16:creationId xmlns:a16="http://schemas.microsoft.com/office/drawing/2014/main" id="{E8158CE5-F071-41CF-9122-BDAEF53CDFD2}"/>
                </a:ext>
              </a:extLst>
            </p:cNvPr>
            <p:cNvSpPr>
              <a:spLocks noChangeArrowheads="1"/>
            </p:cNvSpPr>
            <p:nvPr/>
          </p:nvSpPr>
          <p:spPr bwMode="auto">
            <a:xfrm>
              <a:off x="1316547" y="1574720"/>
              <a:ext cx="11816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a:t>W</a:t>
              </a:r>
              <a:r>
                <a:rPr kumimoji="0" lang="en-US" altLang="en-US" sz="1200" b="1" i="0" u="none" strike="noStrike" cap="none" normalizeH="0" baseline="0">
                  <a:ln>
                    <a:noFill/>
                  </a:ln>
                  <a:effectLst/>
                  <a:latin typeface="Arial" panose="020B0604020202020204" pitchFamily="34" charset="0"/>
                </a:rPr>
                <a:t>ind Direction?</a:t>
              </a:r>
              <a:endParaRPr kumimoji="0" lang="en-US" altLang="en-US" sz="1800" b="0" i="0" u="none" strike="noStrike" cap="none" normalizeH="0" baseline="0">
                <a:ln>
                  <a:noFill/>
                </a:ln>
                <a:effectLst/>
                <a:latin typeface="Arial" panose="020B0604020202020204" pitchFamily="34" charset="0"/>
              </a:endParaRPr>
            </a:p>
          </p:txBody>
        </p:sp>
      </p:grpSp>
      <p:sp>
        <p:nvSpPr>
          <p:cNvPr id="209" name="TextBox 208">
            <a:extLst>
              <a:ext uri="{FF2B5EF4-FFF2-40B4-BE49-F238E27FC236}">
                <a16:creationId xmlns:a16="http://schemas.microsoft.com/office/drawing/2014/main" id="{565B7CCE-CE3A-4530-9D9E-B0E3CCC750C7}"/>
              </a:ext>
            </a:extLst>
          </p:cNvPr>
          <p:cNvSpPr txBox="1"/>
          <p:nvPr/>
        </p:nvSpPr>
        <p:spPr>
          <a:xfrm>
            <a:off x="715485" y="3358798"/>
            <a:ext cx="2037145" cy="369332"/>
          </a:xfrm>
          <a:prstGeom prst="rect">
            <a:avLst/>
          </a:prstGeom>
          <a:noFill/>
        </p:spPr>
        <p:txBody>
          <a:bodyPr wrap="square" rtlCol="0">
            <a:spAutoFit/>
          </a:bodyPr>
          <a:lstStyle/>
          <a:p>
            <a:pPr algn="ctr"/>
            <a:r>
              <a:rPr lang="en-US">
                <a:solidFill>
                  <a:schemeClr val="accent6"/>
                </a:solidFill>
                <a:latin typeface="+mj-lt"/>
              </a:rPr>
              <a:t>SPRAY</a:t>
            </a:r>
          </a:p>
        </p:txBody>
      </p:sp>
      <p:pic>
        <p:nvPicPr>
          <p:cNvPr id="2" name="Picture 1">
            <a:extLst>
              <a:ext uri="{FF2B5EF4-FFF2-40B4-BE49-F238E27FC236}">
                <a16:creationId xmlns:a16="http://schemas.microsoft.com/office/drawing/2014/main" id="{44E8B562-23A2-4EE8-BCA5-2BEF683A493C}"/>
              </a:ext>
            </a:extLst>
          </p:cNvPr>
          <p:cNvPicPr>
            <a:picLocks noChangeAspect="1"/>
          </p:cNvPicPr>
          <p:nvPr/>
        </p:nvPicPr>
        <p:blipFill>
          <a:blip r:embed="rId3"/>
          <a:stretch>
            <a:fillRect/>
          </a:stretch>
        </p:blipFill>
        <p:spPr>
          <a:xfrm>
            <a:off x="873820" y="6344399"/>
            <a:ext cx="1171575" cy="495300"/>
          </a:xfrm>
          <a:prstGeom prst="rect">
            <a:avLst/>
          </a:prstGeom>
        </p:spPr>
      </p:pic>
      <p:pic>
        <p:nvPicPr>
          <p:cNvPr id="161" name="Picture 160">
            <a:extLst>
              <a:ext uri="{FF2B5EF4-FFF2-40B4-BE49-F238E27FC236}">
                <a16:creationId xmlns:a16="http://schemas.microsoft.com/office/drawing/2014/main" id="{DB203664-8E51-4363-9817-F3583CF930BB}"/>
              </a:ext>
            </a:extLst>
          </p:cNvPr>
          <p:cNvPicPr>
            <a:picLocks noChangeAspect="1"/>
          </p:cNvPicPr>
          <p:nvPr/>
        </p:nvPicPr>
        <p:blipFill>
          <a:blip r:embed="rId4"/>
          <a:stretch>
            <a:fillRect/>
          </a:stretch>
        </p:blipFill>
        <p:spPr>
          <a:xfrm>
            <a:off x="838200" y="6393164"/>
            <a:ext cx="1333500" cy="378995"/>
          </a:xfrm>
          <a:prstGeom prst="rect">
            <a:avLst/>
          </a:prstGeom>
        </p:spPr>
      </p:pic>
      <p:sp>
        <p:nvSpPr>
          <p:cNvPr id="169" name="Rectangle 106">
            <a:extLst>
              <a:ext uri="{FF2B5EF4-FFF2-40B4-BE49-F238E27FC236}">
                <a16:creationId xmlns:a16="http://schemas.microsoft.com/office/drawing/2014/main" id="{4BAC320D-D0E8-42A6-B067-CAFA85706246}"/>
              </a:ext>
            </a:extLst>
          </p:cNvPr>
          <p:cNvSpPr>
            <a:spLocks noChangeArrowheads="1"/>
          </p:cNvSpPr>
          <p:nvPr/>
        </p:nvSpPr>
        <p:spPr bwMode="auto">
          <a:xfrm>
            <a:off x="3574818" y="6033669"/>
            <a:ext cx="767004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BUFFER COMPOSITION IS 240’. MAY BE REDUCED WHEN UTILIZING QUALIFIED DRT.</a:t>
            </a:r>
          </a:p>
        </p:txBody>
      </p:sp>
      <p:sp>
        <p:nvSpPr>
          <p:cNvPr id="167" name="Rectangle 106">
            <a:extLst>
              <a:ext uri="{FF2B5EF4-FFF2-40B4-BE49-F238E27FC236}">
                <a16:creationId xmlns:a16="http://schemas.microsoft.com/office/drawing/2014/main" id="{B30CB35E-D947-4E21-BF48-7E70D76EB8A8}"/>
              </a:ext>
            </a:extLst>
          </p:cNvPr>
          <p:cNvSpPr>
            <a:spLocks noChangeArrowheads="1"/>
          </p:cNvSpPr>
          <p:nvPr/>
        </p:nvSpPr>
        <p:spPr bwMode="auto">
          <a:xfrm>
            <a:off x="4374713" y="4122067"/>
            <a:ext cx="10105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DICAMBA</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TOLERANT</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SOYBEANS</a:t>
            </a:r>
            <a:endParaRPr kumimoji="0" lang="en-US" altLang="en-US" sz="1800" b="0" i="0" u="none" strike="noStrike" cap="none" spc="150" normalizeH="0">
              <a:ln>
                <a:noFill/>
              </a:ln>
              <a:effectLst/>
            </a:endParaRPr>
          </a:p>
        </p:txBody>
      </p:sp>
      <p:sp>
        <p:nvSpPr>
          <p:cNvPr id="208" name="Rectangle 207">
            <a:extLst>
              <a:ext uri="{FF2B5EF4-FFF2-40B4-BE49-F238E27FC236}">
                <a16:creationId xmlns:a16="http://schemas.microsoft.com/office/drawing/2014/main" id="{4765768A-79C1-42A3-95FB-D58877C2EC97}"/>
              </a:ext>
            </a:extLst>
          </p:cNvPr>
          <p:cNvSpPr/>
          <p:nvPr/>
        </p:nvSpPr>
        <p:spPr>
          <a:xfrm>
            <a:off x="291404" y="1239603"/>
            <a:ext cx="2451798" cy="2604809"/>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41">
            <a:extLst>
              <a:ext uri="{FF2B5EF4-FFF2-40B4-BE49-F238E27FC236}">
                <a16:creationId xmlns:a16="http://schemas.microsoft.com/office/drawing/2014/main" id="{80731A17-E9ED-4206-9745-4D4E550B3D04}"/>
              </a:ext>
            </a:extLst>
          </p:cNvPr>
          <p:cNvSpPr>
            <a:spLocks noChangeArrowheads="1"/>
          </p:cNvSpPr>
          <p:nvPr/>
        </p:nvSpPr>
        <p:spPr bwMode="auto">
          <a:xfrm>
            <a:off x="6653772" y="3573658"/>
            <a:ext cx="155747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chemeClr val="bg1"/>
                </a:solidFill>
                <a:latin typeface="Arial Narrow"/>
              </a:rPr>
              <a:t>DICAMBA </a:t>
            </a:r>
            <a:r>
              <a:rPr lang="en-US" altLang="en-US" sz="1400" b="1" kern="0" spc="140" dirty="0">
                <a:solidFill>
                  <a:schemeClr val="bg1"/>
                </a:solidFill>
                <a:latin typeface="Arial Narrow"/>
              </a:rPr>
              <a:t>TOLERANT CROP</a:t>
            </a:r>
          </a:p>
          <a:p>
            <a:pPr algn="ctr" eaLnBrk="1" fontAlgn="auto" hangingPunct="1">
              <a:spcBef>
                <a:spcPts val="0"/>
              </a:spcBef>
              <a:spcAft>
                <a:spcPts val="0"/>
              </a:spcAft>
              <a:defRPr/>
            </a:pPr>
            <a:r>
              <a:rPr lang="en-US" altLang="en-US" sz="1400" b="1" kern="0" spc="140" dirty="0">
                <a:solidFill>
                  <a:schemeClr val="bg1"/>
                </a:solidFill>
                <a:latin typeface="Arial Narrow"/>
              </a:rPr>
              <a:t>APPROVED APPLICATION</a:t>
            </a:r>
          </a:p>
        </p:txBody>
      </p:sp>
      <p:grpSp>
        <p:nvGrpSpPr>
          <p:cNvPr id="5" name="Group 4">
            <a:extLst>
              <a:ext uri="{FF2B5EF4-FFF2-40B4-BE49-F238E27FC236}">
                <a16:creationId xmlns:a16="http://schemas.microsoft.com/office/drawing/2014/main" id="{54373390-E884-4D1D-A068-9CBB7B27C32F}"/>
              </a:ext>
            </a:extLst>
          </p:cNvPr>
          <p:cNvGrpSpPr/>
          <p:nvPr/>
        </p:nvGrpSpPr>
        <p:grpSpPr>
          <a:xfrm>
            <a:off x="5876014" y="3136900"/>
            <a:ext cx="424774" cy="2146300"/>
            <a:chOff x="5876014" y="3136900"/>
            <a:chExt cx="424774" cy="2146300"/>
          </a:xfrm>
        </p:grpSpPr>
        <p:sp>
          <p:nvSpPr>
            <p:cNvPr id="71" name="Rectangle 70">
              <a:extLst>
                <a:ext uri="{FF2B5EF4-FFF2-40B4-BE49-F238E27FC236}">
                  <a16:creationId xmlns:a16="http://schemas.microsoft.com/office/drawing/2014/main" id="{7F2E1593-022B-4F57-85A8-E5C9608EA966}"/>
                </a:ext>
              </a:extLst>
            </p:cNvPr>
            <p:cNvSpPr/>
            <p:nvPr/>
          </p:nvSpPr>
          <p:spPr>
            <a:xfrm>
              <a:off x="5876014" y="3136900"/>
              <a:ext cx="424774" cy="2146300"/>
            </a:xfrm>
            <a:prstGeom prst="rect">
              <a:avLst/>
            </a:prstGeom>
            <a:pattFill prst="wdUpDiag">
              <a:fgClr>
                <a:schemeClr val="bg1"/>
              </a:fgClr>
              <a:bgClr>
                <a:schemeClr val="bg1">
                  <a:lumMod val="75000"/>
                </a:schemeClr>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106">
              <a:extLst>
                <a:ext uri="{FF2B5EF4-FFF2-40B4-BE49-F238E27FC236}">
                  <a16:creationId xmlns:a16="http://schemas.microsoft.com/office/drawing/2014/main" id="{573EFB57-1A4A-419A-B1D5-33226F6B6A83}"/>
                </a:ext>
              </a:extLst>
            </p:cNvPr>
            <p:cNvSpPr>
              <a:spLocks noChangeArrowheads="1"/>
            </p:cNvSpPr>
            <p:nvPr/>
          </p:nvSpPr>
          <p:spPr bwMode="auto">
            <a:xfrm rot="16200000">
              <a:off x="5812562" y="4120404"/>
              <a:ext cx="601126" cy="153888"/>
            </a:xfrm>
            <a:prstGeom prst="rect">
              <a:avLst/>
            </a:prstGeom>
            <a:solidFill>
              <a:schemeClr val="bg1">
                <a:lumMod val="75000"/>
              </a:schemeClr>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spc="150" normalizeH="0">
                  <a:ln>
                    <a:noFill/>
                  </a:ln>
                  <a:effectLst/>
                  <a:latin typeface="Arial Narrow" panose="020B0606020202030204" pitchFamily="34" charset="0"/>
                </a:rPr>
                <a:t>BUFFER*</a:t>
              </a:r>
              <a:endParaRPr kumimoji="0" lang="en-US" altLang="en-US" sz="1100" b="0" i="0" u="none" strike="noStrike" cap="none" spc="150" normalizeH="0">
                <a:ln>
                  <a:noFill/>
                </a:ln>
                <a:effectLst/>
              </a:endParaRPr>
            </a:p>
          </p:txBody>
        </p:sp>
      </p:grpSp>
      <p:grpSp>
        <p:nvGrpSpPr>
          <p:cNvPr id="267" name="Group 266">
            <a:extLst>
              <a:ext uri="{FF2B5EF4-FFF2-40B4-BE49-F238E27FC236}">
                <a16:creationId xmlns:a16="http://schemas.microsoft.com/office/drawing/2014/main" id="{52E29D5C-AFDD-4D74-AE34-288BE2B51FC1}"/>
              </a:ext>
            </a:extLst>
          </p:cNvPr>
          <p:cNvGrpSpPr/>
          <p:nvPr/>
        </p:nvGrpSpPr>
        <p:grpSpPr>
          <a:xfrm>
            <a:off x="2811783" y="2575590"/>
            <a:ext cx="3760396" cy="2462944"/>
            <a:chOff x="2794408" y="2549469"/>
            <a:chExt cx="3760396" cy="2462944"/>
          </a:xfrm>
        </p:grpSpPr>
        <p:pic>
          <p:nvPicPr>
            <p:cNvPr id="7" name="Picture 6">
              <a:extLst>
                <a:ext uri="{FF2B5EF4-FFF2-40B4-BE49-F238E27FC236}">
                  <a16:creationId xmlns:a16="http://schemas.microsoft.com/office/drawing/2014/main" id="{4E9A1D18-D63B-4CA8-8BF1-EF69D87856B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16200000">
              <a:off x="2845486" y="2568597"/>
              <a:ext cx="2419099" cy="2404591"/>
            </a:xfrm>
            <a:prstGeom prst="flowChartConnector">
              <a:avLst/>
            </a:prstGeom>
            <a:ln/>
          </p:spPr>
        </p:pic>
        <p:sp>
          <p:nvSpPr>
            <p:cNvPr id="259" name="Freeform: Shape 258">
              <a:extLst>
                <a:ext uri="{FF2B5EF4-FFF2-40B4-BE49-F238E27FC236}">
                  <a16:creationId xmlns:a16="http://schemas.microsoft.com/office/drawing/2014/main" id="{81527470-DB9D-44B0-A178-D751A6500E70}"/>
                </a:ext>
              </a:extLst>
            </p:cNvPr>
            <p:cNvSpPr/>
            <p:nvPr/>
          </p:nvSpPr>
          <p:spPr>
            <a:xfrm>
              <a:off x="4534730" y="4220453"/>
              <a:ext cx="1904321" cy="672866"/>
            </a:xfrm>
            <a:custGeom>
              <a:avLst/>
              <a:gdLst>
                <a:gd name="connsiteX0" fmla="*/ 1891950 w 1904320"/>
                <a:gd name="connsiteY0" fmla="*/ 0 h 672866"/>
                <a:gd name="connsiteX1" fmla="*/ 1908104 w 1904320"/>
                <a:gd name="connsiteY1" fmla="*/ 48142 h 672866"/>
                <a:gd name="connsiteX2" fmla="*/ 16153 w 1904320"/>
                <a:gd name="connsiteY2" fmla="*/ 682989 h 672866"/>
                <a:gd name="connsiteX3" fmla="*/ 0 w 1904320"/>
                <a:gd name="connsiteY3" fmla="*/ 634847 h 672866"/>
              </a:gdLst>
              <a:ahLst/>
              <a:cxnLst>
                <a:cxn ang="0">
                  <a:pos x="connsiteX0" y="connsiteY0"/>
                </a:cxn>
                <a:cxn ang="0">
                  <a:pos x="connsiteX1" y="connsiteY1"/>
                </a:cxn>
                <a:cxn ang="0">
                  <a:pos x="connsiteX2" y="connsiteY2"/>
                </a:cxn>
                <a:cxn ang="0">
                  <a:pos x="connsiteX3" y="connsiteY3"/>
                </a:cxn>
              </a:cxnLst>
              <a:rect l="l" t="t" r="r" b="b"/>
              <a:pathLst>
                <a:path w="1904320" h="672866">
                  <a:moveTo>
                    <a:pt x="1891950" y="0"/>
                  </a:moveTo>
                  <a:lnTo>
                    <a:pt x="1908104" y="48142"/>
                  </a:lnTo>
                  <a:lnTo>
                    <a:pt x="16153" y="682989"/>
                  </a:lnTo>
                  <a:lnTo>
                    <a:pt x="0" y="634847"/>
                  </a:lnTo>
                  <a:close/>
                </a:path>
              </a:pathLst>
            </a:custGeom>
            <a:solidFill>
              <a:srgbClr val="FFFFFF"/>
            </a:solidFill>
            <a:ln w="11211"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5AEDCB7C-5AF7-4E25-A586-234E56C448AC}"/>
                </a:ext>
              </a:extLst>
            </p:cNvPr>
            <p:cNvSpPr/>
            <p:nvPr/>
          </p:nvSpPr>
          <p:spPr>
            <a:xfrm>
              <a:off x="6110462" y="3836908"/>
              <a:ext cx="444342" cy="457041"/>
            </a:xfrm>
            <a:custGeom>
              <a:avLst/>
              <a:gdLst>
                <a:gd name="connsiteX0" fmla="*/ 228766 w 444341"/>
                <a:gd name="connsiteY0" fmla="*/ 457179 h 457041"/>
                <a:gd name="connsiteX1" fmla="*/ 161480 w 444341"/>
                <a:gd name="connsiteY1" fmla="*/ 447023 h 457041"/>
                <a:gd name="connsiteX2" fmla="*/ 26908 w 444341"/>
                <a:gd name="connsiteY2" fmla="*/ 336571 h 457041"/>
                <a:gd name="connsiteX3" fmla="*/ 120854 w 444341"/>
                <a:gd name="connsiteY3" fmla="*/ 26799 h 457041"/>
                <a:gd name="connsiteX4" fmla="*/ 294782 w 444341"/>
                <a:gd name="connsiteY4" fmla="*/ 10295 h 457041"/>
                <a:gd name="connsiteX5" fmla="*/ 429354 w 444341"/>
                <a:gd name="connsiteY5" fmla="*/ 120746 h 457041"/>
                <a:gd name="connsiteX6" fmla="*/ 429354 w 444341"/>
                <a:gd name="connsiteY6" fmla="*/ 120746 h 457041"/>
                <a:gd name="connsiteX7" fmla="*/ 335408 w 444341"/>
                <a:gd name="connsiteY7" fmla="*/ 430519 h 457041"/>
                <a:gd name="connsiteX8" fmla="*/ 228766 w 444341"/>
                <a:gd name="connsiteY8" fmla="*/ 457179 h 457041"/>
                <a:gd name="connsiteX9" fmla="*/ 227496 w 444341"/>
                <a:gd name="connsiteY9" fmla="*/ 50921 h 457041"/>
                <a:gd name="connsiteX10" fmla="*/ 143706 w 444341"/>
                <a:gd name="connsiteY10" fmla="*/ 72503 h 457041"/>
                <a:gd name="connsiteX11" fmla="*/ 70072 w 444341"/>
                <a:gd name="connsiteY11" fmla="*/ 312450 h 457041"/>
                <a:gd name="connsiteX12" fmla="*/ 175445 w 444341"/>
                <a:gd name="connsiteY12" fmla="*/ 398780 h 457041"/>
                <a:gd name="connsiteX13" fmla="*/ 311286 w 444341"/>
                <a:gd name="connsiteY13" fmla="*/ 386084 h 457041"/>
                <a:gd name="connsiteX14" fmla="*/ 384920 w 444341"/>
                <a:gd name="connsiteY14" fmla="*/ 146137 h 457041"/>
                <a:gd name="connsiteX15" fmla="*/ 384920 w 444341"/>
                <a:gd name="connsiteY15" fmla="*/ 146137 h 457041"/>
                <a:gd name="connsiteX16" fmla="*/ 279547 w 444341"/>
                <a:gd name="connsiteY16" fmla="*/ 59807 h 457041"/>
                <a:gd name="connsiteX17" fmla="*/ 227496 w 444341"/>
                <a:gd name="connsiteY17" fmla="*/ 50921 h 45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4341" h="457041">
                  <a:moveTo>
                    <a:pt x="228766" y="457179"/>
                  </a:moveTo>
                  <a:cubicBezTo>
                    <a:pt x="205914" y="457179"/>
                    <a:pt x="184331" y="453370"/>
                    <a:pt x="161480" y="447023"/>
                  </a:cubicBezTo>
                  <a:cubicBezTo>
                    <a:pt x="103080" y="429249"/>
                    <a:pt x="54838" y="389893"/>
                    <a:pt x="26908" y="336571"/>
                  </a:cubicBezTo>
                  <a:cubicBezTo>
                    <a:pt x="-32761" y="224850"/>
                    <a:pt x="10404" y="86468"/>
                    <a:pt x="120854" y="26799"/>
                  </a:cubicBezTo>
                  <a:cubicBezTo>
                    <a:pt x="174175" y="-2401"/>
                    <a:pt x="236383" y="-7479"/>
                    <a:pt x="294782" y="10295"/>
                  </a:cubicBezTo>
                  <a:cubicBezTo>
                    <a:pt x="353181" y="28068"/>
                    <a:pt x="401424" y="67425"/>
                    <a:pt x="429354" y="120746"/>
                  </a:cubicBezTo>
                  <a:lnTo>
                    <a:pt x="429354" y="120746"/>
                  </a:lnTo>
                  <a:cubicBezTo>
                    <a:pt x="489023" y="232467"/>
                    <a:pt x="445858" y="370849"/>
                    <a:pt x="335408" y="430519"/>
                  </a:cubicBezTo>
                  <a:cubicBezTo>
                    <a:pt x="302400" y="448292"/>
                    <a:pt x="265583" y="457179"/>
                    <a:pt x="228766" y="457179"/>
                  </a:cubicBezTo>
                  <a:close/>
                  <a:moveTo>
                    <a:pt x="227496" y="50921"/>
                  </a:moveTo>
                  <a:cubicBezTo>
                    <a:pt x="198296" y="50921"/>
                    <a:pt x="170367" y="58538"/>
                    <a:pt x="143706" y="72503"/>
                  </a:cubicBezTo>
                  <a:cubicBezTo>
                    <a:pt x="57377" y="118207"/>
                    <a:pt x="24369" y="226120"/>
                    <a:pt x="70072" y="312450"/>
                  </a:cubicBezTo>
                  <a:cubicBezTo>
                    <a:pt x="92924" y="354345"/>
                    <a:pt x="129741" y="384814"/>
                    <a:pt x="175445" y="398780"/>
                  </a:cubicBezTo>
                  <a:cubicBezTo>
                    <a:pt x="221149" y="412745"/>
                    <a:pt x="269391" y="407667"/>
                    <a:pt x="311286" y="386084"/>
                  </a:cubicBezTo>
                  <a:cubicBezTo>
                    <a:pt x="397616" y="340380"/>
                    <a:pt x="430624" y="232467"/>
                    <a:pt x="384920" y="146137"/>
                  </a:cubicBezTo>
                  <a:lnTo>
                    <a:pt x="384920" y="146137"/>
                  </a:lnTo>
                  <a:cubicBezTo>
                    <a:pt x="362068" y="104242"/>
                    <a:pt x="325251" y="73772"/>
                    <a:pt x="279547" y="59807"/>
                  </a:cubicBezTo>
                  <a:cubicBezTo>
                    <a:pt x="263043" y="53459"/>
                    <a:pt x="245270" y="50921"/>
                    <a:pt x="227496" y="50921"/>
                  </a:cubicBezTo>
                  <a:close/>
                </a:path>
              </a:pathLst>
            </a:custGeom>
            <a:solidFill>
              <a:srgbClr val="FFFFFF"/>
            </a:solidFill>
            <a:ln w="11211"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41EACDB0-AD9E-43A3-9B5F-61593654BFA8}"/>
                </a:ext>
              </a:extLst>
            </p:cNvPr>
            <p:cNvSpPr/>
            <p:nvPr/>
          </p:nvSpPr>
          <p:spPr>
            <a:xfrm>
              <a:off x="4689372" y="2758779"/>
              <a:ext cx="1713889" cy="1129907"/>
            </a:xfrm>
            <a:custGeom>
              <a:avLst/>
              <a:gdLst>
                <a:gd name="connsiteX0" fmla="*/ 27509 w 1713888"/>
                <a:gd name="connsiteY0" fmla="*/ 0 h 1129907"/>
                <a:gd name="connsiteX1" fmla="*/ 1721126 w 1713888"/>
                <a:gd name="connsiteY1" fmla="*/ 1091412 h 1129907"/>
                <a:gd name="connsiteX2" fmla="*/ 1693617 w 1713888"/>
                <a:gd name="connsiteY2" fmla="*/ 1134099 h 1129907"/>
                <a:gd name="connsiteX3" fmla="*/ 0 w 1713888"/>
                <a:gd name="connsiteY3" fmla="*/ 42688 h 1129907"/>
              </a:gdLst>
              <a:ahLst/>
              <a:cxnLst>
                <a:cxn ang="0">
                  <a:pos x="connsiteX0" y="connsiteY0"/>
                </a:cxn>
                <a:cxn ang="0">
                  <a:pos x="connsiteX1" y="connsiteY1"/>
                </a:cxn>
                <a:cxn ang="0">
                  <a:pos x="connsiteX2" y="connsiteY2"/>
                </a:cxn>
                <a:cxn ang="0">
                  <a:pos x="connsiteX3" y="connsiteY3"/>
                </a:cxn>
              </a:cxnLst>
              <a:rect l="l" t="t" r="r" b="b"/>
              <a:pathLst>
                <a:path w="1713888" h="1129907">
                  <a:moveTo>
                    <a:pt x="27509" y="0"/>
                  </a:moveTo>
                  <a:lnTo>
                    <a:pt x="1721126" y="1091412"/>
                  </a:lnTo>
                  <a:lnTo>
                    <a:pt x="1693617" y="1134099"/>
                  </a:lnTo>
                  <a:lnTo>
                    <a:pt x="0" y="42688"/>
                  </a:lnTo>
                  <a:close/>
                </a:path>
              </a:pathLst>
            </a:custGeom>
            <a:solidFill>
              <a:srgbClr val="FFFFFF"/>
            </a:solidFill>
            <a:ln w="11211"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42E34F2F-D77F-4B52-947A-82C838AEEE0F}"/>
                </a:ext>
              </a:extLst>
            </p:cNvPr>
            <p:cNvSpPr/>
            <p:nvPr/>
          </p:nvSpPr>
          <p:spPr>
            <a:xfrm>
              <a:off x="2794408" y="2549469"/>
              <a:ext cx="2462922" cy="2462944"/>
            </a:xfrm>
            <a:custGeom>
              <a:avLst/>
              <a:gdLst>
                <a:gd name="connsiteX0" fmla="*/ 1236783 w 2462921"/>
                <a:gd name="connsiteY0" fmla="*/ 2469536 h 2462944"/>
                <a:gd name="connsiteX1" fmla="*/ 144972 w 2462921"/>
                <a:gd name="connsiteY1" fmla="*/ 1815713 h 2462944"/>
                <a:gd name="connsiteX2" fmla="*/ 652791 w 2462921"/>
                <a:gd name="connsiteY2" fmla="*/ 144974 h 2462944"/>
                <a:gd name="connsiteX3" fmla="*/ 2323516 w 2462921"/>
                <a:gd name="connsiteY3" fmla="*/ 652797 h 2462944"/>
                <a:gd name="connsiteX4" fmla="*/ 1815697 w 2462921"/>
                <a:gd name="connsiteY4" fmla="*/ 2323537 h 2462944"/>
                <a:gd name="connsiteX5" fmla="*/ 1236783 w 2462921"/>
                <a:gd name="connsiteY5" fmla="*/ 2469536 h 2462944"/>
                <a:gd name="connsiteX6" fmla="*/ 1232974 w 2462921"/>
                <a:gd name="connsiteY6" fmla="*/ 52296 h 2462944"/>
                <a:gd name="connsiteX7" fmla="*/ 678182 w 2462921"/>
                <a:gd name="connsiteY7" fmla="*/ 191947 h 2462944"/>
                <a:gd name="connsiteX8" fmla="*/ 190676 w 2462921"/>
                <a:gd name="connsiteY8" fmla="*/ 1794131 h 2462944"/>
                <a:gd name="connsiteX9" fmla="*/ 1792845 w 2462921"/>
                <a:gd name="connsiteY9" fmla="*/ 2281641 h 2462944"/>
                <a:gd name="connsiteX10" fmla="*/ 2280351 w 2462921"/>
                <a:gd name="connsiteY10" fmla="*/ 679458 h 2462944"/>
                <a:gd name="connsiteX11" fmla="*/ 1232974 w 2462921"/>
                <a:gd name="connsiteY11" fmla="*/ 52296 h 246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921" h="2462944">
                  <a:moveTo>
                    <a:pt x="1236783" y="2469536"/>
                  </a:moveTo>
                  <a:cubicBezTo>
                    <a:pt x="794981" y="2469536"/>
                    <a:pt x="367143" y="2232128"/>
                    <a:pt x="144972" y="1815713"/>
                  </a:cubicBezTo>
                  <a:cubicBezTo>
                    <a:pt x="-174954" y="1215212"/>
                    <a:pt x="52295" y="466172"/>
                    <a:pt x="652791" y="144974"/>
                  </a:cubicBezTo>
                  <a:cubicBezTo>
                    <a:pt x="1253287" y="-174955"/>
                    <a:pt x="2002320" y="52296"/>
                    <a:pt x="2323516" y="652797"/>
                  </a:cubicBezTo>
                  <a:cubicBezTo>
                    <a:pt x="2643441" y="1253299"/>
                    <a:pt x="2416192" y="2002338"/>
                    <a:pt x="1815697" y="2323537"/>
                  </a:cubicBezTo>
                  <a:cubicBezTo>
                    <a:pt x="1631612" y="2423832"/>
                    <a:pt x="1432293" y="2469536"/>
                    <a:pt x="1236783" y="2469536"/>
                  </a:cubicBezTo>
                  <a:close/>
                  <a:moveTo>
                    <a:pt x="1232974" y="52296"/>
                  </a:moveTo>
                  <a:cubicBezTo>
                    <a:pt x="1045081" y="52296"/>
                    <a:pt x="854649" y="96731"/>
                    <a:pt x="678182" y="191947"/>
                  </a:cubicBezTo>
                  <a:cubicBezTo>
                    <a:pt x="101808" y="499181"/>
                    <a:pt x="-116554" y="1217751"/>
                    <a:pt x="190676" y="1794131"/>
                  </a:cubicBezTo>
                  <a:cubicBezTo>
                    <a:pt x="497907" y="2370510"/>
                    <a:pt x="1216470" y="2588875"/>
                    <a:pt x="1792845" y="2281641"/>
                  </a:cubicBezTo>
                  <a:cubicBezTo>
                    <a:pt x="2369219" y="1974408"/>
                    <a:pt x="2587581" y="1255838"/>
                    <a:pt x="2280351" y="679458"/>
                  </a:cubicBezTo>
                  <a:cubicBezTo>
                    <a:pt x="2065797" y="279547"/>
                    <a:pt x="1655734" y="52296"/>
                    <a:pt x="1232974" y="52296"/>
                  </a:cubicBezTo>
                  <a:close/>
                </a:path>
              </a:pathLst>
            </a:custGeom>
            <a:solidFill>
              <a:srgbClr val="FFFFFF"/>
            </a:solidFill>
            <a:ln w="11211"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6D121AC4-AB6B-444F-B162-6FA610CDBCC8}"/>
                </a:ext>
              </a:extLst>
            </p:cNvPr>
            <p:cNvSpPr/>
            <p:nvPr/>
          </p:nvSpPr>
          <p:spPr>
            <a:xfrm rot="5400000">
              <a:off x="2498396" y="3751691"/>
              <a:ext cx="2095938" cy="45719"/>
            </a:xfrm>
            <a:custGeom>
              <a:avLst/>
              <a:gdLst>
                <a:gd name="connsiteX0" fmla="*/ 2418487 w 2424835"/>
                <a:gd name="connsiteY0" fmla="*/ 41896 h 38086"/>
                <a:gd name="connsiteX1" fmla="*/ 2418487 w 2424835"/>
                <a:gd name="connsiteY1" fmla="*/ 41896 h 38086"/>
                <a:gd name="connsiteX2" fmla="*/ 2304228 w 2424835"/>
                <a:gd name="connsiteY2" fmla="*/ 41896 h 38086"/>
                <a:gd name="connsiteX3" fmla="*/ 2285185 w 2424835"/>
                <a:gd name="connsiteY3" fmla="*/ 22852 h 38086"/>
                <a:gd name="connsiteX4" fmla="*/ 2304228 w 2424835"/>
                <a:gd name="connsiteY4" fmla="*/ 3809 h 38086"/>
                <a:gd name="connsiteX5" fmla="*/ 2304228 w 2424835"/>
                <a:gd name="connsiteY5" fmla="*/ 3809 h 38086"/>
                <a:gd name="connsiteX6" fmla="*/ 2418487 w 2424835"/>
                <a:gd name="connsiteY6" fmla="*/ 3809 h 38086"/>
                <a:gd name="connsiteX7" fmla="*/ 2437531 w 2424835"/>
                <a:gd name="connsiteY7" fmla="*/ 22852 h 38086"/>
                <a:gd name="connsiteX8" fmla="*/ 2418487 w 2424835"/>
                <a:gd name="connsiteY8" fmla="*/ 41896 h 38086"/>
                <a:gd name="connsiteX9" fmla="*/ 2189969 w 2424835"/>
                <a:gd name="connsiteY9" fmla="*/ 41896 h 38086"/>
                <a:gd name="connsiteX10" fmla="*/ 2189969 w 2424835"/>
                <a:gd name="connsiteY10" fmla="*/ 41896 h 38086"/>
                <a:gd name="connsiteX11" fmla="*/ 2075710 w 2424835"/>
                <a:gd name="connsiteY11" fmla="*/ 41896 h 38086"/>
                <a:gd name="connsiteX12" fmla="*/ 2056666 w 2424835"/>
                <a:gd name="connsiteY12" fmla="*/ 22852 h 38086"/>
                <a:gd name="connsiteX13" fmla="*/ 2075710 w 2424835"/>
                <a:gd name="connsiteY13" fmla="*/ 3809 h 38086"/>
                <a:gd name="connsiteX14" fmla="*/ 2075710 w 2424835"/>
                <a:gd name="connsiteY14" fmla="*/ 3809 h 38086"/>
                <a:gd name="connsiteX15" fmla="*/ 2189969 w 2424835"/>
                <a:gd name="connsiteY15" fmla="*/ 3809 h 38086"/>
                <a:gd name="connsiteX16" fmla="*/ 2209012 w 2424835"/>
                <a:gd name="connsiteY16" fmla="*/ 22852 h 38086"/>
                <a:gd name="connsiteX17" fmla="*/ 2189969 w 2424835"/>
                <a:gd name="connsiteY17" fmla="*/ 41896 h 38086"/>
                <a:gd name="connsiteX18" fmla="*/ 1961450 w 2424835"/>
                <a:gd name="connsiteY18" fmla="*/ 41896 h 38086"/>
                <a:gd name="connsiteX19" fmla="*/ 1961450 w 2424835"/>
                <a:gd name="connsiteY19" fmla="*/ 41896 h 38086"/>
                <a:gd name="connsiteX20" fmla="*/ 1847191 w 2424835"/>
                <a:gd name="connsiteY20" fmla="*/ 41896 h 38086"/>
                <a:gd name="connsiteX21" fmla="*/ 1828148 w 2424835"/>
                <a:gd name="connsiteY21" fmla="*/ 22852 h 38086"/>
                <a:gd name="connsiteX22" fmla="*/ 1847191 w 2424835"/>
                <a:gd name="connsiteY22" fmla="*/ 3809 h 38086"/>
                <a:gd name="connsiteX23" fmla="*/ 1847191 w 2424835"/>
                <a:gd name="connsiteY23" fmla="*/ 3809 h 38086"/>
                <a:gd name="connsiteX24" fmla="*/ 1961450 w 2424835"/>
                <a:gd name="connsiteY24" fmla="*/ 3809 h 38086"/>
                <a:gd name="connsiteX25" fmla="*/ 1980494 w 2424835"/>
                <a:gd name="connsiteY25" fmla="*/ 22852 h 38086"/>
                <a:gd name="connsiteX26" fmla="*/ 1961450 w 2424835"/>
                <a:gd name="connsiteY26" fmla="*/ 41896 h 38086"/>
                <a:gd name="connsiteX27" fmla="*/ 1732932 w 2424835"/>
                <a:gd name="connsiteY27" fmla="*/ 40626 h 38086"/>
                <a:gd name="connsiteX28" fmla="*/ 1732932 w 2424835"/>
                <a:gd name="connsiteY28" fmla="*/ 40626 h 38086"/>
                <a:gd name="connsiteX29" fmla="*/ 1618673 w 2424835"/>
                <a:gd name="connsiteY29" fmla="*/ 40626 h 38086"/>
                <a:gd name="connsiteX30" fmla="*/ 1599629 w 2424835"/>
                <a:gd name="connsiteY30" fmla="*/ 21583 h 38086"/>
                <a:gd name="connsiteX31" fmla="*/ 1618673 w 2424835"/>
                <a:gd name="connsiteY31" fmla="*/ 2539 h 38086"/>
                <a:gd name="connsiteX32" fmla="*/ 1618673 w 2424835"/>
                <a:gd name="connsiteY32" fmla="*/ 2539 h 38086"/>
                <a:gd name="connsiteX33" fmla="*/ 1732932 w 2424835"/>
                <a:gd name="connsiteY33" fmla="*/ 2539 h 38086"/>
                <a:gd name="connsiteX34" fmla="*/ 1751975 w 2424835"/>
                <a:gd name="connsiteY34" fmla="*/ 21583 h 38086"/>
                <a:gd name="connsiteX35" fmla="*/ 1732932 w 2424835"/>
                <a:gd name="connsiteY35" fmla="*/ 40626 h 38086"/>
                <a:gd name="connsiteX36" fmla="*/ 1504413 w 2424835"/>
                <a:gd name="connsiteY36" fmla="*/ 40626 h 38086"/>
                <a:gd name="connsiteX37" fmla="*/ 1504413 w 2424835"/>
                <a:gd name="connsiteY37" fmla="*/ 40626 h 38086"/>
                <a:gd name="connsiteX38" fmla="*/ 1390154 w 2424835"/>
                <a:gd name="connsiteY38" fmla="*/ 40626 h 38086"/>
                <a:gd name="connsiteX39" fmla="*/ 1371111 w 2424835"/>
                <a:gd name="connsiteY39" fmla="*/ 21583 h 38086"/>
                <a:gd name="connsiteX40" fmla="*/ 1390154 w 2424835"/>
                <a:gd name="connsiteY40" fmla="*/ 2539 h 38086"/>
                <a:gd name="connsiteX41" fmla="*/ 1390154 w 2424835"/>
                <a:gd name="connsiteY41" fmla="*/ 2539 h 38086"/>
                <a:gd name="connsiteX42" fmla="*/ 1504413 w 2424835"/>
                <a:gd name="connsiteY42" fmla="*/ 2539 h 38086"/>
                <a:gd name="connsiteX43" fmla="*/ 1523457 w 2424835"/>
                <a:gd name="connsiteY43" fmla="*/ 21583 h 38086"/>
                <a:gd name="connsiteX44" fmla="*/ 1504413 w 2424835"/>
                <a:gd name="connsiteY44" fmla="*/ 40626 h 38086"/>
                <a:gd name="connsiteX45" fmla="*/ 1275895 w 2424835"/>
                <a:gd name="connsiteY45" fmla="*/ 40626 h 38086"/>
                <a:gd name="connsiteX46" fmla="*/ 1275895 w 2424835"/>
                <a:gd name="connsiteY46" fmla="*/ 40626 h 38086"/>
                <a:gd name="connsiteX47" fmla="*/ 1161636 w 2424835"/>
                <a:gd name="connsiteY47" fmla="*/ 40626 h 38086"/>
                <a:gd name="connsiteX48" fmla="*/ 1142592 w 2424835"/>
                <a:gd name="connsiteY48" fmla="*/ 21583 h 38086"/>
                <a:gd name="connsiteX49" fmla="*/ 1161636 w 2424835"/>
                <a:gd name="connsiteY49" fmla="*/ 2539 h 38086"/>
                <a:gd name="connsiteX50" fmla="*/ 1161636 w 2424835"/>
                <a:gd name="connsiteY50" fmla="*/ 2539 h 38086"/>
                <a:gd name="connsiteX51" fmla="*/ 1275895 w 2424835"/>
                <a:gd name="connsiteY51" fmla="*/ 2539 h 38086"/>
                <a:gd name="connsiteX52" fmla="*/ 1294938 w 2424835"/>
                <a:gd name="connsiteY52" fmla="*/ 21583 h 38086"/>
                <a:gd name="connsiteX53" fmla="*/ 1275895 w 2424835"/>
                <a:gd name="connsiteY53" fmla="*/ 40626 h 38086"/>
                <a:gd name="connsiteX54" fmla="*/ 1047376 w 2424835"/>
                <a:gd name="connsiteY54" fmla="*/ 40626 h 38086"/>
                <a:gd name="connsiteX55" fmla="*/ 1047376 w 2424835"/>
                <a:gd name="connsiteY55" fmla="*/ 40626 h 38086"/>
                <a:gd name="connsiteX56" fmla="*/ 933117 w 2424835"/>
                <a:gd name="connsiteY56" fmla="*/ 40626 h 38086"/>
                <a:gd name="connsiteX57" fmla="*/ 914074 w 2424835"/>
                <a:gd name="connsiteY57" fmla="*/ 21583 h 38086"/>
                <a:gd name="connsiteX58" fmla="*/ 933117 w 2424835"/>
                <a:gd name="connsiteY58" fmla="*/ 2539 h 38086"/>
                <a:gd name="connsiteX59" fmla="*/ 933117 w 2424835"/>
                <a:gd name="connsiteY59" fmla="*/ 2539 h 38086"/>
                <a:gd name="connsiteX60" fmla="*/ 1047376 w 2424835"/>
                <a:gd name="connsiteY60" fmla="*/ 2539 h 38086"/>
                <a:gd name="connsiteX61" fmla="*/ 1066420 w 2424835"/>
                <a:gd name="connsiteY61" fmla="*/ 21583 h 38086"/>
                <a:gd name="connsiteX62" fmla="*/ 1047376 w 2424835"/>
                <a:gd name="connsiteY62" fmla="*/ 40626 h 38086"/>
                <a:gd name="connsiteX63" fmla="*/ 818858 w 2424835"/>
                <a:gd name="connsiteY63" fmla="*/ 39356 h 38086"/>
                <a:gd name="connsiteX64" fmla="*/ 818858 w 2424835"/>
                <a:gd name="connsiteY64" fmla="*/ 39356 h 38086"/>
                <a:gd name="connsiteX65" fmla="*/ 704599 w 2424835"/>
                <a:gd name="connsiteY65" fmla="*/ 39356 h 38086"/>
                <a:gd name="connsiteX66" fmla="*/ 685555 w 2424835"/>
                <a:gd name="connsiteY66" fmla="*/ 20313 h 38086"/>
                <a:gd name="connsiteX67" fmla="*/ 704599 w 2424835"/>
                <a:gd name="connsiteY67" fmla="*/ 1270 h 38086"/>
                <a:gd name="connsiteX68" fmla="*/ 704599 w 2424835"/>
                <a:gd name="connsiteY68" fmla="*/ 1270 h 38086"/>
                <a:gd name="connsiteX69" fmla="*/ 818858 w 2424835"/>
                <a:gd name="connsiteY69" fmla="*/ 1270 h 38086"/>
                <a:gd name="connsiteX70" fmla="*/ 837901 w 2424835"/>
                <a:gd name="connsiteY70" fmla="*/ 20313 h 38086"/>
                <a:gd name="connsiteX71" fmla="*/ 818858 w 2424835"/>
                <a:gd name="connsiteY71" fmla="*/ 39356 h 38086"/>
                <a:gd name="connsiteX72" fmla="*/ 590339 w 2424835"/>
                <a:gd name="connsiteY72" fmla="*/ 39356 h 38086"/>
                <a:gd name="connsiteX73" fmla="*/ 590339 w 2424835"/>
                <a:gd name="connsiteY73" fmla="*/ 39356 h 38086"/>
                <a:gd name="connsiteX74" fmla="*/ 476080 w 2424835"/>
                <a:gd name="connsiteY74" fmla="*/ 39356 h 38086"/>
                <a:gd name="connsiteX75" fmla="*/ 457037 w 2424835"/>
                <a:gd name="connsiteY75" fmla="*/ 20313 h 38086"/>
                <a:gd name="connsiteX76" fmla="*/ 476080 w 2424835"/>
                <a:gd name="connsiteY76" fmla="*/ 1270 h 38086"/>
                <a:gd name="connsiteX77" fmla="*/ 476080 w 2424835"/>
                <a:gd name="connsiteY77" fmla="*/ 1270 h 38086"/>
                <a:gd name="connsiteX78" fmla="*/ 590339 w 2424835"/>
                <a:gd name="connsiteY78" fmla="*/ 1270 h 38086"/>
                <a:gd name="connsiteX79" fmla="*/ 609383 w 2424835"/>
                <a:gd name="connsiteY79" fmla="*/ 20313 h 38086"/>
                <a:gd name="connsiteX80" fmla="*/ 590339 w 2424835"/>
                <a:gd name="connsiteY80" fmla="*/ 39356 h 38086"/>
                <a:gd name="connsiteX81" fmla="*/ 361821 w 2424835"/>
                <a:gd name="connsiteY81" fmla="*/ 39356 h 38086"/>
                <a:gd name="connsiteX82" fmla="*/ 361821 w 2424835"/>
                <a:gd name="connsiteY82" fmla="*/ 39356 h 38086"/>
                <a:gd name="connsiteX83" fmla="*/ 247562 w 2424835"/>
                <a:gd name="connsiteY83" fmla="*/ 39356 h 38086"/>
                <a:gd name="connsiteX84" fmla="*/ 228518 w 2424835"/>
                <a:gd name="connsiteY84" fmla="*/ 20313 h 38086"/>
                <a:gd name="connsiteX85" fmla="*/ 247562 w 2424835"/>
                <a:gd name="connsiteY85" fmla="*/ 1270 h 38086"/>
                <a:gd name="connsiteX86" fmla="*/ 247562 w 2424835"/>
                <a:gd name="connsiteY86" fmla="*/ 1270 h 38086"/>
                <a:gd name="connsiteX87" fmla="*/ 361821 w 2424835"/>
                <a:gd name="connsiteY87" fmla="*/ 1270 h 38086"/>
                <a:gd name="connsiteX88" fmla="*/ 380864 w 2424835"/>
                <a:gd name="connsiteY88" fmla="*/ 20313 h 38086"/>
                <a:gd name="connsiteX89" fmla="*/ 361821 w 2424835"/>
                <a:gd name="connsiteY89" fmla="*/ 39356 h 38086"/>
                <a:gd name="connsiteX90" fmla="*/ 133302 w 2424835"/>
                <a:gd name="connsiteY90" fmla="*/ 38087 h 38086"/>
                <a:gd name="connsiteX91" fmla="*/ 133302 w 2424835"/>
                <a:gd name="connsiteY91" fmla="*/ 38087 h 38086"/>
                <a:gd name="connsiteX92" fmla="*/ 19043 w 2424835"/>
                <a:gd name="connsiteY92" fmla="*/ 38087 h 38086"/>
                <a:gd name="connsiteX93" fmla="*/ 0 w 2424835"/>
                <a:gd name="connsiteY93" fmla="*/ 19043 h 38086"/>
                <a:gd name="connsiteX94" fmla="*/ 19043 w 2424835"/>
                <a:gd name="connsiteY94" fmla="*/ 0 h 38086"/>
                <a:gd name="connsiteX95" fmla="*/ 19043 w 2424835"/>
                <a:gd name="connsiteY95" fmla="*/ 0 h 38086"/>
                <a:gd name="connsiteX96" fmla="*/ 133302 w 2424835"/>
                <a:gd name="connsiteY96" fmla="*/ 0 h 38086"/>
                <a:gd name="connsiteX97" fmla="*/ 152346 w 2424835"/>
                <a:gd name="connsiteY97" fmla="*/ 19043 h 38086"/>
                <a:gd name="connsiteX98" fmla="*/ 133302 w 2424835"/>
                <a:gd name="connsiteY98" fmla="*/ 38087 h 3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424835" h="38086">
                  <a:moveTo>
                    <a:pt x="2418487" y="41896"/>
                  </a:moveTo>
                  <a:cubicBezTo>
                    <a:pt x="2418487" y="41896"/>
                    <a:pt x="2418487" y="41896"/>
                    <a:pt x="2418487" y="41896"/>
                  </a:cubicBezTo>
                  <a:lnTo>
                    <a:pt x="2304228" y="41896"/>
                  </a:lnTo>
                  <a:cubicBezTo>
                    <a:pt x="2294072" y="41896"/>
                    <a:pt x="2285185" y="33009"/>
                    <a:pt x="2285185" y="22852"/>
                  </a:cubicBezTo>
                  <a:cubicBezTo>
                    <a:pt x="2285185" y="12696"/>
                    <a:pt x="2294072" y="3809"/>
                    <a:pt x="2304228" y="3809"/>
                  </a:cubicBezTo>
                  <a:cubicBezTo>
                    <a:pt x="2304228" y="3809"/>
                    <a:pt x="2304228" y="3809"/>
                    <a:pt x="2304228" y="3809"/>
                  </a:cubicBezTo>
                  <a:lnTo>
                    <a:pt x="2418487" y="3809"/>
                  </a:lnTo>
                  <a:cubicBezTo>
                    <a:pt x="2428644" y="3809"/>
                    <a:pt x="2437531" y="12696"/>
                    <a:pt x="2437531" y="22852"/>
                  </a:cubicBezTo>
                  <a:cubicBezTo>
                    <a:pt x="2437531" y="34278"/>
                    <a:pt x="2428644" y="41896"/>
                    <a:pt x="2418487" y="41896"/>
                  </a:cubicBezTo>
                  <a:close/>
                  <a:moveTo>
                    <a:pt x="2189969" y="41896"/>
                  </a:moveTo>
                  <a:cubicBezTo>
                    <a:pt x="2189969" y="41896"/>
                    <a:pt x="2189969" y="41896"/>
                    <a:pt x="2189969" y="41896"/>
                  </a:cubicBezTo>
                  <a:lnTo>
                    <a:pt x="2075710" y="41896"/>
                  </a:lnTo>
                  <a:cubicBezTo>
                    <a:pt x="2065553" y="41896"/>
                    <a:pt x="2056666" y="33009"/>
                    <a:pt x="2056666" y="22852"/>
                  </a:cubicBezTo>
                  <a:cubicBezTo>
                    <a:pt x="2056666" y="12696"/>
                    <a:pt x="2065553" y="3809"/>
                    <a:pt x="2075710" y="3809"/>
                  </a:cubicBezTo>
                  <a:cubicBezTo>
                    <a:pt x="2075710" y="3809"/>
                    <a:pt x="2075710" y="3809"/>
                    <a:pt x="2075710" y="3809"/>
                  </a:cubicBezTo>
                  <a:lnTo>
                    <a:pt x="2189969" y="3809"/>
                  </a:lnTo>
                  <a:cubicBezTo>
                    <a:pt x="2200125" y="3809"/>
                    <a:pt x="2209012" y="12696"/>
                    <a:pt x="2209012" y="22852"/>
                  </a:cubicBezTo>
                  <a:cubicBezTo>
                    <a:pt x="2209012" y="33009"/>
                    <a:pt x="2200125" y="41896"/>
                    <a:pt x="2189969" y="41896"/>
                  </a:cubicBezTo>
                  <a:close/>
                  <a:moveTo>
                    <a:pt x="1961450" y="41896"/>
                  </a:moveTo>
                  <a:cubicBezTo>
                    <a:pt x="1961450" y="41896"/>
                    <a:pt x="1961450" y="41896"/>
                    <a:pt x="1961450" y="41896"/>
                  </a:cubicBezTo>
                  <a:lnTo>
                    <a:pt x="1847191" y="41896"/>
                  </a:lnTo>
                  <a:cubicBezTo>
                    <a:pt x="1837035" y="41896"/>
                    <a:pt x="1828148" y="33009"/>
                    <a:pt x="1828148" y="22852"/>
                  </a:cubicBezTo>
                  <a:cubicBezTo>
                    <a:pt x="1828148" y="12696"/>
                    <a:pt x="1837035" y="3809"/>
                    <a:pt x="1847191" y="3809"/>
                  </a:cubicBezTo>
                  <a:cubicBezTo>
                    <a:pt x="1847191" y="3809"/>
                    <a:pt x="1847191" y="3809"/>
                    <a:pt x="1847191" y="3809"/>
                  </a:cubicBezTo>
                  <a:lnTo>
                    <a:pt x="1961450" y="3809"/>
                  </a:lnTo>
                  <a:cubicBezTo>
                    <a:pt x="1971607" y="3809"/>
                    <a:pt x="1980494" y="12696"/>
                    <a:pt x="1980494" y="22852"/>
                  </a:cubicBezTo>
                  <a:cubicBezTo>
                    <a:pt x="1980494" y="33009"/>
                    <a:pt x="1971607" y="41896"/>
                    <a:pt x="1961450" y="41896"/>
                  </a:cubicBezTo>
                  <a:close/>
                  <a:moveTo>
                    <a:pt x="1732932" y="40626"/>
                  </a:moveTo>
                  <a:cubicBezTo>
                    <a:pt x="1732932" y="40626"/>
                    <a:pt x="1732932" y="40626"/>
                    <a:pt x="1732932" y="40626"/>
                  </a:cubicBezTo>
                  <a:lnTo>
                    <a:pt x="1618673" y="40626"/>
                  </a:lnTo>
                  <a:cubicBezTo>
                    <a:pt x="1608516" y="40626"/>
                    <a:pt x="1599629" y="31739"/>
                    <a:pt x="1599629" y="21583"/>
                  </a:cubicBezTo>
                  <a:cubicBezTo>
                    <a:pt x="1599629" y="11426"/>
                    <a:pt x="1608516" y="2539"/>
                    <a:pt x="1618673" y="2539"/>
                  </a:cubicBezTo>
                  <a:cubicBezTo>
                    <a:pt x="1618673" y="2539"/>
                    <a:pt x="1618673" y="2539"/>
                    <a:pt x="1618673" y="2539"/>
                  </a:cubicBezTo>
                  <a:lnTo>
                    <a:pt x="1732932" y="2539"/>
                  </a:lnTo>
                  <a:cubicBezTo>
                    <a:pt x="1743088" y="2539"/>
                    <a:pt x="1751975" y="11426"/>
                    <a:pt x="1751975" y="21583"/>
                  </a:cubicBezTo>
                  <a:cubicBezTo>
                    <a:pt x="1751975" y="33009"/>
                    <a:pt x="1743088" y="40626"/>
                    <a:pt x="1732932" y="40626"/>
                  </a:cubicBezTo>
                  <a:close/>
                  <a:moveTo>
                    <a:pt x="1504413" y="40626"/>
                  </a:moveTo>
                  <a:cubicBezTo>
                    <a:pt x="1504413" y="40626"/>
                    <a:pt x="1504413" y="40626"/>
                    <a:pt x="1504413" y="40626"/>
                  </a:cubicBezTo>
                  <a:lnTo>
                    <a:pt x="1390154" y="40626"/>
                  </a:lnTo>
                  <a:cubicBezTo>
                    <a:pt x="1379998" y="40626"/>
                    <a:pt x="1371111" y="31739"/>
                    <a:pt x="1371111" y="21583"/>
                  </a:cubicBezTo>
                  <a:cubicBezTo>
                    <a:pt x="1371111" y="11426"/>
                    <a:pt x="1379998" y="2539"/>
                    <a:pt x="1390154" y="2539"/>
                  </a:cubicBezTo>
                  <a:cubicBezTo>
                    <a:pt x="1390154" y="2539"/>
                    <a:pt x="1390154" y="2539"/>
                    <a:pt x="1390154" y="2539"/>
                  </a:cubicBezTo>
                  <a:lnTo>
                    <a:pt x="1504413" y="2539"/>
                  </a:lnTo>
                  <a:cubicBezTo>
                    <a:pt x="1514570" y="2539"/>
                    <a:pt x="1523457" y="11426"/>
                    <a:pt x="1523457" y="21583"/>
                  </a:cubicBezTo>
                  <a:cubicBezTo>
                    <a:pt x="1523457" y="31739"/>
                    <a:pt x="1514570" y="40626"/>
                    <a:pt x="1504413" y="40626"/>
                  </a:cubicBezTo>
                  <a:close/>
                  <a:moveTo>
                    <a:pt x="1275895" y="40626"/>
                  </a:moveTo>
                  <a:cubicBezTo>
                    <a:pt x="1275895" y="40626"/>
                    <a:pt x="1275895" y="40626"/>
                    <a:pt x="1275895" y="40626"/>
                  </a:cubicBezTo>
                  <a:lnTo>
                    <a:pt x="1161636" y="40626"/>
                  </a:lnTo>
                  <a:cubicBezTo>
                    <a:pt x="1151479" y="40626"/>
                    <a:pt x="1142592" y="31739"/>
                    <a:pt x="1142592" y="21583"/>
                  </a:cubicBezTo>
                  <a:cubicBezTo>
                    <a:pt x="1142592" y="11426"/>
                    <a:pt x="1151479" y="2539"/>
                    <a:pt x="1161636" y="2539"/>
                  </a:cubicBezTo>
                  <a:cubicBezTo>
                    <a:pt x="1161636" y="2539"/>
                    <a:pt x="1161636" y="2539"/>
                    <a:pt x="1161636" y="2539"/>
                  </a:cubicBezTo>
                  <a:lnTo>
                    <a:pt x="1275895" y="2539"/>
                  </a:lnTo>
                  <a:cubicBezTo>
                    <a:pt x="1286051" y="2539"/>
                    <a:pt x="1294938" y="11426"/>
                    <a:pt x="1294938" y="21583"/>
                  </a:cubicBezTo>
                  <a:cubicBezTo>
                    <a:pt x="1294938" y="31739"/>
                    <a:pt x="1286051" y="40626"/>
                    <a:pt x="1275895" y="40626"/>
                  </a:cubicBezTo>
                  <a:close/>
                  <a:moveTo>
                    <a:pt x="1047376" y="40626"/>
                  </a:moveTo>
                  <a:cubicBezTo>
                    <a:pt x="1047376" y="40626"/>
                    <a:pt x="1047376" y="40626"/>
                    <a:pt x="1047376" y="40626"/>
                  </a:cubicBezTo>
                  <a:lnTo>
                    <a:pt x="933117" y="40626"/>
                  </a:lnTo>
                  <a:cubicBezTo>
                    <a:pt x="922961" y="40626"/>
                    <a:pt x="914074" y="31739"/>
                    <a:pt x="914074" y="21583"/>
                  </a:cubicBezTo>
                  <a:cubicBezTo>
                    <a:pt x="914074" y="11426"/>
                    <a:pt x="922961" y="2539"/>
                    <a:pt x="933117" y="2539"/>
                  </a:cubicBezTo>
                  <a:cubicBezTo>
                    <a:pt x="933117" y="2539"/>
                    <a:pt x="933117" y="2539"/>
                    <a:pt x="933117" y="2539"/>
                  </a:cubicBezTo>
                  <a:lnTo>
                    <a:pt x="1047376" y="2539"/>
                  </a:lnTo>
                  <a:cubicBezTo>
                    <a:pt x="1057533" y="2539"/>
                    <a:pt x="1066420" y="11426"/>
                    <a:pt x="1066420" y="21583"/>
                  </a:cubicBezTo>
                  <a:cubicBezTo>
                    <a:pt x="1066420" y="31739"/>
                    <a:pt x="1057533" y="40626"/>
                    <a:pt x="1047376" y="40626"/>
                  </a:cubicBezTo>
                  <a:close/>
                  <a:moveTo>
                    <a:pt x="818858" y="39356"/>
                  </a:moveTo>
                  <a:cubicBezTo>
                    <a:pt x="818858" y="39356"/>
                    <a:pt x="818858" y="39356"/>
                    <a:pt x="818858" y="39356"/>
                  </a:cubicBezTo>
                  <a:lnTo>
                    <a:pt x="704599" y="39356"/>
                  </a:lnTo>
                  <a:cubicBezTo>
                    <a:pt x="694442" y="39356"/>
                    <a:pt x="685555" y="30469"/>
                    <a:pt x="685555" y="20313"/>
                  </a:cubicBezTo>
                  <a:cubicBezTo>
                    <a:pt x="685555" y="10157"/>
                    <a:pt x="694442" y="1270"/>
                    <a:pt x="704599" y="1270"/>
                  </a:cubicBezTo>
                  <a:cubicBezTo>
                    <a:pt x="704599" y="1270"/>
                    <a:pt x="704599" y="1270"/>
                    <a:pt x="704599" y="1270"/>
                  </a:cubicBezTo>
                  <a:lnTo>
                    <a:pt x="818858" y="1270"/>
                  </a:lnTo>
                  <a:cubicBezTo>
                    <a:pt x="829014" y="1270"/>
                    <a:pt x="837901" y="10157"/>
                    <a:pt x="837901" y="20313"/>
                  </a:cubicBezTo>
                  <a:cubicBezTo>
                    <a:pt x="837901" y="31739"/>
                    <a:pt x="829014" y="39356"/>
                    <a:pt x="818858" y="39356"/>
                  </a:cubicBezTo>
                  <a:close/>
                  <a:moveTo>
                    <a:pt x="590339" y="39356"/>
                  </a:moveTo>
                  <a:cubicBezTo>
                    <a:pt x="590339" y="39356"/>
                    <a:pt x="590339" y="39356"/>
                    <a:pt x="590339" y="39356"/>
                  </a:cubicBezTo>
                  <a:lnTo>
                    <a:pt x="476080" y="39356"/>
                  </a:lnTo>
                  <a:cubicBezTo>
                    <a:pt x="465924" y="39356"/>
                    <a:pt x="457037" y="30469"/>
                    <a:pt x="457037" y="20313"/>
                  </a:cubicBezTo>
                  <a:cubicBezTo>
                    <a:pt x="457037" y="10157"/>
                    <a:pt x="465924" y="1270"/>
                    <a:pt x="476080" y="1270"/>
                  </a:cubicBezTo>
                  <a:cubicBezTo>
                    <a:pt x="476080" y="1270"/>
                    <a:pt x="476080" y="1270"/>
                    <a:pt x="476080" y="1270"/>
                  </a:cubicBezTo>
                  <a:lnTo>
                    <a:pt x="590339" y="1270"/>
                  </a:lnTo>
                  <a:cubicBezTo>
                    <a:pt x="600496" y="1270"/>
                    <a:pt x="609383" y="10157"/>
                    <a:pt x="609383" y="20313"/>
                  </a:cubicBezTo>
                  <a:cubicBezTo>
                    <a:pt x="609383" y="30469"/>
                    <a:pt x="600496" y="39356"/>
                    <a:pt x="590339" y="39356"/>
                  </a:cubicBezTo>
                  <a:close/>
                  <a:moveTo>
                    <a:pt x="361821" y="39356"/>
                  </a:moveTo>
                  <a:cubicBezTo>
                    <a:pt x="361821" y="39356"/>
                    <a:pt x="361821" y="39356"/>
                    <a:pt x="361821" y="39356"/>
                  </a:cubicBezTo>
                  <a:lnTo>
                    <a:pt x="247562" y="39356"/>
                  </a:lnTo>
                  <a:cubicBezTo>
                    <a:pt x="237405" y="39356"/>
                    <a:pt x="228518" y="30469"/>
                    <a:pt x="228518" y="20313"/>
                  </a:cubicBezTo>
                  <a:cubicBezTo>
                    <a:pt x="228518" y="10157"/>
                    <a:pt x="237405" y="1270"/>
                    <a:pt x="247562" y="1270"/>
                  </a:cubicBezTo>
                  <a:cubicBezTo>
                    <a:pt x="247562" y="1270"/>
                    <a:pt x="247562" y="1270"/>
                    <a:pt x="247562" y="1270"/>
                  </a:cubicBezTo>
                  <a:lnTo>
                    <a:pt x="361821" y="1270"/>
                  </a:lnTo>
                  <a:cubicBezTo>
                    <a:pt x="371977" y="1270"/>
                    <a:pt x="380864" y="10157"/>
                    <a:pt x="380864" y="20313"/>
                  </a:cubicBezTo>
                  <a:cubicBezTo>
                    <a:pt x="380864" y="30469"/>
                    <a:pt x="371977" y="39356"/>
                    <a:pt x="361821" y="39356"/>
                  </a:cubicBezTo>
                  <a:close/>
                  <a:moveTo>
                    <a:pt x="133302" y="38087"/>
                  </a:moveTo>
                  <a:cubicBezTo>
                    <a:pt x="133302" y="38087"/>
                    <a:pt x="133302" y="38087"/>
                    <a:pt x="133302" y="38087"/>
                  </a:cubicBezTo>
                  <a:lnTo>
                    <a:pt x="19043" y="38087"/>
                  </a:lnTo>
                  <a:cubicBezTo>
                    <a:pt x="8887" y="38087"/>
                    <a:pt x="0" y="29200"/>
                    <a:pt x="0" y="19043"/>
                  </a:cubicBezTo>
                  <a:cubicBezTo>
                    <a:pt x="0" y="8887"/>
                    <a:pt x="8887" y="0"/>
                    <a:pt x="19043" y="0"/>
                  </a:cubicBezTo>
                  <a:cubicBezTo>
                    <a:pt x="19043" y="0"/>
                    <a:pt x="19043" y="0"/>
                    <a:pt x="19043" y="0"/>
                  </a:cubicBezTo>
                  <a:lnTo>
                    <a:pt x="133302" y="0"/>
                  </a:lnTo>
                  <a:cubicBezTo>
                    <a:pt x="143459" y="0"/>
                    <a:pt x="152346" y="8887"/>
                    <a:pt x="152346" y="19043"/>
                  </a:cubicBezTo>
                  <a:cubicBezTo>
                    <a:pt x="152346" y="30469"/>
                    <a:pt x="143459" y="38087"/>
                    <a:pt x="133302" y="38087"/>
                  </a:cubicBezTo>
                  <a:close/>
                </a:path>
              </a:pathLst>
            </a:custGeom>
            <a:solidFill>
              <a:srgbClr val="FFFFFF"/>
            </a:solidFill>
            <a:ln w="11211"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802A2C7B-5657-4228-837D-CF861176E363}"/>
                </a:ext>
              </a:extLst>
            </p:cNvPr>
            <p:cNvSpPr/>
            <p:nvPr/>
          </p:nvSpPr>
          <p:spPr>
            <a:xfrm rot="5400000">
              <a:off x="3459320" y="3759714"/>
              <a:ext cx="2095938" cy="45719"/>
            </a:xfrm>
            <a:custGeom>
              <a:avLst/>
              <a:gdLst>
                <a:gd name="connsiteX0" fmla="*/ 2418487 w 2424835"/>
                <a:gd name="connsiteY0" fmla="*/ 41896 h 38086"/>
                <a:gd name="connsiteX1" fmla="*/ 2418487 w 2424835"/>
                <a:gd name="connsiteY1" fmla="*/ 41896 h 38086"/>
                <a:gd name="connsiteX2" fmla="*/ 2304228 w 2424835"/>
                <a:gd name="connsiteY2" fmla="*/ 41896 h 38086"/>
                <a:gd name="connsiteX3" fmla="*/ 2285185 w 2424835"/>
                <a:gd name="connsiteY3" fmla="*/ 22852 h 38086"/>
                <a:gd name="connsiteX4" fmla="*/ 2304228 w 2424835"/>
                <a:gd name="connsiteY4" fmla="*/ 3809 h 38086"/>
                <a:gd name="connsiteX5" fmla="*/ 2304228 w 2424835"/>
                <a:gd name="connsiteY5" fmla="*/ 3809 h 38086"/>
                <a:gd name="connsiteX6" fmla="*/ 2418487 w 2424835"/>
                <a:gd name="connsiteY6" fmla="*/ 3809 h 38086"/>
                <a:gd name="connsiteX7" fmla="*/ 2437531 w 2424835"/>
                <a:gd name="connsiteY7" fmla="*/ 22852 h 38086"/>
                <a:gd name="connsiteX8" fmla="*/ 2418487 w 2424835"/>
                <a:gd name="connsiteY8" fmla="*/ 41896 h 38086"/>
                <a:gd name="connsiteX9" fmla="*/ 2189969 w 2424835"/>
                <a:gd name="connsiteY9" fmla="*/ 41896 h 38086"/>
                <a:gd name="connsiteX10" fmla="*/ 2189969 w 2424835"/>
                <a:gd name="connsiteY10" fmla="*/ 41896 h 38086"/>
                <a:gd name="connsiteX11" fmla="*/ 2075710 w 2424835"/>
                <a:gd name="connsiteY11" fmla="*/ 41896 h 38086"/>
                <a:gd name="connsiteX12" fmla="*/ 2056666 w 2424835"/>
                <a:gd name="connsiteY12" fmla="*/ 22852 h 38086"/>
                <a:gd name="connsiteX13" fmla="*/ 2075710 w 2424835"/>
                <a:gd name="connsiteY13" fmla="*/ 3809 h 38086"/>
                <a:gd name="connsiteX14" fmla="*/ 2075710 w 2424835"/>
                <a:gd name="connsiteY14" fmla="*/ 3809 h 38086"/>
                <a:gd name="connsiteX15" fmla="*/ 2189969 w 2424835"/>
                <a:gd name="connsiteY15" fmla="*/ 3809 h 38086"/>
                <a:gd name="connsiteX16" fmla="*/ 2209012 w 2424835"/>
                <a:gd name="connsiteY16" fmla="*/ 22852 h 38086"/>
                <a:gd name="connsiteX17" fmla="*/ 2189969 w 2424835"/>
                <a:gd name="connsiteY17" fmla="*/ 41896 h 38086"/>
                <a:gd name="connsiteX18" fmla="*/ 1961450 w 2424835"/>
                <a:gd name="connsiteY18" fmla="*/ 41896 h 38086"/>
                <a:gd name="connsiteX19" fmla="*/ 1961450 w 2424835"/>
                <a:gd name="connsiteY19" fmla="*/ 41896 h 38086"/>
                <a:gd name="connsiteX20" fmla="*/ 1847191 w 2424835"/>
                <a:gd name="connsiteY20" fmla="*/ 41896 h 38086"/>
                <a:gd name="connsiteX21" fmla="*/ 1828148 w 2424835"/>
                <a:gd name="connsiteY21" fmla="*/ 22852 h 38086"/>
                <a:gd name="connsiteX22" fmla="*/ 1847191 w 2424835"/>
                <a:gd name="connsiteY22" fmla="*/ 3809 h 38086"/>
                <a:gd name="connsiteX23" fmla="*/ 1847191 w 2424835"/>
                <a:gd name="connsiteY23" fmla="*/ 3809 h 38086"/>
                <a:gd name="connsiteX24" fmla="*/ 1961450 w 2424835"/>
                <a:gd name="connsiteY24" fmla="*/ 3809 h 38086"/>
                <a:gd name="connsiteX25" fmla="*/ 1980494 w 2424835"/>
                <a:gd name="connsiteY25" fmla="*/ 22852 h 38086"/>
                <a:gd name="connsiteX26" fmla="*/ 1961450 w 2424835"/>
                <a:gd name="connsiteY26" fmla="*/ 41896 h 38086"/>
                <a:gd name="connsiteX27" fmla="*/ 1732932 w 2424835"/>
                <a:gd name="connsiteY27" fmla="*/ 40626 h 38086"/>
                <a:gd name="connsiteX28" fmla="*/ 1732932 w 2424835"/>
                <a:gd name="connsiteY28" fmla="*/ 40626 h 38086"/>
                <a:gd name="connsiteX29" fmla="*/ 1618673 w 2424835"/>
                <a:gd name="connsiteY29" fmla="*/ 40626 h 38086"/>
                <a:gd name="connsiteX30" fmla="*/ 1599629 w 2424835"/>
                <a:gd name="connsiteY30" fmla="*/ 21583 h 38086"/>
                <a:gd name="connsiteX31" fmla="*/ 1618673 w 2424835"/>
                <a:gd name="connsiteY31" fmla="*/ 2539 h 38086"/>
                <a:gd name="connsiteX32" fmla="*/ 1618673 w 2424835"/>
                <a:gd name="connsiteY32" fmla="*/ 2539 h 38086"/>
                <a:gd name="connsiteX33" fmla="*/ 1732932 w 2424835"/>
                <a:gd name="connsiteY33" fmla="*/ 2539 h 38086"/>
                <a:gd name="connsiteX34" fmla="*/ 1751975 w 2424835"/>
                <a:gd name="connsiteY34" fmla="*/ 21583 h 38086"/>
                <a:gd name="connsiteX35" fmla="*/ 1732932 w 2424835"/>
                <a:gd name="connsiteY35" fmla="*/ 40626 h 38086"/>
                <a:gd name="connsiteX36" fmla="*/ 1504413 w 2424835"/>
                <a:gd name="connsiteY36" fmla="*/ 40626 h 38086"/>
                <a:gd name="connsiteX37" fmla="*/ 1504413 w 2424835"/>
                <a:gd name="connsiteY37" fmla="*/ 40626 h 38086"/>
                <a:gd name="connsiteX38" fmla="*/ 1390154 w 2424835"/>
                <a:gd name="connsiteY38" fmla="*/ 40626 h 38086"/>
                <a:gd name="connsiteX39" fmla="*/ 1371111 w 2424835"/>
                <a:gd name="connsiteY39" fmla="*/ 21583 h 38086"/>
                <a:gd name="connsiteX40" fmla="*/ 1390154 w 2424835"/>
                <a:gd name="connsiteY40" fmla="*/ 2539 h 38086"/>
                <a:gd name="connsiteX41" fmla="*/ 1390154 w 2424835"/>
                <a:gd name="connsiteY41" fmla="*/ 2539 h 38086"/>
                <a:gd name="connsiteX42" fmla="*/ 1504413 w 2424835"/>
                <a:gd name="connsiteY42" fmla="*/ 2539 h 38086"/>
                <a:gd name="connsiteX43" fmla="*/ 1523457 w 2424835"/>
                <a:gd name="connsiteY43" fmla="*/ 21583 h 38086"/>
                <a:gd name="connsiteX44" fmla="*/ 1504413 w 2424835"/>
                <a:gd name="connsiteY44" fmla="*/ 40626 h 38086"/>
                <a:gd name="connsiteX45" fmla="*/ 1275895 w 2424835"/>
                <a:gd name="connsiteY45" fmla="*/ 40626 h 38086"/>
                <a:gd name="connsiteX46" fmla="*/ 1275895 w 2424835"/>
                <a:gd name="connsiteY46" fmla="*/ 40626 h 38086"/>
                <a:gd name="connsiteX47" fmla="*/ 1161636 w 2424835"/>
                <a:gd name="connsiteY47" fmla="*/ 40626 h 38086"/>
                <a:gd name="connsiteX48" fmla="*/ 1142592 w 2424835"/>
                <a:gd name="connsiteY48" fmla="*/ 21583 h 38086"/>
                <a:gd name="connsiteX49" fmla="*/ 1161636 w 2424835"/>
                <a:gd name="connsiteY49" fmla="*/ 2539 h 38086"/>
                <a:gd name="connsiteX50" fmla="*/ 1161636 w 2424835"/>
                <a:gd name="connsiteY50" fmla="*/ 2539 h 38086"/>
                <a:gd name="connsiteX51" fmla="*/ 1275895 w 2424835"/>
                <a:gd name="connsiteY51" fmla="*/ 2539 h 38086"/>
                <a:gd name="connsiteX52" fmla="*/ 1294938 w 2424835"/>
                <a:gd name="connsiteY52" fmla="*/ 21583 h 38086"/>
                <a:gd name="connsiteX53" fmla="*/ 1275895 w 2424835"/>
                <a:gd name="connsiteY53" fmla="*/ 40626 h 38086"/>
                <a:gd name="connsiteX54" fmla="*/ 1047376 w 2424835"/>
                <a:gd name="connsiteY54" fmla="*/ 40626 h 38086"/>
                <a:gd name="connsiteX55" fmla="*/ 1047376 w 2424835"/>
                <a:gd name="connsiteY55" fmla="*/ 40626 h 38086"/>
                <a:gd name="connsiteX56" fmla="*/ 933117 w 2424835"/>
                <a:gd name="connsiteY56" fmla="*/ 40626 h 38086"/>
                <a:gd name="connsiteX57" fmla="*/ 914074 w 2424835"/>
                <a:gd name="connsiteY57" fmla="*/ 21583 h 38086"/>
                <a:gd name="connsiteX58" fmla="*/ 933117 w 2424835"/>
                <a:gd name="connsiteY58" fmla="*/ 2539 h 38086"/>
                <a:gd name="connsiteX59" fmla="*/ 933117 w 2424835"/>
                <a:gd name="connsiteY59" fmla="*/ 2539 h 38086"/>
                <a:gd name="connsiteX60" fmla="*/ 1047376 w 2424835"/>
                <a:gd name="connsiteY60" fmla="*/ 2539 h 38086"/>
                <a:gd name="connsiteX61" fmla="*/ 1066420 w 2424835"/>
                <a:gd name="connsiteY61" fmla="*/ 21583 h 38086"/>
                <a:gd name="connsiteX62" fmla="*/ 1047376 w 2424835"/>
                <a:gd name="connsiteY62" fmla="*/ 40626 h 38086"/>
                <a:gd name="connsiteX63" fmla="*/ 818858 w 2424835"/>
                <a:gd name="connsiteY63" fmla="*/ 39356 h 38086"/>
                <a:gd name="connsiteX64" fmla="*/ 818858 w 2424835"/>
                <a:gd name="connsiteY64" fmla="*/ 39356 h 38086"/>
                <a:gd name="connsiteX65" fmla="*/ 704599 w 2424835"/>
                <a:gd name="connsiteY65" fmla="*/ 39356 h 38086"/>
                <a:gd name="connsiteX66" fmla="*/ 685555 w 2424835"/>
                <a:gd name="connsiteY66" fmla="*/ 20313 h 38086"/>
                <a:gd name="connsiteX67" fmla="*/ 704599 w 2424835"/>
                <a:gd name="connsiteY67" fmla="*/ 1270 h 38086"/>
                <a:gd name="connsiteX68" fmla="*/ 704599 w 2424835"/>
                <a:gd name="connsiteY68" fmla="*/ 1270 h 38086"/>
                <a:gd name="connsiteX69" fmla="*/ 818858 w 2424835"/>
                <a:gd name="connsiteY69" fmla="*/ 1270 h 38086"/>
                <a:gd name="connsiteX70" fmla="*/ 837901 w 2424835"/>
                <a:gd name="connsiteY70" fmla="*/ 20313 h 38086"/>
                <a:gd name="connsiteX71" fmla="*/ 818858 w 2424835"/>
                <a:gd name="connsiteY71" fmla="*/ 39356 h 38086"/>
                <a:gd name="connsiteX72" fmla="*/ 590339 w 2424835"/>
                <a:gd name="connsiteY72" fmla="*/ 39356 h 38086"/>
                <a:gd name="connsiteX73" fmla="*/ 590339 w 2424835"/>
                <a:gd name="connsiteY73" fmla="*/ 39356 h 38086"/>
                <a:gd name="connsiteX74" fmla="*/ 476080 w 2424835"/>
                <a:gd name="connsiteY74" fmla="*/ 39356 h 38086"/>
                <a:gd name="connsiteX75" fmla="*/ 457037 w 2424835"/>
                <a:gd name="connsiteY75" fmla="*/ 20313 h 38086"/>
                <a:gd name="connsiteX76" fmla="*/ 476080 w 2424835"/>
                <a:gd name="connsiteY76" fmla="*/ 1270 h 38086"/>
                <a:gd name="connsiteX77" fmla="*/ 476080 w 2424835"/>
                <a:gd name="connsiteY77" fmla="*/ 1270 h 38086"/>
                <a:gd name="connsiteX78" fmla="*/ 590339 w 2424835"/>
                <a:gd name="connsiteY78" fmla="*/ 1270 h 38086"/>
                <a:gd name="connsiteX79" fmla="*/ 609383 w 2424835"/>
                <a:gd name="connsiteY79" fmla="*/ 20313 h 38086"/>
                <a:gd name="connsiteX80" fmla="*/ 590339 w 2424835"/>
                <a:gd name="connsiteY80" fmla="*/ 39356 h 38086"/>
                <a:gd name="connsiteX81" fmla="*/ 361821 w 2424835"/>
                <a:gd name="connsiteY81" fmla="*/ 39356 h 38086"/>
                <a:gd name="connsiteX82" fmla="*/ 361821 w 2424835"/>
                <a:gd name="connsiteY82" fmla="*/ 39356 h 38086"/>
                <a:gd name="connsiteX83" fmla="*/ 247562 w 2424835"/>
                <a:gd name="connsiteY83" fmla="*/ 39356 h 38086"/>
                <a:gd name="connsiteX84" fmla="*/ 228518 w 2424835"/>
                <a:gd name="connsiteY84" fmla="*/ 20313 h 38086"/>
                <a:gd name="connsiteX85" fmla="*/ 247562 w 2424835"/>
                <a:gd name="connsiteY85" fmla="*/ 1270 h 38086"/>
                <a:gd name="connsiteX86" fmla="*/ 247562 w 2424835"/>
                <a:gd name="connsiteY86" fmla="*/ 1270 h 38086"/>
                <a:gd name="connsiteX87" fmla="*/ 361821 w 2424835"/>
                <a:gd name="connsiteY87" fmla="*/ 1270 h 38086"/>
                <a:gd name="connsiteX88" fmla="*/ 380864 w 2424835"/>
                <a:gd name="connsiteY88" fmla="*/ 20313 h 38086"/>
                <a:gd name="connsiteX89" fmla="*/ 361821 w 2424835"/>
                <a:gd name="connsiteY89" fmla="*/ 39356 h 38086"/>
                <a:gd name="connsiteX90" fmla="*/ 133302 w 2424835"/>
                <a:gd name="connsiteY90" fmla="*/ 38087 h 38086"/>
                <a:gd name="connsiteX91" fmla="*/ 133302 w 2424835"/>
                <a:gd name="connsiteY91" fmla="*/ 38087 h 38086"/>
                <a:gd name="connsiteX92" fmla="*/ 19043 w 2424835"/>
                <a:gd name="connsiteY92" fmla="*/ 38087 h 38086"/>
                <a:gd name="connsiteX93" fmla="*/ 0 w 2424835"/>
                <a:gd name="connsiteY93" fmla="*/ 19043 h 38086"/>
                <a:gd name="connsiteX94" fmla="*/ 19043 w 2424835"/>
                <a:gd name="connsiteY94" fmla="*/ 0 h 38086"/>
                <a:gd name="connsiteX95" fmla="*/ 19043 w 2424835"/>
                <a:gd name="connsiteY95" fmla="*/ 0 h 38086"/>
                <a:gd name="connsiteX96" fmla="*/ 133302 w 2424835"/>
                <a:gd name="connsiteY96" fmla="*/ 0 h 38086"/>
                <a:gd name="connsiteX97" fmla="*/ 152346 w 2424835"/>
                <a:gd name="connsiteY97" fmla="*/ 19043 h 38086"/>
                <a:gd name="connsiteX98" fmla="*/ 133302 w 2424835"/>
                <a:gd name="connsiteY98" fmla="*/ 38087 h 3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424835" h="38086">
                  <a:moveTo>
                    <a:pt x="2418487" y="41896"/>
                  </a:moveTo>
                  <a:cubicBezTo>
                    <a:pt x="2418487" y="41896"/>
                    <a:pt x="2418487" y="41896"/>
                    <a:pt x="2418487" y="41896"/>
                  </a:cubicBezTo>
                  <a:lnTo>
                    <a:pt x="2304228" y="41896"/>
                  </a:lnTo>
                  <a:cubicBezTo>
                    <a:pt x="2294072" y="41896"/>
                    <a:pt x="2285185" y="33009"/>
                    <a:pt x="2285185" y="22852"/>
                  </a:cubicBezTo>
                  <a:cubicBezTo>
                    <a:pt x="2285185" y="12696"/>
                    <a:pt x="2294072" y="3809"/>
                    <a:pt x="2304228" y="3809"/>
                  </a:cubicBezTo>
                  <a:cubicBezTo>
                    <a:pt x="2304228" y="3809"/>
                    <a:pt x="2304228" y="3809"/>
                    <a:pt x="2304228" y="3809"/>
                  </a:cubicBezTo>
                  <a:lnTo>
                    <a:pt x="2418487" y="3809"/>
                  </a:lnTo>
                  <a:cubicBezTo>
                    <a:pt x="2428644" y="3809"/>
                    <a:pt x="2437531" y="12696"/>
                    <a:pt x="2437531" y="22852"/>
                  </a:cubicBezTo>
                  <a:cubicBezTo>
                    <a:pt x="2437531" y="34278"/>
                    <a:pt x="2428644" y="41896"/>
                    <a:pt x="2418487" y="41896"/>
                  </a:cubicBezTo>
                  <a:close/>
                  <a:moveTo>
                    <a:pt x="2189969" y="41896"/>
                  </a:moveTo>
                  <a:cubicBezTo>
                    <a:pt x="2189969" y="41896"/>
                    <a:pt x="2189969" y="41896"/>
                    <a:pt x="2189969" y="41896"/>
                  </a:cubicBezTo>
                  <a:lnTo>
                    <a:pt x="2075710" y="41896"/>
                  </a:lnTo>
                  <a:cubicBezTo>
                    <a:pt x="2065553" y="41896"/>
                    <a:pt x="2056666" y="33009"/>
                    <a:pt x="2056666" y="22852"/>
                  </a:cubicBezTo>
                  <a:cubicBezTo>
                    <a:pt x="2056666" y="12696"/>
                    <a:pt x="2065553" y="3809"/>
                    <a:pt x="2075710" y="3809"/>
                  </a:cubicBezTo>
                  <a:cubicBezTo>
                    <a:pt x="2075710" y="3809"/>
                    <a:pt x="2075710" y="3809"/>
                    <a:pt x="2075710" y="3809"/>
                  </a:cubicBezTo>
                  <a:lnTo>
                    <a:pt x="2189969" y="3809"/>
                  </a:lnTo>
                  <a:cubicBezTo>
                    <a:pt x="2200125" y="3809"/>
                    <a:pt x="2209012" y="12696"/>
                    <a:pt x="2209012" y="22852"/>
                  </a:cubicBezTo>
                  <a:cubicBezTo>
                    <a:pt x="2209012" y="33009"/>
                    <a:pt x="2200125" y="41896"/>
                    <a:pt x="2189969" y="41896"/>
                  </a:cubicBezTo>
                  <a:close/>
                  <a:moveTo>
                    <a:pt x="1961450" y="41896"/>
                  </a:moveTo>
                  <a:cubicBezTo>
                    <a:pt x="1961450" y="41896"/>
                    <a:pt x="1961450" y="41896"/>
                    <a:pt x="1961450" y="41896"/>
                  </a:cubicBezTo>
                  <a:lnTo>
                    <a:pt x="1847191" y="41896"/>
                  </a:lnTo>
                  <a:cubicBezTo>
                    <a:pt x="1837035" y="41896"/>
                    <a:pt x="1828148" y="33009"/>
                    <a:pt x="1828148" y="22852"/>
                  </a:cubicBezTo>
                  <a:cubicBezTo>
                    <a:pt x="1828148" y="12696"/>
                    <a:pt x="1837035" y="3809"/>
                    <a:pt x="1847191" y="3809"/>
                  </a:cubicBezTo>
                  <a:cubicBezTo>
                    <a:pt x="1847191" y="3809"/>
                    <a:pt x="1847191" y="3809"/>
                    <a:pt x="1847191" y="3809"/>
                  </a:cubicBezTo>
                  <a:lnTo>
                    <a:pt x="1961450" y="3809"/>
                  </a:lnTo>
                  <a:cubicBezTo>
                    <a:pt x="1971607" y="3809"/>
                    <a:pt x="1980494" y="12696"/>
                    <a:pt x="1980494" y="22852"/>
                  </a:cubicBezTo>
                  <a:cubicBezTo>
                    <a:pt x="1980494" y="33009"/>
                    <a:pt x="1971607" y="41896"/>
                    <a:pt x="1961450" y="41896"/>
                  </a:cubicBezTo>
                  <a:close/>
                  <a:moveTo>
                    <a:pt x="1732932" y="40626"/>
                  </a:moveTo>
                  <a:cubicBezTo>
                    <a:pt x="1732932" y="40626"/>
                    <a:pt x="1732932" y="40626"/>
                    <a:pt x="1732932" y="40626"/>
                  </a:cubicBezTo>
                  <a:lnTo>
                    <a:pt x="1618673" y="40626"/>
                  </a:lnTo>
                  <a:cubicBezTo>
                    <a:pt x="1608516" y="40626"/>
                    <a:pt x="1599629" y="31739"/>
                    <a:pt x="1599629" y="21583"/>
                  </a:cubicBezTo>
                  <a:cubicBezTo>
                    <a:pt x="1599629" y="11426"/>
                    <a:pt x="1608516" y="2539"/>
                    <a:pt x="1618673" y="2539"/>
                  </a:cubicBezTo>
                  <a:cubicBezTo>
                    <a:pt x="1618673" y="2539"/>
                    <a:pt x="1618673" y="2539"/>
                    <a:pt x="1618673" y="2539"/>
                  </a:cubicBezTo>
                  <a:lnTo>
                    <a:pt x="1732932" y="2539"/>
                  </a:lnTo>
                  <a:cubicBezTo>
                    <a:pt x="1743088" y="2539"/>
                    <a:pt x="1751975" y="11426"/>
                    <a:pt x="1751975" y="21583"/>
                  </a:cubicBezTo>
                  <a:cubicBezTo>
                    <a:pt x="1751975" y="33009"/>
                    <a:pt x="1743088" y="40626"/>
                    <a:pt x="1732932" y="40626"/>
                  </a:cubicBezTo>
                  <a:close/>
                  <a:moveTo>
                    <a:pt x="1504413" y="40626"/>
                  </a:moveTo>
                  <a:cubicBezTo>
                    <a:pt x="1504413" y="40626"/>
                    <a:pt x="1504413" y="40626"/>
                    <a:pt x="1504413" y="40626"/>
                  </a:cubicBezTo>
                  <a:lnTo>
                    <a:pt x="1390154" y="40626"/>
                  </a:lnTo>
                  <a:cubicBezTo>
                    <a:pt x="1379998" y="40626"/>
                    <a:pt x="1371111" y="31739"/>
                    <a:pt x="1371111" y="21583"/>
                  </a:cubicBezTo>
                  <a:cubicBezTo>
                    <a:pt x="1371111" y="11426"/>
                    <a:pt x="1379998" y="2539"/>
                    <a:pt x="1390154" y="2539"/>
                  </a:cubicBezTo>
                  <a:cubicBezTo>
                    <a:pt x="1390154" y="2539"/>
                    <a:pt x="1390154" y="2539"/>
                    <a:pt x="1390154" y="2539"/>
                  </a:cubicBezTo>
                  <a:lnTo>
                    <a:pt x="1504413" y="2539"/>
                  </a:lnTo>
                  <a:cubicBezTo>
                    <a:pt x="1514570" y="2539"/>
                    <a:pt x="1523457" y="11426"/>
                    <a:pt x="1523457" y="21583"/>
                  </a:cubicBezTo>
                  <a:cubicBezTo>
                    <a:pt x="1523457" y="31739"/>
                    <a:pt x="1514570" y="40626"/>
                    <a:pt x="1504413" y="40626"/>
                  </a:cubicBezTo>
                  <a:close/>
                  <a:moveTo>
                    <a:pt x="1275895" y="40626"/>
                  </a:moveTo>
                  <a:cubicBezTo>
                    <a:pt x="1275895" y="40626"/>
                    <a:pt x="1275895" y="40626"/>
                    <a:pt x="1275895" y="40626"/>
                  </a:cubicBezTo>
                  <a:lnTo>
                    <a:pt x="1161636" y="40626"/>
                  </a:lnTo>
                  <a:cubicBezTo>
                    <a:pt x="1151479" y="40626"/>
                    <a:pt x="1142592" y="31739"/>
                    <a:pt x="1142592" y="21583"/>
                  </a:cubicBezTo>
                  <a:cubicBezTo>
                    <a:pt x="1142592" y="11426"/>
                    <a:pt x="1151479" y="2539"/>
                    <a:pt x="1161636" y="2539"/>
                  </a:cubicBezTo>
                  <a:cubicBezTo>
                    <a:pt x="1161636" y="2539"/>
                    <a:pt x="1161636" y="2539"/>
                    <a:pt x="1161636" y="2539"/>
                  </a:cubicBezTo>
                  <a:lnTo>
                    <a:pt x="1275895" y="2539"/>
                  </a:lnTo>
                  <a:cubicBezTo>
                    <a:pt x="1286051" y="2539"/>
                    <a:pt x="1294938" y="11426"/>
                    <a:pt x="1294938" y="21583"/>
                  </a:cubicBezTo>
                  <a:cubicBezTo>
                    <a:pt x="1294938" y="31739"/>
                    <a:pt x="1286051" y="40626"/>
                    <a:pt x="1275895" y="40626"/>
                  </a:cubicBezTo>
                  <a:close/>
                  <a:moveTo>
                    <a:pt x="1047376" y="40626"/>
                  </a:moveTo>
                  <a:cubicBezTo>
                    <a:pt x="1047376" y="40626"/>
                    <a:pt x="1047376" y="40626"/>
                    <a:pt x="1047376" y="40626"/>
                  </a:cubicBezTo>
                  <a:lnTo>
                    <a:pt x="933117" y="40626"/>
                  </a:lnTo>
                  <a:cubicBezTo>
                    <a:pt x="922961" y="40626"/>
                    <a:pt x="914074" y="31739"/>
                    <a:pt x="914074" y="21583"/>
                  </a:cubicBezTo>
                  <a:cubicBezTo>
                    <a:pt x="914074" y="11426"/>
                    <a:pt x="922961" y="2539"/>
                    <a:pt x="933117" y="2539"/>
                  </a:cubicBezTo>
                  <a:cubicBezTo>
                    <a:pt x="933117" y="2539"/>
                    <a:pt x="933117" y="2539"/>
                    <a:pt x="933117" y="2539"/>
                  </a:cubicBezTo>
                  <a:lnTo>
                    <a:pt x="1047376" y="2539"/>
                  </a:lnTo>
                  <a:cubicBezTo>
                    <a:pt x="1057533" y="2539"/>
                    <a:pt x="1066420" y="11426"/>
                    <a:pt x="1066420" y="21583"/>
                  </a:cubicBezTo>
                  <a:cubicBezTo>
                    <a:pt x="1066420" y="31739"/>
                    <a:pt x="1057533" y="40626"/>
                    <a:pt x="1047376" y="40626"/>
                  </a:cubicBezTo>
                  <a:close/>
                  <a:moveTo>
                    <a:pt x="818858" y="39356"/>
                  </a:moveTo>
                  <a:cubicBezTo>
                    <a:pt x="818858" y="39356"/>
                    <a:pt x="818858" y="39356"/>
                    <a:pt x="818858" y="39356"/>
                  </a:cubicBezTo>
                  <a:lnTo>
                    <a:pt x="704599" y="39356"/>
                  </a:lnTo>
                  <a:cubicBezTo>
                    <a:pt x="694442" y="39356"/>
                    <a:pt x="685555" y="30469"/>
                    <a:pt x="685555" y="20313"/>
                  </a:cubicBezTo>
                  <a:cubicBezTo>
                    <a:pt x="685555" y="10157"/>
                    <a:pt x="694442" y="1270"/>
                    <a:pt x="704599" y="1270"/>
                  </a:cubicBezTo>
                  <a:cubicBezTo>
                    <a:pt x="704599" y="1270"/>
                    <a:pt x="704599" y="1270"/>
                    <a:pt x="704599" y="1270"/>
                  </a:cubicBezTo>
                  <a:lnTo>
                    <a:pt x="818858" y="1270"/>
                  </a:lnTo>
                  <a:cubicBezTo>
                    <a:pt x="829014" y="1270"/>
                    <a:pt x="837901" y="10157"/>
                    <a:pt x="837901" y="20313"/>
                  </a:cubicBezTo>
                  <a:cubicBezTo>
                    <a:pt x="837901" y="31739"/>
                    <a:pt x="829014" y="39356"/>
                    <a:pt x="818858" y="39356"/>
                  </a:cubicBezTo>
                  <a:close/>
                  <a:moveTo>
                    <a:pt x="590339" y="39356"/>
                  </a:moveTo>
                  <a:cubicBezTo>
                    <a:pt x="590339" y="39356"/>
                    <a:pt x="590339" y="39356"/>
                    <a:pt x="590339" y="39356"/>
                  </a:cubicBezTo>
                  <a:lnTo>
                    <a:pt x="476080" y="39356"/>
                  </a:lnTo>
                  <a:cubicBezTo>
                    <a:pt x="465924" y="39356"/>
                    <a:pt x="457037" y="30469"/>
                    <a:pt x="457037" y="20313"/>
                  </a:cubicBezTo>
                  <a:cubicBezTo>
                    <a:pt x="457037" y="10157"/>
                    <a:pt x="465924" y="1270"/>
                    <a:pt x="476080" y="1270"/>
                  </a:cubicBezTo>
                  <a:cubicBezTo>
                    <a:pt x="476080" y="1270"/>
                    <a:pt x="476080" y="1270"/>
                    <a:pt x="476080" y="1270"/>
                  </a:cubicBezTo>
                  <a:lnTo>
                    <a:pt x="590339" y="1270"/>
                  </a:lnTo>
                  <a:cubicBezTo>
                    <a:pt x="600496" y="1270"/>
                    <a:pt x="609383" y="10157"/>
                    <a:pt x="609383" y="20313"/>
                  </a:cubicBezTo>
                  <a:cubicBezTo>
                    <a:pt x="609383" y="30469"/>
                    <a:pt x="600496" y="39356"/>
                    <a:pt x="590339" y="39356"/>
                  </a:cubicBezTo>
                  <a:close/>
                  <a:moveTo>
                    <a:pt x="361821" y="39356"/>
                  </a:moveTo>
                  <a:cubicBezTo>
                    <a:pt x="361821" y="39356"/>
                    <a:pt x="361821" y="39356"/>
                    <a:pt x="361821" y="39356"/>
                  </a:cubicBezTo>
                  <a:lnTo>
                    <a:pt x="247562" y="39356"/>
                  </a:lnTo>
                  <a:cubicBezTo>
                    <a:pt x="237405" y="39356"/>
                    <a:pt x="228518" y="30469"/>
                    <a:pt x="228518" y="20313"/>
                  </a:cubicBezTo>
                  <a:cubicBezTo>
                    <a:pt x="228518" y="10157"/>
                    <a:pt x="237405" y="1270"/>
                    <a:pt x="247562" y="1270"/>
                  </a:cubicBezTo>
                  <a:cubicBezTo>
                    <a:pt x="247562" y="1270"/>
                    <a:pt x="247562" y="1270"/>
                    <a:pt x="247562" y="1270"/>
                  </a:cubicBezTo>
                  <a:lnTo>
                    <a:pt x="361821" y="1270"/>
                  </a:lnTo>
                  <a:cubicBezTo>
                    <a:pt x="371977" y="1270"/>
                    <a:pt x="380864" y="10157"/>
                    <a:pt x="380864" y="20313"/>
                  </a:cubicBezTo>
                  <a:cubicBezTo>
                    <a:pt x="380864" y="30469"/>
                    <a:pt x="371977" y="39356"/>
                    <a:pt x="361821" y="39356"/>
                  </a:cubicBezTo>
                  <a:close/>
                  <a:moveTo>
                    <a:pt x="133302" y="38087"/>
                  </a:moveTo>
                  <a:cubicBezTo>
                    <a:pt x="133302" y="38087"/>
                    <a:pt x="133302" y="38087"/>
                    <a:pt x="133302" y="38087"/>
                  </a:cubicBezTo>
                  <a:lnTo>
                    <a:pt x="19043" y="38087"/>
                  </a:lnTo>
                  <a:cubicBezTo>
                    <a:pt x="8887" y="38087"/>
                    <a:pt x="0" y="29200"/>
                    <a:pt x="0" y="19043"/>
                  </a:cubicBezTo>
                  <a:cubicBezTo>
                    <a:pt x="0" y="8887"/>
                    <a:pt x="8887" y="0"/>
                    <a:pt x="19043" y="0"/>
                  </a:cubicBezTo>
                  <a:cubicBezTo>
                    <a:pt x="19043" y="0"/>
                    <a:pt x="19043" y="0"/>
                    <a:pt x="19043" y="0"/>
                  </a:cubicBezTo>
                  <a:lnTo>
                    <a:pt x="133302" y="0"/>
                  </a:lnTo>
                  <a:cubicBezTo>
                    <a:pt x="143459" y="0"/>
                    <a:pt x="152346" y="8887"/>
                    <a:pt x="152346" y="19043"/>
                  </a:cubicBezTo>
                  <a:cubicBezTo>
                    <a:pt x="152346" y="30469"/>
                    <a:pt x="143459" y="38087"/>
                    <a:pt x="133302" y="38087"/>
                  </a:cubicBezTo>
                  <a:close/>
                </a:path>
              </a:pathLst>
            </a:custGeom>
            <a:solidFill>
              <a:srgbClr val="FFFFFF"/>
            </a:solidFill>
            <a:ln w="11211" cap="flat">
              <a:noFill/>
              <a:prstDash val="solid"/>
              <a:miter/>
            </a:ln>
          </p:spPr>
          <p:txBody>
            <a:bodyPr rtlCol="0" anchor="ctr"/>
            <a:lstStyle/>
            <a:p>
              <a:endParaRPr lang="en-US"/>
            </a:p>
          </p:txBody>
        </p:sp>
      </p:grpSp>
      <p:sp>
        <p:nvSpPr>
          <p:cNvPr id="190" name="Rectangle 106">
            <a:extLst>
              <a:ext uri="{FF2B5EF4-FFF2-40B4-BE49-F238E27FC236}">
                <a16:creationId xmlns:a16="http://schemas.microsoft.com/office/drawing/2014/main" id="{8E8252BE-2E7F-471A-A10C-5AC92A1870C7}"/>
              </a:ext>
            </a:extLst>
          </p:cNvPr>
          <p:cNvSpPr>
            <a:spLocks noChangeArrowheads="1"/>
          </p:cNvSpPr>
          <p:nvPr/>
        </p:nvSpPr>
        <p:spPr bwMode="auto">
          <a:xfrm rot="16200000">
            <a:off x="3443325" y="3596275"/>
            <a:ext cx="11667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spc="150" normalizeH="0">
                <a:ln>
                  <a:noFill/>
                </a:ln>
                <a:solidFill>
                  <a:schemeClr val="bg1"/>
                </a:solidFill>
                <a:effectLst/>
                <a:latin typeface="Arial Narrow" panose="020B0606020202030204" pitchFamily="34" charset="0"/>
              </a:rPr>
              <a:t>60’ ROAD AND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spc="150" normalizeH="0">
                <a:ln>
                  <a:noFill/>
                </a:ln>
                <a:solidFill>
                  <a:schemeClr val="bg1"/>
                </a:solidFill>
                <a:effectLst/>
                <a:latin typeface="Arial Narrow" panose="020B0606020202030204" pitchFamily="34" charset="0"/>
              </a:rPr>
              <a:t>MOWED DITCH</a:t>
            </a:r>
            <a:endParaRPr kumimoji="0" lang="en-US" altLang="en-US" sz="1600" b="0" i="0" u="none" strike="noStrike" cap="none" spc="150" normalizeH="0">
              <a:ln>
                <a:noFill/>
              </a:ln>
              <a:solidFill>
                <a:schemeClr val="bg1"/>
              </a:solidFill>
              <a:effectLst/>
            </a:endParaRPr>
          </a:p>
        </p:txBody>
      </p:sp>
      <p:sp>
        <p:nvSpPr>
          <p:cNvPr id="171" name="Rectangle 106">
            <a:extLst>
              <a:ext uri="{FF2B5EF4-FFF2-40B4-BE49-F238E27FC236}">
                <a16:creationId xmlns:a16="http://schemas.microsoft.com/office/drawing/2014/main" id="{6CC3C3EA-E4B2-4E35-A5FB-46B3EC9B9BC8}"/>
              </a:ext>
            </a:extLst>
          </p:cNvPr>
          <p:cNvSpPr>
            <a:spLocks noChangeArrowheads="1"/>
          </p:cNvSpPr>
          <p:nvPr/>
        </p:nvSpPr>
        <p:spPr bwMode="auto">
          <a:xfrm rot="16200000">
            <a:off x="2433101" y="3596275"/>
            <a:ext cx="17595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spc="150" normalizeH="0">
                <a:ln>
                  <a:noFill/>
                </a:ln>
                <a:solidFill>
                  <a:schemeClr val="bg1"/>
                </a:solidFill>
                <a:effectLst/>
                <a:latin typeface="Arial Narrow" panose="020B0606020202030204" pitchFamily="34" charset="0"/>
              </a:rPr>
              <a:t>180’ </a:t>
            </a:r>
            <a:r>
              <a:rPr lang="en-US" altLang="en-US" sz="1200" b="1" spc="150">
                <a:solidFill>
                  <a:schemeClr val="bg1"/>
                </a:solidFill>
                <a:latin typeface="Arial Narrow" panose="020B0606020202030204" pitchFamily="34" charset="0"/>
              </a:rPr>
              <a:t>DICAMBA </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spc="150">
                <a:solidFill>
                  <a:schemeClr val="bg1"/>
                </a:solidFill>
                <a:latin typeface="Arial Narrow" panose="020B0606020202030204" pitchFamily="34" charset="0"/>
              </a:rPr>
              <a:t>TOLERANT SOYBEANS</a:t>
            </a:r>
            <a:endParaRPr kumimoji="0" lang="en-US" altLang="en-US" sz="1600" b="0" i="0" u="none" strike="noStrike" cap="none" spc="150" normalizeH="0">
              <a:ln>
                <a:noFill/>
              </a:ln>
              <a:solidFill>
                <a:schemeClr val="bg1"/>
              </a:solidFill>
              <a:effectLst/>
            </a:endParaRPr>
          </a:p>
        </p:txBody>
      </p:sp>
    </p:spTree>
    <p:extLst>
      <p:ext uri="{BB962C8B-B14F-4D97-AF65-F5344CB8AC3E}">
        <p14:creationId xmlns:p14="http://schemas.microsoft.com/office/powerpoint/2010/main" val="22179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2"/>
                                        </p:tgtEl>
                                        <p:attrNameLst>
                                          <p:attrName>style.visibility</p:attrName>
                                        </p:attrNameLst>
                                      </p:cBhvr>
                                      <p:to>
                                        <p:strVal val="visible"/>
                                      </p:to>
                                    </p:set>
                                    <p:animEffect transition="in" filter="fade">
                                      <p:cBhvr>
                                        <p:cTn id="7" dur="500"/>
                                        <p:tgtEl>
                                          <p:spTgt spid="162"/>
                                        </p:tgtEl>
                                      </p:cBhvr>
                                    </p:animEffect>
                                    <p:anim calcmode="lin" valueType="num">
                                      <p:cBhvr>
                                        <p:cTn id="8" dur="500" fill="hold"/>
                                        <p:tgtEl>
                                          <p:spTgt spid="162"/>
                                        </p:tgtEl>
                                        <p:attrNameLst>
                                          <p:attrName>ppt_x</p:attrName>
                                        </p:attrNameLst>
                                      </p:cBhvr>
                                      <p:tavLst>
                                        <p:tav tm="0">
                                          <p:val>
                                            <p:strVal val="#ppt_x"/>
                                          </p:val>
                                        </p:tav>
                                        <p:tav tm="100000">
                                          <p:val>
                                            <p:strVal val="#ppt_x"/>
                                          </p:val>
                                        </p:tav>
                                      </p:tavLst>
                                    </p:anim>
                                    <p:anim calcmode="lin" valueType="num">
                                      <p:cBhvr>
                                        <p:cTn id="9" dur="500" fill="hold"/>
                                        <p:tgtEl>
                                          <p:spTgt spid="16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209"/>
                                        </p:tgtEl>
                                        <p:attrNameLst>
                                          <p:attrName>style.visibility</p:attrName>
                                        </p:attrNameLst>
                                      </p:cBhvr>
                                      <p:to>
                                        <p:strVal val="visible"/>
                                      </p:to>
                                    </p:set>
                                    <p:animEffect transition="in" filter="fade">
                                      <p:cBhvr>
                                        <p:cTn id="13" dur="500"/>
                                        <p:tgtEl>
                                          <p:spTgt spid="20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00"/>
                                        </p:tgtEl>
                                        <p:attrNameLst>
                                          <p:attrName>style.visibility</p:attrName>
                                        </p:attrNameLst>
                                      </p:cBhvr>
                                      <p:to>
                                        <p:strVal val="visible"/>
                                      </p:to>
                                    </p:set>
                                    <p:animEffect transition="in" filter="fade">
                                      <p:cBhvr>
                                        <p:cTn id="18" dur="500"/>
                                        <p:tgtEl>
                                          <p:spTgt spid="20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8"/>
                                        </p:tgtEl>
                                        <p:attrNameLst>
                                          <p:attrName>style.visibility</p:attrName>
                                        </p:attrNameLst>
                                      </p:cBhvr>
                                      <p:to>
                                        <p:strVal val="visible"/>
                                      </p:to>
                                    </p:set>
                                    <p:animEffect transition="in" filter="fade">
                                      <p:cBhvr>
                                        <p:cTn id="21" dur="500"/>
                                        <p:tgtEl>
                                          <p:spTgt spid="208"/>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169"/>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267"/>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90"/>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 grpId="0"/>
      <p:bldP spid="169" grpId="0"/>
      <p:bldP spid="208" grpId="0" animBg="1"/>
      <p:bldP spid="190" grpId="0"/>
      <p:bldP spid="17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497E6F0-62A5-4546-ABE9-8AFC5214E06C}"/>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A90AE18F-2EB2-4C2D-9863-46F913F4B42F}"/>
              </a:ext>
            </a:extLst>
          </p:cNvPr>
          <p:cNvSpPr>
            <a:spLocks noGrp="1"/>
          </p:cNvSpPr>
          <p:nvPr>
            <p:ph type="sldNum" sz="quarter" idx="11"/>
          </p:nvPr>
        </p:nvSpPr>
        <p:spPr/>
        <p:txBody>
          <a:bodyPr/>
          <a:lstStyle/>
          <a:p>
            <a:fld id="{5382645D-9DD6-408C-B0EA-C65795F9B1DE}" type="slidenum">
              <a:rPr lang="en-US" smtClean="0"/>
              <a:pPr/>
              <a:t>36</a:t>
            </a:fld>
            <a:endParaRPr lang="en-US"/>
          </a:p>
        </p:txBody>
      </p:sp>
      <p:pic>
        <p:nvPicPr>
          <p:cNvPr id="7" name="Picture 2">
            <a:extLst>
              <a:ext uri="{FF2B5EF4-FFF2-40B4-BE49-F238E27FC236}">
                <a16:creationId xmlns:a16="http://schemas.microsoft.com/office/drawing/2014/main" id="{72A02DD6-31C3-4D0C-9DD4-B3B17370B52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EC27884-14AE-412A-B656-9D2A2A01D2C1}"/>
              </a:ext>
            </a:extLst>
          </p:cNvPr>
          <p:cNvPicPr>
            <a:picLocks noChangeAspect="1"/>
          </p:cNvPicPr>
          <p:nvPr/>
        </p:nvPicPr>
        <p:blipFill>
          <a:blip r:embed="rId4"/>
          <a:stretch>
            <a:fillRect/>
          </a:stretch>
        </p:blipFill>
        <p:spPr>
          <a:xfrm>
            <a:off x="5171523" y="1500421"/>
            <a:ext cx="7455906" cy="3933858"/>
          </a:xfrm>
          <a:prstGeom prst="rect">
            <a:avLst/>
          </a:prstGeom>
        </p:spPr>
      </p:pic>
    </p:spTree>
    <p:extLst>
      <p:ext uri="{BB962C8B-B14F-4D97-AF65-F5344CB8AC3E}">
        <p14:creationId xmlns:p14="http://schemas.microsoft.com/office/powerpoint/2010/main" val="36426434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18A444-D2B4-4BFE-AE80-CF31A4B14C88}"/>
              </a:ext>
            </a:extLst>
          </p:cNvPr>
          <p:cNvPicPr>
            <a:picLocks noChangeAspect="1"/>
          </p:cNvPicPr>
          <p:nvPr/>
        </p:nvPicPr>
        <p:blipFill rotWithShape="1">
          <a:blip r:embed="rId3"/>
          <a:srcRect l="1132" t="1878" r="670" b="955"/>
          <a:stretch/>
        </p:blipFill>
        <p:spPr>
          <a:xfrm>
            <a:off x="392914" y="870295"/>
            <a:ext cx="6084032" cy="4599227"/>
          </a:xfrm>
          <a:prstGeom prst="rect">
            <a:avLst/>
          </a:prstGeom>
        </p:spPr>
      </p:pic>
      <p:sp>
        <p:nvSpPr>
          <p:cNvPr id="11" name="Content Placeholder 10">
            <a:extLst>
              <a:ext uri="{FF2B5EF4-FFF2-40B4-BE49-F238E27FC236}">
                <a16:creationId xmlns:a16="http://schemas.microsoft.com/office/drawing/2014/main" id="{8CA0F830-6EC6-42DC-877A-9C43B090455A}"/>
              </a:ext>
            </a:extLst>
          </p:cNvPr>
          <p:cNvSpPr>
            <a:spLocks noGrp="1"/>
          </p:cNvSpPr>
          <p:nvPr>
            <p:ph idx="1"/>
          </p:nvPr>
        </p:nvSpPr>
        <p:spPr>
          <a:xfrm>
            <a:off x="7066389" y="1435131"/>
            <a:ext cx="4578433" cy="4351338"/>
          </a:xfrm>
        </p:spPr>
        <p:txBody>
          <a:bodyPr>
            <a:normAutofit/>
          </a:bodyPr>
          <a:lstStyle/>
          <a:p>
            <a:pPr marL="548640" indent="0">
              <a:spcBef>
                <a:spcPts val="600"/>
              </a:spcBef>
              <a:spcAft>
                <a:spcPts val="600"/>
              </a:spcAft>
              <a:buNone/>
            </a:pPr>
            <a:r>
              <a:rPr lang="en-US" sz="1800" dirty="0"/>
              <a:t>Zoom in or search to locate your field</a:t>
            </a:r>
          </a:p>
          <a:p>
            <a:pPr marL="548640" indent="0">
              <a:spcBef>
                <a:spcPts val="600"/>
              </a:spcBef>
              <a:spcAft>
                <a:spcPts val="600"/>
              </a:spcAft>
              <a:buNone/>
            </a:pPr>
            <a:r>
              <a:rPr lang="en-US" sz="1800" dirty="0"/>
              <a:t>	</a:t>
            </a:r>
            <a:r>
              <a:rPr lang="en-US" sz="1600" dirty="0"/>
              <a:t>Satellite image available in 	</a:t>
            </a:r>
            <a:r>
              <a:rPr lang="en-US" sz="1600" dirty="0" err="1"/>
              <a:t>basemaps</a:t>
            </a:r>
            <a:r>
              <a:rPr lang="en-US" sz="1600" dirty="0"/>
              <a:t> if needed</a:t>
            </a:r>
          </a:p>
        </p:txBody>
      </p:sp>
      <p:sp>
        <p:nvSpPr>
          <p:cNvPr id="12" name="Text Placeholder 11">
            <a:extLst>
              <a:ext uri="{FF2B5EF4-FFF2-40B4-BE49-F238E27FC236}">
                <a16:creationId xmlns:a16="http://schemas.microsoft.com/office/drawing/2014/main" id="{9658DCCA-D419-42AD-803B-6A91F171C181}"/>
              </a:ext>
            </a:extLst>
          </p:cNvPr>
          <p:cNvSpPr>
            <a:spLocks noGrp="1"/>
          </p:cNvSpPr>
          <p:nvPr>
            <p:ph type="body" sz="quarter" idx="14"/>
          </p:nvPr>
        </p:nvSpPr>
        <p:spPr>
          <a:xfrm>
            <a:off x="7134425" y="870295"/>
            <a:ext cx="4527487" cy="341632"/>
          </a:xfrm>
        </p:spPr>
        <p:txBody>
          <a:bodyPr/>
          <a:lstStyle/>
          <a:p>
            <a:r>
              <a:rPr lang="en-US"/>
              <a:t>Obtaining a Bulletin</a:t>
            </a:r>
          </a:p>
        </p:txBody>
      </p:sp>
      <p:sp>
        <p:nvSpPr>
          <p:cNvPr id="4" name="Footer Placeholder 3">
            <a:extLst>
              <a:ext uri="{FF2B5EF4-FFF2-40B4-BE49-F238E27FC236}">
                <a16:creationId xmlns:a16="http://schemas.microsoft.com/office/drawing/2014/main" id="{9A6226B8-5A3A-41AD-B03D-B5A5337E212D}"/>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616911A4-82F7-4EAC-8ED4-FF63F4590A48}"/>
              </a:ext>
            </a:extLst>
          </p:cNvPr>
          <p:cNvSpPr>
            <a:spLocks noGrp="1"/>
          </p:cNvSpPr>
          <p:nvPr>
            <p:ph type="sldNum" sz="quarter" idx="16"/>
          </p:nvPr>
        </p:nvSpPr>
        <p:spPr/>
        <p:txBody>
          <a:bodyPr/>
          <a:lstStyle/>
          <a:p>
            <a:pPr lvl="0"/>
            <a:fld id="{5382645D-9DD6-408C-B0EA-C65795F9B1DE}" type="slidenum">
              <a:rPr lang="en-US" noProof="0" smtClean="0"/>
              <a:pPr lvl="0"/>
              <a:t>37</a:t>
            </a:fld>
            <a:endParaRPr lang="en-US" noProof="0"/>
          </a:p>
        </p:txBody>
      </p:sp>
      <p:sp>
        <p:nvSpPr>
          <p:cNvPr id="10" name="Title 9">
            <a:extLst>
              <a:ext uri="{FF2B5EF4-FFF2-40B4-BE49-F238E27FC236}">
                <a16:creationId xmlns:a16="http://schemas.microsoft.com/office/drawing/2014/main" id="{0B0E1E68-1733-45D3-9AD8-80DE9D289054}"/>
              </a:ext>
            </a:extLst>
          </p:cNvPr>
          <p:cNvSpPr>
            <a:spLocks noGrp="1"/>
          </p:cNvSpPr>
          <p:nvPr>
            <p:ph type="title"/>
          </p:nvPr>
        </p:nvSpPr>
        <p:spPr>
          <a:xfrm>
            <a:off x="7134425" y="318014"/>
            <a:ext cx="4527487" cy="590931"/>
          </a:xfrm>
        </p:spPr>
        <p:txBody>
          <a:bodyPr/>
          <a:lstStyle/>
          <a:p>
            <a:r>
              <a:rPr lang="en-US"/>
              <a:t>Instructions</a:t>
            </a:r>
          </a:p>
        </p:txBody>
      </p:sp>
      <p:sp>
        <p:nvSpPr>
          <p:cNvPr id="16" name="Oval 15">
            <a:extLst>
              <a:ext uri="{FF2B5EF4-FFF2-40B4-BE49-F238E27FC236}">
                <a16:creationId xmlns:a16="http://schemas.microsoft.com/office/drawing/2014/main" id="{7FDD2E00-6C71-404A-8568-212E6134000F}"/>
              </a:ext>
            </a:extLst>
          </p:cNvPr>
          <p:cNvSpPr/>
          <p:nvPr/>
        </p:nvSpPr>
        <p:spPr>
          <a:xfrm>
            <a:off x="7210422" y="1392927"/>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a:t>
            </a:r>
          </a:p>
        </p:txBody>
      </p:sp>
      <p:cxnSp>
        <p:nvCxnSpPr>
          <p:cNvPr id="39" name="Straight Connector 38">
            <a:extLst>
              <a:ext uri="{FF2B5EF4-FFF2-40B4-BE49-F238E27FC236}">
                <a16:creationId xmlns:a16="http://schemas.microsoft.com/office/drawing/2014/main" id="{3390D136-6D25-4D08-B309-6AA88DAC4A4C}"/>
              </a:ext>
            </a:extLst>
          </p:cNvPr>
          <p:cNvCxnSpPr>
            <a:cxnSpLocks/>
          </p:cNvCxnSpPr>
          <p:nvPr/>
        </p:nvCxnSpPr>
        <p:spPr>
          <a:xfrm>
            <a:off x="7945326" y="1896080"/>
            <a:ext cx="0" cy="438497"/>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A0F23FD-9FF3-4197-BAFE-6372A27A6B82}"/>
              </a:ext>
            </a:extLst>
          </p:cNvPr>
          <p:cNvPicPr>
            <a:picLocks noChangeAspect="1"/>
          </p:cNvPicPr>
          <p:nvPr/>
        </p:nvPicPr>
        <p:blipFill>
          <a:blip r:embed="rId4"/>
          <a:stretch>
            <a:fillRect/>
          </a:stretch>
        </p:blipFill>
        <p:spPr>
          <a:xfrm>
            <a:off x="914400" y="6362699"/>
            <a:ext cx="1171575" cy="495300"/>
          </a:xfrm>
          <a:prstGeom prst="rect">
            <a:avLst/>
          </a:prstGeom>
        </p:spPr>
      </p:pic>
      <p:pic>
        <p:nvPicPr>
          <p:cNvPr id="24" name="Picture 23">
            <a:extLst>
              <a:ext uri="{FF2B5EF4-FFF2-40B4-BE49-F238E27FC236}">
                <a16:creationId xmlns:a16="http://schemas.microsoft.com/office/drawing/2014/main" id="{6117EC27-2536-4802-9112-0741E6D7C331}"/>
              </a:ext>
            </a:extLst>
          </p:cNvPr>
          <p:cNvPicPr>
            <a:picLocks noChangeAspect="1"/>
          </p:cNvPicPr>
          <p:nvPr/>
        </p:nvPicPr>
        <p:blipFill>
          <a:blip r:embed="rId5"/>
          <a:stretch>
            <a:fillRect/>
          </a:stretch>
        </p:blipFill>
        <p:spPr>
          <a:xfrm>
            <a:off x="838200" y="6393164"/>
            <a:ext cx="1333500" cy="378995"/>
          </a:xfrm>
          <a:prstGeom prst="rect">
            <a:avLst/>
          </a:prstGeom>
        </p:spPr>
      </p:pic>
      <p:sp>
        <p:nvSpPr>
          <p:cNvPr id="38" name="Oval 37">
            <a:extLst>
              <a:ext uri="{FF2B5EF4-FFF2-40B4-BE49-F238E27FC236}">
                <a16:creationId xmlns:a16="http://schemas.microsoft.com/office/drawing/2014/main" id="{7827E21D-B3E2-488C-B85E-971559B914C0}"/>
              </a:ext>
            </a:extLst>
          </p:cNvPr>
          <p:cNvSpPr/>
          <p:nvPr/>
        </p:nvSpPr>
        <p:spPr>
          <a:xfrm>
            <a:off x="3361132" y="2391433"/>
            <a:ext cx="314793" cy="338338"/>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a:t>
            </a:r>
          </a:p>
        </p:txBody>
      </p:sp>
    </p:spTree>
    <p:extLst>
      <p:ext uri="{BB962C8B-B14F-4D97-AF65-F5344CB8AC3E}">
        <p14:creationId xmlns:p14="http://schemas.microsoft.com/office/powerpoint/2010/main" val="5682992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8CA0F830-6EC6-42DC-877A-9C43B090455A}"/>
              </a:ext>
            </a:extLst>
          </p:cNvPr>
          <p:cNvSpPr>
            <a:spLocks noGrp="1"/>
          </p:cNvSpPr>
          <p:nvPr>
            <p:ph idx="1"/>
          </p:nvPr>
        </p:nvSpPr>
        <p:spPr>
          <a:xfrm>
            <a:off x="7066389" y="1468584"/>
            <a:ext cx="4578433" cy="4351338"/>
          </a:xfrm>
        </p:spPr>
        <p:txBody>
          <a:bodyPr>
            <a:normAutofit/>
          </a:bodyPr>
          <a:lstStyle/>
          <a:p>
            <a:pPr marL="548640" indent="0">
              <a:spcBef>
                <a:spcPts val="600"/>
              </a:spcBef>
              <a:spcAft>
                <a:spcPts val="600"/>
              </a:spcAft>
              <a:buNone/>
            </a:pPr>
            <a:r>
              <a:rPr lang="en-US" sz="1800"/>
              <a:t>Zoom in or search to locate your field</a:t>
            </a:r>
          </a:p>
          <a:p>
            <a:pPr marL="548640" indent="0">
              <a:spcBef>
                <a:spcPts val="600"/>
              </a:spcBef>
              <a:spcAft>
                <a:spcPts val="600"/>
              </a:spcAft>
              <a:buNone/>
            </a:pPr>
            <a:r>
              <a:rPr lang="en-US" sz="1600"/>
              <a:t>	</a:t>
            </a:r>
            <a:r>
              <a:rPr lang="en-US" sz="1400"/>
              <a:t>Satellite image available in 	</a:t>
            </a:r>
            <a:r>
              <a:rPr lang="en-US" sz="1400" err="1"/>
              <a:t>basemaps</a:t>
            </a:r>
            <a:r>
              <a:rPr lang="en-US" sz="1400"/>
              <a:t> if needed</a:t>
            </a:r>
          </a:p>
          <a:p>
            <a:pPr marL="548640" indent="0">
              <a:spcBef>
                <a:spcPts val="1200"/>
              </a:spcBef>
              <a:spcAft>
                <a:spcPts val="600"/>
              </a:spcAft>
              <a:buNone/>
            </a:pPr>
            <a:r>
              <a:rPr lang="en-US" sz="1800"/>
              <a:t>If your field is pink, click on the area (</a:t>
            </a:r>
            <a:r>
              <a:rPr lang="en-US" sz="1800" b="1"/>
              <a:t>if not colored, No ESA Limitation</a:t>
            </a:r>
            <a:r>
              <a:rPr lang="en-US" sz="1800"/>
              <a:t>)</a:t>
            </a:r>
          </a:p>
          <a:p>
            <a:pPr marL="548640" indent="0">
              <a:spcBef>
                <a:spcPts val="1200"/>
              </a:spcBef>
              <a:spcAft>
                <a:spcPts val="600"/>
              </a:spcAft>
              <a:buNone/>
            </a:pPr>
            <a:r>
              <a:rPr lang="en-US" sz="1400"/>
              <a:t>	Outline of area should highlighted</a:t>
            </a:r>
          </a:p>
        </p:txBody>
      </p:sp>
      <p:sp>
        <p:nvSpPr>
          <p:cNvPr id="12" name="Text Placeholder 11">
            <a:extLst>
              <a:ext uri="{FF2B5EF4-FFF2-40B4-BE49-F238E27FC236}">
                <a16:creationId xmlns:a16="http://schemas.microsoft.com/office/drawing/2014/main" id="{9658DCCA-D419-42AD-803B-6A91F171C181}"/>
              </a:ext>
            </a:extLst>
          </p:cNvPr>
          <p:cNvSpPr>
            <a:spLocks noGrp="1"/>
          </p:cNvSpPr>
          <p:nvPr>
            <p:ph type="body" sz="quarter" idx="14"/>
          </p:nvPr>
        </p:nvSpPr>
        <p:spPr>
          <a:xfrm>
            <a:off x="7134425" y="870295"/>
            <a:ext cx="4527487" cy="341632"/>
          </a:xfrm>
        </p:spPr>
        <p:txBody>
          <a:bodyPr/>
          <a:lstStyle/>
          <a:p>
            <a:r>
              <a:rPr lang="en-US"/>
              <a:t>Obtaining a Bulletin</a:t>
            </a:r>
          </a:p>
        </p:txBody>
      </p:sp>
      <p:sp>
        <p:nvSpPr>
          <p:cNvPr id="4" name="Footer Placeholder 3">
            <a:extLst>
              <a:ext uri="{FF2B5EF4-FFF2-40B4-BE49-F238E27FC236}">
                <a16:creationId xmlns:a16="http://schemas.microsoft.com/office/drawing/2014/main" id="{9A6226B8-5A3A-41AD-B03D-B5A5337E212D}"/>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616911A4-82F7-4EAC-8ED4-FF63F4590A48}"/>
              </a:ext>
            </a:extLst>
          </p:cNvPr>
          <p:cNvSpPr>
            <a:spLocks noGrp="1"/>
          </p:cNvSpPr>
          <p:nvPr>
            <p:ph type="sldNum" sz="quarter" idx="16"/>
          </p:nvPr>
        </p:nvSpPr>
        <p:spPr/>
        <p:txBody>
          <a:bodyPr/>
          <a:lstStyle/>
          <a:p>
            <a:pPr lvl="0"/>
            <a:fld id="{5382645D-9DD6-408C-B0EA-C65795F9B1DE}" type="slidenum">
              <a:rPr lang="en-US" noProof="0" smtClean="0"/>
              <a:pPr lvl="0"/>
              <a:t>38</a:t>
            </a:fld>
            <a:endParaRPr lang="en-US" noProof="0"/>
          </a:p>
        </p:txBody>
      </p:sp>
      <p:sp>
        <p:nvSpPr>
          <p:cNvPr id="10" name="Title 9">
            <a:extLst>
              <a:ext uri="{FF2B5EF4-FFF2-40B4-BE49-F238E27FC236}">
                <a16:creationId xmlns:a16="http://schemas.microsoft.com/office/drawing/2014/main" id="{0B0E1E68-1733-45D3-9AD8-80DE9D289054}"/>
              </a:ext>
            </a:extLst>
          </p:cNvPr>
          <p:cNvSpPr>
            <a:spLocks noGrp="1"/>
          </p:cNvSpPr>
          <p:nvPr>
            <p:ph type="title"/>
          </p:nvPr>
        </p:nvSpPr>
        <p:spPr>
          <a:xfrm>
            <a:off x="7134425" y="318014"/>
            <a:ext cx="4527487" cy="590931"/>
          </a:xfrm>
        </p:spPr>
        <p:txBody>
          <a:bodyPr/>
          <a:lstStyle/>
          <a:p>
            <a:r>
              <a:rPr lang="en-US"/>
              <a:t>Instructions</a:t>
            </a:r>
          </a:p>
        </p:txBody>
      </p:sp>
      <p:sp>
        <p:nvSpPr>
          <p:cNvPr id="16" name="Oval 15">
            <a:extLst>
              <a:ext uri="{FF2B5EF4-FFF2-40B4-BE49-F238E27FC236}">
                <a16:creationId xmlns:a16="http://schemas.microsoft.com/office/drawing/2014/main" id="{7FDD2E00-6C71-404A-8568-212E6134000F}"/>
              </a:ext>
            </a:extLst>
          </p:cNvPr>
          <p:cNvSpPr/>
          <p:nvPr/>
        </p:nvSpPr>
        <p:spPr>
          <a:xfrm>
            <a:off x="7210422" y="1392927"/>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a:t>
            </a:r>
          </a:p>
        </p:txBody>
      </p:sp>
      <p:sp>
        <p:nvSpPr>
          <p:cNvPr id="17" name="Oval 16">
            <a:extLst>
              <a:ext uri="{FF2B5EF4-FFF2-40B4-BE49-F238E27FC236}">
                <a16:creationId xmlns:a16="http://schemas.microsoft.com/office/drawing/2014/main" id="{2D3EEB1E-426A-4E82-B361-4E96FE53B524}"/>
              </a:ext>
            </a:extLst>
          </p:cNvPr>
          <p:cNvSpPr/>
          <p:nvPr/>
        </p:nvSpPr>
        <p:spPr>
          <a:xfrm>
            <a:off x="7210422" y="2488244"/>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cxnSp>
        <p:nvCxnSpPr>
          <p:cNvPr id="39" name="Straight Connector 38">
            <a:extLst>
              <a:ext uri="{FF2B5EF4-FFF2-40B4-BE49-F238E27FC236}">
                <a16:creationId xmlns:a16="http://schemas.microsoft.com/office/drawing/2014/main" id="{3390D136-6D25-4D08-B309-6AA88DAC4A4C}"/>
              </a:ext>
            </a:extLst>
          </p:cNvPr>
          <p:cNvCxnSpPr>
            <a:cxnSpLocks/>
          </p:cNvCxnSpPr>
          <p:nvPr/>
        </p:nvCxnSpPr>
        <p:spPr>
          <a:xfrm>
            <a:off x="7945326" y="1900998"/>
            <a:ext cx="0" cy="438497"/>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A0F23FD-9FF3-4197-BAFE-6372A27A6B82}"/>
              </a:ext>
            </a:extLst>
          </p:cNvPr>
          <p:cNvPicPr>
            <a:picLocks noChangeAspect="1"/>
          </p:cNvPicPr>
          <p:nvPr/>
        </p:nvPicPr>
        <p:blipFill>
          <a:blip r:embed="rId3"/>
          <a:stretch>
            <a:fillRect/>
          </a:stretch>
        </p:blipFill>
        <p:spPr>
          <a:xfrm>
            <a:off x="914400" y="6362699"/>
            <a:ext cx="1171575" cy="495300"/>
          </a:xfrm>
          <a:prstGeom prst="rect">
            <a:avLst/>
          </a:prstGeom>
        </p:spPr>
      </p:pic>
      <p:pic>
        <p:nvPicPr>
          <p:cNvPr id="24" name="Picture 23">
            <a:extLst>
              <a:ext uri="{FF2B5EF4-FFF2-40B4-BE49-F238E27FC236}">
                <a16:creationId xmlns:a16="http://schemas.microsoft.com/office/drawing/2014/main" id="{6117EC27-2536-4802-9112-0741E6D7C331}"/>
              </a:ext>
            </a:extLst>
          </p:cNvPr>
          <p:cNvPicPr>
            <a:picLocks noChangeAspect="1"/>
          </p:cNvPicPr>
          <p:nvPr/>
        </p:nvPicPr>
        <p:blipFill>
          <a:blip r:embed="rId4"/>
          <a:stretch>
            <a:fillRect/>
          </a:stretch>
        </p:blipFill>
        <p:spPr>
          <a:xfrm>
            <a:off x="838200" y="6393164"/>
            <a:ext cx="1333500" cy="378995"/>
          </a:xfrm>
          <a:prstGeom prst="rect">
            <a:avLst/>
          </a:prstGeom>
        </p:spPr>
      </p:pic>
      <p:pic>
        <p:nvPicPr>
          <p:cNvPr id="26" name="Picture 25">
            <a:extLst>
              <a:ext uri="{FF2B5EF4-FFF2-40B4-BE49-F238E27FC236}">
                <a16:creationId xmlns:a16="http://schemas.microsoft.com/office/drawing/2014/main" id="{F2A9FAF1-FF04-4B62-B679-0384FED80F2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209"/>
          <a:stretch/>
        </p:blipFill>
        <p:spPr>
          <a:xfrm>
            <a:off x="568767" y="559530"/>
            <a:ext cx="6104166" cy="5066711"/>
          </a:xfrm>
          <a:prstGeom prst="rect">
            <a:avLst/>
          </a:prstGeom>
        </p:spPr>
      </p:pic>
      <p:cxnSp>
        <p:nvCxnSpPr>
          <p:cNvPr id="31" name="Straight Connector 30">
            <a:extLst>
              <a:ext uri="{FF2B5EF4-FFF2-40B4-BE49-F238E27FC236}">
                <a16:creationId xmlns:a16="http://schemas.microsoft.com/office/drawing/2014/main" id="{B397D0EC-137A-4084-9C8B-56961B4E5F50}"/>
              </a:ext>
            </a:extLst>
          </p:cNvPr>
          <p:cNvCxnSpPr>
            <a:cxnSpLocks/>
          </p:cNvCxnSpPr>
          <p:nvPr/>
        </p:nvCxnSpPr>
        <p:spPr>
          <a:xfrm>
            <a:off x="7957201" y="3262229"/>
            <a:ext cx="0" cy="228899"/>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827E21D-B3E2-488C-B85E-971559B914C0}"/>
              </a:ext>
            </a:extLst>
          </p:cNvPr>
          <p:cNvSpPr/>
          <p:nvPr/>
        </p:nvSpPr>
        <p:spPr>
          <a:xfrm>
            <a:off x="3361132" y="2391433"/>
            <a:ext cx="314793" cy="338338"/>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a:t>
            </a:r>
          </a:p>
        </p:txBody>
      </p:sp>
      <p:grpSp>
        <p:nvGrpSpPr>
          <p:cNvPr id="15" name="Group 14">
            <a:extLst>
              <a:ext uri="{FF2B5EF4-FFF2-40B4-BE49-F238E27FC236}">
                <a16:creationId xmlns:a16="http://schemas.microsoft.com/office/drawing/2014/main" id="{3589D75D-76E7-4ADA-8777-17F51D18F264}"/>
              </a:ext>
            </a:extLst>
          </p:cNvPr>
          <p:cNvGrpSpPr/>
          <p:nvPr/>
        </p:nvGrpSpPr>
        <p:grpSpPr>
          <a:xfrm>
            <a:off x="102493" y="636991"/>
            <a:ext cx="6714422" cy="5066711"/>
            <a:chOff x="-5312500" y="806473"/>
            <a:chExt cx="6714422" cy="5066711"/>
          </a:xfrm>
        </p:grpSpPr>
        <p:grpSp>
          <p:nvGrpSpPr>
            <p:cNvPr id="9" name="Group 8">
              <a:extLst>
                <a:ext uri="{FF2B5EF4-FFF2-40B4-BE49-F238E27FC236}">
                  <a16:creationId xmlns:a16="http://schemas.microsoft.com/office/drawing/2014/main" id="{DE6C73FE-02A8-420B-B525-8A22DC8D6D5F}"/>
                </a:ext>
              </a:extLst>
            </p:cNvPr>
            <p:cNvGrpSpPr/>
            <p:nvPr/>
          </p:nvGrpSpPr>
          <p:grpSpPr>
            <a:xfrm>
              <a:off x="-5312500" y="806473"/>
              <a:ext cx="6714422" cy="5066711"/>
              <a:chOff x="-5312500" y="806473"/>
              <a:chExt cx="6714422" cy="5066711"/>
            </a:xfrm>
          </p:grpSpPr>
          <p:pic>
            <p:nvPicPr>
              <p:cNvPr id="7" name="Picture 6">
                <a:extLst>
                  <a:ext uri="{FF2B5EF4-FFF2-40B4-BE49-F238E27FC236}">
                    <a16:creationId xmlns:a16="http://schemas.microsoft.com/office/drawing/2014/main" id="{3C5B669F-E171-4537-B525-80C1F0AEF63B}"/>
                  </a:ext>
                </a:extLst>
              </p:cNvPr>
              <p:cNvPicPr>
                <a:picLocks noChangeAspect="1"/>
              </p:cNvPicPr>
              <p:nvPr/>
            </p:nvPicPr>
            <p:blipFill>
              <a:blip r:embed="rId6"/>
              <a:stretch>
                <a:fillRect/>
              </a:stretch>
            </p:blipFill>
            <p:spPr>
              <a:xfrm>
                <a:off x="-5312500" y="806473"/>
                <a:ext cx="6714422" cy="5066711"/>
              </a:xfrm>
              <a:prstGeom prst="rect">
                <a:avLst/>
              </a:prstGeom>
            </p:spPr>
          </p:pic>
          <p:sp>
            <p:nvSpPr>
              <p:cNvPr id="6" name="Rectangle: Rounded Corners 5">
                <a:extLst>
                  <a:ext uri="{FF2B5EF4-FFF2-40B4-BE49-F238E27FC236}">
                    <a16:creationId xmlns:a16="http://schemas.microsoft.com/office/drawing/2014/main" id="{0E1CB4C7-5099-45BE-A6A4-4D57F52289B7}"/>
                  </a:ext>
                </a:extLst>
              </p:cNvPr>
              <p:cNvSpPr/>
              <p:nvPr/>
            </p:nvSpPr>
            <p:spPr>
              <a:xfrm>
                <a:off x="-3594187" y="2758315"/>
                <a:ext cx="950668" cy="670685"/>
              </a:xfrm>
              <a:prstGeom prst="roundRect">
                <a:avLst/>
              </a:prstGeom>
              <a:no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Oval 36">
              <a:extLst>
                <a:ext uri="{FF2B5EF4-FFF2-40B4-BE49-F238E27FC236}">
                  <a16:creationId xmlns:a16="http://schemas.microsoft.com/office/drawing/2014/main" id="{0E36198E-845D-4F3C-B46C-D36C082146E0}"/>
                </a:ext>
              </a:extLst>
            </p:cNvPr>
            <p:cNvSpPr/>
            <p:nvPr/>
          </p:nvSpPr>
          <p:spPr>
            <a:xfrm>
              <a:off x="-4050713" y="2902574"/>
              <a:ext cx="314793" cy="314793"/>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grpSp>
    </p:spTree>
    <p:extLst>
      <p:ext uri="{BB962C8B-B14F-4D97-AF65-F5344CB8AC3E}">
        <p14:creationId xmlns:p14="http://schemas.microsoft.com/office/powerpoint/2010/main" val="23730017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8CA0F830-6EC6-42DC-877A-9C43B090455A}"/>
              </a:ext>
            </a:extLst>
          </p:cNvPr>
          <p:cNvSpPr>
            <a:spLocks noGrp="1"/>
          </p:cNvSpPr>
          <p:nvPr>
            <p:ph idx="1"/>
          </p:nvPr>
        </p:nvSpPr>
        <p:spPr>
          <a:xfrm>
            <a:off x="7066389" y="1468584"/>
            <a:ext cx="4578433" cy="4351338"/>
          </a:xfrm>
        </p:spPr>
        <p:txBody>
          <a:bodyPr>
            <a:normAutofit/>
          </a:bodyPr>
          <a:lstStyle/>
          <a:p>
            <a:pPr marL="548640" indent="0">
              <a:spcBef>
                <a:spcPts val="600"/>
              </a:spcBef>
              <a:spcAft>
                <a:spcPts val="600"/>
              </a:spcAft>
              <a:buNone/>
            </a:pPr>
            <a:r>
              <a:rPr lang="en-US" sz="1800"/>
              <a:t>Zoom in or search to locate your field</a:t>
            </a:r>
          </a:p>
          <a:p>
            <a:pPr marL="548640" indent="0">
              <a:spcBef>
                <a:spcPts val="600"/>
              </a:spcBef>
              <a:spcAft>
                <a:spcPts val="600"/>
              </a:spcAft>
              <a:buNone/>
            </a:pPr>
            <a:r>
              <a:rPr lang="en-US" sz="1600"/>
              <a:t>	</a:t>
            </a:r>
            <a:r>
              <a:rPr lang="en-US" sz="1400"/>
              <a:t>Satellite image available in 	</a:t>
            </a:r>
            <a:r>
              <a:rPr lang="en-US" sz="1400" err="1"/>
              <a:t>basemaps</a:t>
            </a:r>
            <a:r>
              <a:rPr lang="en-US" sz="1400"/>
              <a:t> if needed</a:t>
            </a:r>
          </a:p>
          <a:p>
            <a:pPr marL="548640" indent="0">
              <a:spcBef>
                <a:spcPts val="1200"/>
              </a:spcBef>
              <a:spcAft>
                <a:spcPts val="600"/>
              </a:spcAft>
              <a:buNone/>
            </a:pPr>
            <a:r>
              <a:rPr lang="en-US" sz="1800"/>
              <a:t>If your field is pink, click on the area (</a:t>
            </a:r>
            <a:r>
              <a:rPr lang="en-US" sz="1800" b="1"/>
              <a:t>if not colored, No ESA Limitation</a:t>
            </a:r>
            <a:r>
              <a:rPr lang="en-US" sz="1800"/>
              <a:t>)</a:t>
            </a:r>
          </a:p>
          <a:p>
            <a:pPr marL="548640" indent="0">
              <a:spcBef>
                <a:spcPts val="1200"/>
              </a:spcBef>
              <a:spcAft>
                <a:spcPts val="600"/>
              </a:spcAft>
              <a:buNone/>
            </a:pPr>
            <a:r>
              <a:rPr lang="en-US" sz="1400"/>
              <a:t>	Outline of area should highlighted</a:t>
            </a:r>
            <a:endParaRPr lang="en-US" sz="1600"/>
          </a:p>
          <a:p>
            <a:pPr marL="548640" indent="0">
              <a:spcBef>
                <a:spcPts val="1200"/>
              </a:spcBef>
              <a:spcAft>
                <a:spcPts val="600"/>
              </a:spcAft>
              <a:buNone/>
            </a:pPr>
            <a:r>
              <a:rPr lang="en-US" sz="1800"/>
              <a:t>Designate application month, e.g. “May 2021” </a:t>
            </a:r>
          </a:p>
          <a:p>
            <a:pPr marL="548640" indent="0">
              <a:spcBef>
                <a:spcPts val="1200"/>
              </a:spcBef>
              <a:spcAft>
                <a:spcPts val="600"/>
              </a:spcAft>
              <a:buNone/>
            </a:pPr>
            <a:r>
              <a:rPr lang="en-US" sz="1400"/>
              <a:t>	Search</a:t>
            </a:r>
          </a:p>
        </p:txBody>
      </p:sp>
      <p:sp>
        <p:nvSpPr>
          <p:cNvPr id="12" name="Text Placeholder 11">
            <a:extLst>
              <a:ext uri="{FF2B5EF4-FFF2-40B4-BE49-F238E27FC236}">
                <a16:creationId xmlns:a16="http://schemas.microsoft.com/office/drawing/2014/main" id="{9658DCCA-D419-42AD-803B-6A91F171C181}"/>
              </a:ext>
            </a:extLst>
          </p:cNvPr>
          <p:cNvSpPr>
            <a:spLocks noGrp="1"/>
          </p:cNvSpPr>
          <p:nvPr>
            <p:ph type="body" sz="quarter" idx="14"/>
          </p:nvPr>
        </p:nvSpPr>
        <p:spPr>
          <a:xfrm>
            <a:off x="7134425" y="870295"/>
            <a:ext cx="4527487" cy="341632"/>
          </a:xfrm>
        </p:spPr>
        <p:txBody>
          <a:bodyPr/>
          <a:lstStyle/>
          <a:p>
            <a:r>
              <a:rPr lang="en-US"/>
              <a:t>Obtaining a Bulletin</a:t>
            </a:r>
          </a:p>
        </p:txBody>
      </p:sp>
      <p:sp>
        <p:nvSpPr>
          <p:cNvPr id="4" name="Footer Placeholder 3">
            <a:extLst>
              <a:ext uri="{FF2B5EF4-FFF2-40B4-BE49-F238E27FC236}">
                <a16:creationId xmlns:a16="http://schemas.microsoft.com/office/drawing/2014/main" id="{9A6226B8-5A3A-41AD-B03D-B5A5337E212D}"/>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616911A4-82F7-4EAC-8ED4-FF63F4590A48}"/>
              </a:ext>
            </a:extLst>
          </p:cNvPr>
          <p:cNvSpPr>
            <a:spLocks noGrp="1"/>
          </p:cNvSpPr>
          <p:nvPr>
            <p:ph type="sldNum" sz="quarter" idx="16"/>
          </p:nvPr>
        </p:nvSpPr>
        <p:spPr/>
        <p:txBody>
          <a:bodyPr/>
          <a:lstStyle/>
          <a:p>
            <a:pPr lvl="0"/>
            <a:fld id="{5382645D-9DD6-408C-B0EA-C65795F9B1DE}" type="slidenum">
              <a:rPr lang="en-US" noProof="0" smtClean="0"/>
              <a:pPr lvl="0"/>
              <a:t>39</a:t>
            </a:fld>
            <a:endParaRPr lang="en-US" noProof="0"/>
          </a:p>
        </p:txBody>
      </p:sp>
      <p:sp>
        <p:nvSpPr>
          <p:cNvPr id="10" name="Title 9">
            <a:extLst>
              <a:ext uri="{FF2B5EF4-FFF2-40B4-BE49-F238E27FC236}">
                <a16:creationId xmlns:a16="http://schemas.microsoft.com/office/drawing/2014/main" id="{0B0E1E68-1733-45D3-9AD8-80DE9D289054}"/>
              </a:ext>
            </a:extLst>
          </p:cNvPr>
          <p:cNvSpPr>
            <a:spLocks noGrp="1"/>
          </p:cNvSpPr>
          <p:nvPr>
            <p:ph type="title"/>
          </p:nvPr>
        </p:nvSpPr>
        <p:spPr>
          <a:xfrm>
            <a:off x="7134425" y="318014"/>
            <a:ext cx="4527487" cy="590931"/>
          </a:xfrm>
        </p:spPr>
        <p:txBody>
          <a:bodyPr/>
          <a:lstStyle/>
          <a:p>
            <a:r>
              <a:rPr lang="en-US"/>
              <a:t>Instructions</a:t>
            </a:r>
          </a:p>
        </p:txBody>
      </p:sp>
      <p:sp>
        <p:nvSpPr>
          <p:cNvPr id="16" name="Oval 15">
            <a:extLst>
              <a:ext uri="{FF2B5EF4-FFF2-40B4-BE49-F238E27FC236}">
                <a16:creationId xmlns:a16="http://schemas.microsoft.com/office/drawing/2014/main" id="{7FDD2E00-6C71-404A-8568-212E6134000F}"/>
              </a:ext>
            </a:extLst>
          </p:cNvPr>
          <p:cNvSpPr/>
          <p:nvPr/>
        </p:nvSpPr>
        <p:spPr>
          <a:xfrm>
            <a:off x="7210422" y="1392927"/>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a:t>
            </a:r>
          </a:p>
        </p:txBody>
      </p:sp>
      <p:sp>
        <p:nvSpPr>
          <p:cNvPr id="17" name="Oval 16">
            <a:extLst>
              <a:ext uri="{FF2B5EF4-FFF2-40B4-BE49-F238E27FC236}">
                <a16:creationId xmlns:a16="http://schemas.microsoft.com/office/drawing/2014/main" id="{2D3EEB1E-426A-4E82-B361-4E96FE53B524}"/>
              </a:ext>
            </a:extLst>
          </p:cNvPr>
          <p:cNvSpPr/>
          <p:nvPr/>
        </p:nvSpPr>
        <p:spPr>
          <a:xfrm>
            <a:off x="7210422" y="2488244"/>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sp>
        <p:nvSpPr>
          <p:cNvPr id="18" name="Oval 17">
            <a:extLst>
              <a:ext uri="{FF2B5EF4-FFF2-40B4-BE49-F238E27FC236}">
                <a16:creationId xmlns:a16="http://schemas.microsoft.com/office/drawing/2014/main" id="{8548AB4F-BE6E-4116-9245-1B38EF6E1574}"/>
              </a:ext>
            </a:extLst>
          </p:cNvPr>
          <p:cNvSpPr/>
          <p:nvPr/>
        </p:nvSpPr>
        <p:spPr>
          <a:xfrm>
            <a:off x="7212765" y="3572739"/>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3</a:t>
            </a:r>
          </a:p>
        </p:txBody>
      </p:sp>
      <p:cxnSp>
        <p:nvCxnSpPr>
          <p:cNvPr id="39" name="Straight Connector 38">
            <a:extLst>
              <a:ext uri="{FF2B5EF4-FFF2-40B4-BE49-F238E27FC236}">
                <a16:creationId xmlns:a16="http://schemas.microsoft.com/office/drawing/2014/main" id="{3390D136-6D25-4D08-B309-6AA88DAC4A4C}"/>
              </a:ext>
            </a:extLst>
          </p:cNvPr>
          <p:cNvCxnSpPr>
            <a:cxnSpLocks/>
          </p:cNvCxnSpPr>
          <p:nvPr/>
        </p:nvCxnSpPr>
        <p:spPr>
          <a:xfrm>
            <a:off x="7945326" y="1913030"/>
            <a:ext cx="0" cy="438497"/>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CE44B47-0223-4297-9F0C-6CFEAEF76488}"/>
              </a:ext>
            </a:extLst>
          </p:cNvPr>
          <p:cNvCxnSpPr>
            <a:cxnSpLocks/>
          </p:cNvCxnSpPr>
          <p:nvPr/>
        </p:nvCxnSpPr>
        <p:spPr>
          <a:xfrm>
            <a:off x="7957201" y="4402577"/>
            <a:ext cx="0" cy="228899"/>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A0F23FD-9FF3-4197-BAFE-6372A27A6B82}"/>
              </a:ext>
            </a:extLst>
          </p:cNvPr>
          <p:cNvPicPr>
            <a:picLocks noChangeAspect="1"/>
          </p:cNvPicPr>
          <p:nvPr/>
        </p:nvPicPr>
        <p:blipFill>
          <a:blip r:embed="rId3"/>
          <a:stretch>
            <a:fillRect/>
          </a:stretch>
        </p:blipFill>
        <p:spPr>
          <a:xfrm>
            <a:off x="914400" y="6362699"/>
            <a:ext cx="1171575" cy="495300"/>
          </a:xfrm>
          <a:prstGeom prst="rect">
            <a:avLst/>
          </a:prstGeom>
        </p:spPr>
      </p:pic>
      <p:pic>
        <p:nvPicPr>
          <p:cNvPr id="24" name="Picture 23">
            <a:extLst>
              <a:ext uri="{FF2B5EF4-FFF2-40B4-BE49-F238E27FC236}">
                <a16:creationId xmlns:a16="http://schemas.microsoft.com/office/drawing/2014/main" id="{6117EC27-2536-4802-9112-0741E6D7C331}"/>
              </a:ext>
            </a:extLst>
          </p:cNvPr>
          <p:cNvPicPr>
            <a:picLocks noChangeAspect="1"/>
          </p:cNvPicPr>
          <p:nvPr/>
        </p:nvPicPr>
        <p:blipFill>
          <a:blip r:embed="rId4"/>
          <a:stretch>
            <a:fillRect/>
          </a:stretch>
        </p:blipFill>
        <p:spPr>
          <a:xfrm>
            <a:off x="838200" y="6393164"/>
            <a:ext cx="1333500" cy="378995"/>
          </a:xfrm>
          <a:prstGeom prst="rect">
            <a:avLst/>
          </a:prstGeom>
        </p:spPr>
      </p:pic>
      <p:cxnSp>
        <p:nvCxnSpPr>
          <p:cNvPr id="31" name="Straight Connector 30">
            <a:extLst>
              <a:ext uri="{FF2B5EF4-FFF2-40B4-BE49-F238E27FC236}">
                <a16:creationId xmlns:a16="http://schemas.microsoft.com/office/drawing/2014/main" id="{B397D0EC-137A-4084-9C8B-56961B4E5F50}"/>
              </a:ext>
            </a:extLst>
          </p:cNvPr>
          <p:cNvCxnSpPr>
            <a:cxnSpLocks/>
          </p:cNvCxnSpPr>
          <p:nvPr/>
        </p:nvCxnSpPr>
        <p:spPr>
          <a:xfrm>
            <a:off x="7957201" y="3262229"/>
            <a:ext cx="0" cy="228899"/>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1750804A-DEFD-4890-81A8-61FF978E46D7}"/>
              </a:ext>
            </a:extLst>
          </p:cNvPr>
          <p:cNvGrpSpPr/>
          <p:nvPr/>
        </p:nvGrpSpPr>
        <p:grpSpPr>
          <a:xfrm>
            <a:off x="1445681" y="160036"/>
            <a:ext cx="5175302" cy="5846145"/>
            <a:chOff x="4246318" y="-5131694"/>
            <a:chExt cx="5175302" cy="5846145"/>
          </a:xfrm>
        </p:grpSpPr>
        <p:grpSp>
          <p:nvGrpSpPr>
            <p:cNvPr id="14" name="Group 13">
              <a:extLst>
                <a:ext uri="{FF2B5EF4-FFF2-40B4-BE49-F238E27FC236}">
                  <a16:creationId xmlns:a16="http://schemas.microsoft.com/office/drawing/2014/main" id="{5457FC02-9148-467F-A29C-5F9A5D8A7FF7}"/>
                </a:ext>
              </a:extLst>
            </p:cNvPr>
            <p:cNvGrpSpPr/>
            <p:nvPr/>
          </p:nvGrpSpPr>
          <p:grpSpPr>
            <a:xfrm>
              <a:off x="4317702" y="-5131694"/>
              <a:ext cx="5103918" cy="5846145"/>
              <a:chOff x="914400" y="318014"/>
              <a:chExt cx="5103918" cy="5846145"/>
            </a:xfrm>
          </p:grpSpPr>
          <p:pic>
            <p:nvPicPr>
              <p:cNvPr id="25" name="Picture 24">
                <a:extLst>
                  <a:ext uri="{FF2B5EF4-FFF2-40B4-BE49-F238E27FC236}">
                    <a16:creationId xmlns:a16="http://schemas.microsoft.com/office/drawing/2014/main" id="{7B396991-11DC-458F-A136-C57B3669537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14400" y="318014"/>
                <a:ext cx="5103918" cy="5846145"/>
              </a:xfrm>
              <a:prstGeom prst="rect">
                <a:avLst/>
              </a:prstGeom>
            </p:spPr>
          </p:pic>
          <p:sp>
            <p:nvSpPr>
              <p:cNvPr id="33" name="Rectangle: Rounded Corners 32">
                <a:extLst>
                  <a:ext uri="{FF2B5EF4-FFF2-40B4-BE49-F238E27FC236}">
                    <a16:creationId xmlns:a16="http://schemas.microsoft.com/office/drawing/2014/main" id="{06941E12-D964-4989-9430-9B68E3EB1246}"/>
                  </a:ext>
                </a:extLst>
              </p:cNvPr>
              <p:cNvSpPr/>
              <p:nvPr/>
            </p:nvSpPr>
            <p:spPr>
              <a:xfrm>
                <a:off x="3744022" y="5756977"/>
                <a:ext cx="1285820" cy="338439"/>
              </a:xfrm>
              <a:prstGeom prst="roundRect">
                <a:avLst/>
              </a:prstGeom>
              <a:no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Oval 35">
              <a:extLst>
                <a:ext uri="{FF2B5EF4-FFF2-40B4-BE49-F238E27FC236}">
                  <a16:creationId xmlns:a16="http://schemas.microsoft.com/office/drawing/2014/main" id="{AE360F9B-7E86-4634-A71A-7A02DEBBC8E0}"/>
                </a:ext>
              </a:extLst>
            </p:cNvPr>
            <p:cNvSpPr/>
            <p:nvPr/>
          </p:nvSpPr>
          <p:spPr>
            <a:xfrm>
              <a:off x="4246318" y="-2039784"/>
              <a:ext cx="314793" cy="314793"/>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3</a:t>
              </a:r>
            </a:p>
          </p:txBody>
        </p:sp>
      </p:grpSp>
    </p:spTree>
    <p:extLst>
      <p:ext uri="{BB962C8B-B14F-4D97-AF65-F5344CB8AC3E}">
        <p14:creationId xmlns:p14="http://schemas.microsoft.com/office/powerpoint/2010/main" val="1388105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C4F9287B-6629-4832-9264-C43F9C8E35FF}"/>
              </a:ext>
            </a:extLst>
          </p:cNvPr>
          <p:cNvSpPr txBox="1">
            <a:spLocks/>
          </p:cNvSpPr>
          <p:nvPr/>
        </p:nvSpPr>
        <p:spPr>
          <a:xfrm>
            <a:off x="4938919" y="1585323"/>
            <a:ext cx="6389520" cy="435133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1200"/>
              </a:spcAft>
              <a:buNone/>
            </a:pPr>
            <a:r>
              <a:rPr lang="en-US" sz="1800" dirty="0"/>
              <a:t>The application requirements in this training apply to all labeled uses of these products and any future dicamba products labeled for use in the Roundup Ready</a:t>
            </a:r>
            <a:r>
              <a:rPr lang="en-US" sz="1800" baseline="30000" dirty="0">
                <a:ea typeface="+mn-lt"/>
                <a:cs typeface="+mn-lt"/>
              </a:rPr>
              <a:t>®</a:t>
            </a:r>
            <a:r>
              <a:rPr lang="en-US" sz="1800" dirty="0"/>
              <a:t> Xtend Crop System.</a:t>
            </a:r>
          </a:p>
          <a:p>
            <a:pPr marL="0" indent="0">
              <a:lnSpc>
                <a:spcPct val="100000"/>
              </a:lnSpc>
              <a:spcBef>
                <a:spcPts val="1200"/>
              </a:spcBef>
              <a:spcAft>
                <a:spcPts val="1200"/>
              </a:spcAft>
              <a:buNone/>
            </a:pPr>
            <a:r>
              <a:rPr lang="en-US" sz="1800" dirty="0"/>
              <a:t>Some slides contain language from XtendiMax</a:t>
            </a:r>
            <a:r>
              <a:rPr lang="en-US" sz="1800" baseline="30000" dirty="0"/>
              <a:t>® </a:t>
            </a:r>
            <a:r>
              <a:rPr lang="en-US" sz="1800" dirty="0"/>
              <a:t>label; other product label language may vary. </a:t>
            </a:r>
            <a:r>
              <a:rPr lang="en-US" sz="1800"/>
              <a:t>Always </a:t>
            </a:r>
            <a:r>
              <a:rPr lang="en-US" sz="1800" dirty="0"/>
              <a:t>read and follow the specific product label.</a:t>
            </a:r>
          </a:p>
          <a:p>
            <a:pPr marL="0" indent="0">
              <a:buNone/>
            </a:pPr>
            <a:r>
              <a:rPr lang="en-US" sz="1800" dirty="0">
                <a:solidFill>
                  <a:srgbClr val="00B050"/>
                </a:solidFill>
              </a:rPr>
              <a:t>To be used by certified applicators only; NOT to be used by uncertified persons working under the supervision of a certified applicator, except that uncertified persons may transport containers.</a:t>
            </a:r>
            <a:endParaRPr lang="en-US" sz="1800" dirty="0">
              <a:solidFill>
                <a:srgbClr val="00B050"/>
              </a:solidFill>
              <a:cs typeface="Arial"/>
            </a:endParaRPr>
          </a:p>
          <a:p>
            <a:pPr marL="0" indent="0">
              <a:lnSpc>
                <a:spcPct val="100000"/>
              </a:lnSpc>
              <a:spcBef>
                <a:spcPts val="1200"/>
              </a:spcBef>
              <a:spcAft>
                <a:spcPts val="1200"/>
              </a:spcAft>
              <a:buNone/>
            </a:pPr>
            <a:r>
              <a:rPr lang="en-US" sz="1800" dirty="0">
                <a:solidFill>
                  <a:srgbClr val="00B050"/>
                </a:solidFill>
              </a:rPr>
              <a:t>These labels expire 12/20/2025.</a:t>
            </a:r>
            <a:endParaRPr lang="en-US" sz="1800" dirty="0">
              <a:solidFill>
                <a:srgbClr val="00B050"/>
              </a:solidFill>
              <a:cs typeface="Arial"/>
            </a:endParaRPr>
          </a:p>
        </p:txBody>
      </p:sp>
      <p:sp>
        <p:nvSpPr>
          <p:cNvPr id="2" name="Rectangle 1">
            <a:extLst>
              <a:ext uri="{FF2B5EF4-FFF2-40B4-BE49-F238E27FC236}">
                <a16:creationId xmlns:a16="http://schemas.microsoft.com/office/drawing/2014/main" id="{92DEBBE7-E12A-488D-85F6-7F84A83B46AF}"/>
              </a:ext>
            </a:extLst>
          </p:cNvPr>
          <p:cNvSpPr/>
          <p:nvPr/>
        </p:nvSpPr>
        <p:spPr>
          <a:xfrm>
            <a:off x="941388" y="1585323"/>
            <a:ext cx="3778394" cy="435133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14">
            <a:extLst>
              <a:ext uri="{FF2B5EF4-FFF2-40B4-BE49-F238E27FC236}">
                <a16:creationId xmlns:a16="http://schemas.microsoft.com/office/drawing/2014/main" id="{BD47FE5C-09FC-4D8D-8293-73459F43C6CE}"/>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a:extLst>
              <a:ext uri="{FF2B5EF4-FFF2-40B4-BE49-F238E27FC236}">
                <a16:creationId xmlns:a16="http://schemas.microsoft.com/office/drawing/2014/main" id="{BF43B442-D007-4DFA-BB78-1D2CCEEAF788}"/>
              </a:ext>
            </a:extLst>
          </p:cNvPr>
          <p:cNvSpPr>
            <a:spLocks noGrp="1"/>
          </p:cNvSpPr>
          <p:nvPr>
            <p:ph type="sldNum" sz="quarter" idx="11"/>
          </p:nvPr>
        </p:nvSpPr>
        <p:spPr/>
        <p:txBody>
          <a:bodyPr/>
          <a:lstStyle/>
          <a:p>
            <a:fld id="{EA3FE5EA-A969-4B35-AD4B-03E61E783B03}" type="slidenum">
              <a:rPr lang="en-US" smtClean="0"/>
              <a:pPr/>
              <a:t>4</a:t>
            </a:fld>
            <a:endParaRPr lang="en-US"/>
          </a:p>
        </p:txBody>
      </p:sp>
      <p:sp>
        <p:nvSpPr>
          <p:cNvPr id="3" name="Content Placeholder 2">
            <a:extLst>
              <a:ext uri="{FF2B5EF4-FFF2-40B4-BE49-F238E27FC236}">
                <a16:creationId xmlns:a16="http://schemas.microsoft.com/office/drawing/2014/main" id="{F9D515F0-B4E3-4A96-82CF-3B138DA5F115}"/>
              </a:ext>
            </a:extLst>
          </p:cNvPr>
          <p:cNvSpPr>
            <a:spLocks noGrp="1"/>
          </p:cNvSpPr>
          <p:nvPr>
            <p:ph idx="1"/>
          </p:nvPr>
        </p:nvSpPr>
        <p:spPr>
          <a:xfrm>
            <a:off x="1216279" y="1825625"/>
            <a:ext cx="3337615" cy="4041021"/>
          </a:xfrm>
        </p:spPr>
        <p:txBody>
          <a:bodyPr vert="horz" lIns="91440" tIns="45720" rIns="91440" bIns="45720" rtlCol="0" anchor="t">
            <a:normAutofit lnSpcReduction="10000"/>
          </a:bodyPr>
          <a:lstStyle/>
          <a:p>
            <a:pPr marL="0" indent="0">
              <a:lnSpc>
                <a:spcPct val="100000"/>
              </a:lnSpc>
              <a:spcBef>
                <a:spcPts val="600"/>
              </a:spcBef>
              <a:spcAft>
                <a:spcPts val="600"/>
              </a:spcAft>
              <a:buNone/>
            </a:pPr>
            <a:r>
              <a:rPr lang="en-US" b="1" dirty="0">
                <a:solidFill>
                  <a:schemeClr val="accent6"/>
                </a:solidFill>
                <a:latin typeface="Arial Narrow"/>
                <a:cs typeface="Arial Narrow" panose="020B0604020202020204" pitchFamily="34" charset="0"/>
              </a:rPr>
              <a:t>AS OF DECEMBER 2020</a:t>
            </a:r>
            <a:endParaRPr lang="en-US" b="1" dirty="0">
              <a:solidFill>
                <a:schemeClr val="accent6"/>
              </a:solidFill>
              <a:latin typeface="Arial Narrow" panose="020B0604020202020204" pitchFamily="34" charset="0"/>
              <a:cs typeface="Arial Narrow" panose="020B0604020202020204" pitchFamily="34" charset="0"/>
            </a:endParaRPr>
          </a:p>
          <a:p>
            <a:pPr marL="0" indent="0">
              <a:lnSpc>
                <a:spcPct val="100000"/>
              </a:lnSpc>
              <a:spcBef>
                <a:spcPts val="600"/>
              </a:spcBef>
              <a:spcAft>
                <a:spcPts val="600"/>
              </a:spcAft>
              <a:buNone/>
            </a:pPr>
            <a:r>
              <a:rPr lang="en-US" sz="1600" dirty="0"/>
              <a:t>The following formulations </a:t>
            </a:r>
            <a:br>
              <a:rPr lang="en-US" sz="1600" dirty="0"/>
            </a:br>
            <a:r>
              <a:rPr lang="en-US" sz="1600" dirty="0"/>
              <a:t>of dicamba are approved for use in the Roundup Ready</a:t>
            </a:r>
            <a:r>
              <a:rPr lang="en-US" sz="1600" baseline="30000" dirty="0"/>
              <a:t>®</a:t>
            </a:r>
            <a:r>
              <a:rPr lang="en-US" sz="1600" dirty="0"/>
              <a:t> </a:t>
            </a:r>
            <a:r>
              <a:rPr lang="en-US" sz="1600" dirty="0" err="1"/>
              <a:t>Xtend</a:t>
            </a:r>
            <a:r>
              <a:rPr lang="en-US" sz="1600" dirty="0"/>
              <a:t> Crop System and are covered by this training:</a:t>
            </a:r>
          </a:p>
          <a:p>
            <a:pPr marL="182880" lvl="1" indent="0">
              <a:lnSpc>
                <a:spcPct val="100000"/>
              </a:lnSpc>
              <a:spcBef>
                <a:spcPts val="600"/>
              </a:spcBef>
              <a:spcAft>
                <a:spcPts val="600"/>
              </a:spcAft>
              <a:buNone/>
              <a:tabLst>
                <a:tab pos="4005263" algn="l"/>
              </a:tabLst>
            </a:pPr>
            <a:r>
              <a:rPr lang="en-US" sz="1400" dirty="0" err="1"/>
              <a:t>XtendiMax</a:t>
            </a:r>
            <a:r>
              <a:rPr lang="en-US" sz="1400" baseline="30000" dirty="0"/>
              <a:t>®</a:t>
            </a:r>
            <a:r>
              <a:rPr lang="en-US" sz="1400" dirty="0"/>
              <a:t> herbicide with </a:t>
            </a:r>
            <a:r>
              <a:rPr lang="en-US" sz="1400" dirty="0" err="1"/>
              <a:t>VaporGrip</a:t>
            </a:r>
            <a:r>
              <a:rPr lang="en-US" sz="1400" baseline="30000" dirty="0"/>
              <a:t>®</a:t>
            </a:r>
            <a:r>
              <a:rPr lang="en-US" sz="1400" dirty="0"/>
              <a:t> Technology </a:t>
            </a:r>
            <a:r>
              <a:rPr lang="en-US" sz="1400" b="1" dirty="0"/>
              <a:t>(Bayer)</a:t>
            </a:r>
          </a:p>
          <a:p>
            <a:pPr marL="182880" lvl="1" indent="0">
              <a:lnSpc>
                <a:spcPct val="100000"/>
              </a:lnSpc>
              <a:spcBef>
                <a:spcPts val="600"/>
              </a:spcBef>
              <a:spcAft>
                <a:spcPts val="600"/>
              </a:spcAft>
              <a:buNone/>
            </a:pPr>
            <a:r>
              <a:rPr lang="en-US" sz="1400" dirty="0" err="1"/>
              <a:t>Tavium</a:t>
            </a:r>
            <a:r>
              <a:rPr lang="en-US" sz="1400" baseline="30000" dirty="0"/>
              <a:t>®</a:t>
            </a:r>
            <a:r>
              <a:rPr lang="en-US" sz="1400" dirty="0"/>
              <a:t> Plus </a:t>
            </a:r>
            <a:r>
              <a:rPr lang="en-US" sz="1400" dirty="0" err="1"/>
              <a:t>VaporGrip</a:t>
            </a:r>
            <a:r>
              <a:rPr lang="en-US" sz="1400" baseline="30000" dirty="0"/>
              <a:t>® </a:t>
            </a:r>
            <a:r>
              <a:rPr lang="en-US" sz="1400" dirty="0"/>
              <a:t>Technology herbicide </a:t>
            </a:r>
            <a:r>
              <a:rPr lang="en-US" sz="1400" b="1" dirty="0"/>
              <a:t>(Syngenta)</a:t>
            </a:r>
          </a:p>
          <a:p>
            <a:pPr marL="182880" lvl="1" indent="0">
              <a:lnSpc>
                <a:spcPct val="100000"/>
              </a:lnSpc>
              <a:spcBef>
                <a:spcPts val="600"/>
              </a:spcBef>
              <a:spcAft>
                <a:spcPts val="600"/>
              </a:spcAft>
              <a:buNone/>
            </a:pPr>
            <a:r>
              <a:rPr lang="en-US" sz="1400" dirty="0" err="1"/>
              <a:t>Engenia</a:t>
            </a:r>
            <a:r>
              <a:rPr lang="en-US" sz="1400" baseline="30000" dirty="0"/>
              <a:t>®</a:t>
            </a:r>
            <a:r>
              <a:rPr lang="en-US" sz="1400" dirty="0"/>
              <a:t> Herbicide </a:t>
            </a:r>
            <a:r>
              <a:rPr lang="en-US" sz="1400" b="1" dirty="0"/>
              <a:t>(BASF)</a:t>
            </a:r>
          </a:p>
          <a:p>
            <a:pPr marL="182880" lvl="1" indent="0">
              <a:lnSpc>
                <a:spcPct val="100000"/>
              </a:lnSpc>
              <a:spcBef>
                <a:spcPts val="600"/>
              </a:spcBef>
              <a:spcAft>
                <a:spcPts val="600"/>
              </a:spcAft>
              <a:buNone/>
            </a:pPr>
            <a:r>
              <a:rPr lang="en-US" sz="1400" dirty="0"/>
              <a:t>Future dicamba products approved for over the top use in the Roundup Ready</a:t>
            </a:r>
            <a:r>
              <a:rPr lang="en-US" sz="1400" baseline="30000" dirty="0"/>
              <a:t>®</a:t>
            </a:r>
            <a:r>
              <a:rPr lang="en-US" sz="1400" dirty="0"/>
              <a:t> </a:t>
            </a:r>
            <a:r>
              <a:rPr lang="en-US" sz="1400" dirty="0" err="1"/>
              <a:t>Xtend</a:t>
            </a:r>
            <a:r>
              <a:rPr lang="en-US" sz="1400" dirty="0"/>
              <a:t> Crop System</a:t>
            </a:r>
          </a:p>
        </p:txBody>
      </p:sp>
      <p:sp>
        <p:nvSpPr>
          <p:cNvPr id="11" name="Title 10">
            <a:extLst>
              <a:ext uri="{FF2B5EF4-FFF2-40B4-BE49-F238E27FC236}">
                <a16:creationId xmlns:a16="http://schemas.microsoft.com/office/drawing/2014/main" id="{95225287-6A25-4FD1-9F85-B6DE9FFE8257}"/>
              </a:ext>
            </a:extLst>
          </p:cNvPr>
          <p:cNvSpPr>
            <a:spLocks noGrp="1"/>
          </p:cNvSpPr>
          <p:nvPr>
            <p:ph type="title"/>
          </p:nvPr>
        </p:nvSpPr>
        <p:spPr>
          <a:xfrm>
            <a:off x="838200" y="318014"/>
            <a:ext cx="10515600" cy="1089529"/>
          </a:xfrm>
        </p:spPr>
        <p:txBody>
          <a:bodyPr/>
          <a:lstStyle/>
          <a:p>
            <a:r>
              <a:rPr lang="en-US"/>
              <a:t>APPROVED FORMULATIONS OF </a:t>
            </a:r>
            <a:br>
              <a:rPr lang="en-US"/>
            </a:br>
            <a:r>
              <a:rPr lang="en-US"/>
              <a:t>DICAMBA COVERED BY THIS TRAINING</a:t>
            </a:r>
          </a:p>
        </p:txBody>
      </p:sp>
      <p:cxnSp>
        <p:nvCxnSpPr>
          <p:cNvPr id="22" name="Straight Connector 21">
            <a:extLst>
              <a:ext uri="{FF2B5EF4-FFF2-40B4-BE49-F238E27FC236}">
                <a16:creationId xmlns:a16="http://schemas.microsoft.com/office/drawing/2014/main" id="{A582A952-E049-4A2E-A714-ABF10B2F710B}"/>
              </a:ext>
            </a:extLst>
          </p:cNvPr>
          <p:cNvCxnSpPr>
            <a:cxnSpLocks/>
          </p:cNvCxnSpPr>
          <p:nvPr/>
        </p:nvCxnSpPr>
        <p:spPr>
          <a:xfrm>
            <a:off x="1287300" y="3589506"/>
            <a:ext cx="0" cy="219936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3369E3-05FE-4661-8078-B33826D55070}"/>
              </a:ext>
            </a:extLst>
          </p:cNvPr>
          <p:cNvCxnSpPr>
            <a:cxnSpLocks/>
          </p:cNvCxnSpPr>
          <p:nvPr/>
        </p:nvCxnSpPr>
        <p:spPr>
          <a:xfrm>
            <a:off x="4940730" y="2991610"/>
            <a:ext cx="63201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B74D47D-12E3-4219-81DE-1A8D7B43E4F8}"/>
              </a:ext>
            </a:extLst>
          </p:cNvPr>
          <p:cNvCxnSpPr>
            <a:cxnSpLocks/>
          </p:cNvCxnSpPr>
          <p:nvPr/>
        </p:nvCxnSpPr>
        <p:spPr>
          <a:xfrm>
            <a:off x="4940730" y="4174381"/>
            <a:ext cx="63201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A57678E-CC89-4E71-8814-A1558A95AD12}"/>
              </a:ext>
            </a:extLst>
          </p:cNvPr>
          <p:cNvSpPr txBox="1"/>
          <p:nvPr/>
        </p:nvSpPr>
        <p:spPr>
          <a:xfrm>
            <a:off x="9920688" y="138629"/>
            <a:ext cx="2743200" cy="369332"/>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Arial"/>
            </a:endParaRPr>
          </a:p>
        </p:txBody>
      </p:sp>
      <p:cxnSp>
        <p:nvCxnSpPr>
          <p:cNvPr id="26" name="Straight Connector 25">
            <a:extLst>
              <a:ext uri="{FF2B5EF4-FFF2-40B4-BE49-F238E27FC236}">
                <a16:creationId xmlns:a16="http://schemas.microsoft.com/office/drawing/2014/main" id="{6EC607F5-D00B-48EC-AD5A-03E12B2AA538}"/>
              </a:ext>
            </a:extLst>
          </p:cNvPr>
          <p:cNvCxnSpPr>
            <a:cxnSpLocks/>
          </p:cNvCxnSpPr>
          <p:nvPr/>
        </p:nvCxnSpPr>
        <p:spPr>
          <a:xfrm>
            <a:off x="4940730" y="5872414"/>
            <a:ext cx="63201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43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Chart, treemap chart&#10;&#10;Description automatically generated">
            <a:extLst>
              <a:ext uri="{FF2B5EF4-FFF2-40B4-BE49-F238E27FC236}">
                <a16:creationId xmlns:a16="http://schemas.microsoft.com/office/drawing/2014/main" id="{53E0084D-2A32-3041-8E8D-C32E098D5FB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9977" y="115511"/>
            <a:ext cx="5934133" cy="2397630"/>
          </a:xfrm>
          <a:prstGeom prst="rect">
            <a:avLst/>
          </a:prstGeom>
        </p:spPr>
      </p:pic>
      <p:pic>
        <p:nvPicPr>
          <p:cNvPr id="7" name="Picture 6" descr="Graphical user interface, text&#10;&#10;Description automatically generated">
            <a:extLst>
              <a:ext uri="{FF2B5EF4-FFF2-40B4-BE49-F238E27FC236}">
                <a16:creationId xmlns:a16="http://schemas.microsoft.com/office/drawing/2014/main" id="{6A4FC3F1-90D2-1B4D-A798-C7B81A889D1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977" y="2516909"/>
            <a:ext cx="5934133" cy="3671656"/>
          </a:xfrm>
          <a:prstGeom prst="rect">
            <a:avLst/>
          </a:prstGeom>
        </p:spPr>
      </p:pic>
      <p:sp>
        <p:nvSpPr>
          <p:cNvPr id="11" name="Content Placeholder 10">
            <a:extLst>
              <a:ext uri="{FF2B5EF4-FFF2-40B4-BE49-F238E27FC236}">
                <a16:creationId xmlns:a16="http://schemas.microsoft.com/office/drawing/2014/main" id="{8CA0F830-6EC6-42DC-877A-9C43B090455A}"/>
              </a:ext>
            </a:extLst>
          </p:cNvPr>
          <p:cNvSpPr>
            <a:spLocks noGrp="1"/>
          </p:cNvSpPr>
          <p:nvPr>
            <p:ph idx="1"/>
          </p:nvPr>
        </p:nvSpPr>
        <p:spPr>
          <a:xfrm>
            <a:off x="7066388" y="1468584"/>
            <a:ext cx="4778281" cy="4351338"/>
          </a:xfrm>
        </p:spPr>
        <p:txBody>
          <a:bodyPr>
            <a:normAutofit fontScale="92500" lnSpcReduction="10000"/>
          </a:bodyPr>
          <a:lstStyle/>
          <a:p>
            <a:pPr marL="548640" indent="0">
              <a:spcBef>
                <a:spcPts val="600"/>
              </a:spcBef>
              <a:spcAft>
                <a:spcPts val="600"/>
              </a:spcAft>
              <a:buNone/>
            </a:pPr>
            <a:r>
              <a:rPr lang="en-US"/>
              <a:t>Zoom in or search to locate your field</a:t>
            </a:r>
          </a:p>
          <a:p>
            <a:pPr marL="548640" indent="0">
              <a:spcBef>
                <a:spcPts val="600"/>
              </a:spcBef>
              <a:spcAft>
                <a:spcPts val="600"/>
              </a:spcAft>
              <a:buNone/>
            </a:pPr>
            <a:r>
              <a:rPr lang="en-US" sz="1800"/>
              <a:t>	</a:t>
            </a:r>
            <a:r>
              <a:rPr lang="en-US" sz="1600"/>
              <a:t>Satellite image available in </a:t>
            </a:r>
            <a:r>
              <a:rPr lang="en-US" sz="1600" err="1"/>
              <a:t>basemaps</a:t>
            </a:r>
            <a:r>
              <a:rPr lang="en-US" sz="1600"/>
              <a:t> if 	needed</a:t>
            </a:r>
          </a:p>
          <a:p>
            <a:pPr marL="548640" indent="0">
              <a:spcBef>
                <a:spcPts val="1200"/>
              </a:spcBef>
              <a:spcAft>
                <a:spcPts val="600"/>
              </a:spcAft>
              <a:buNone/>
            </a:pPr>
            <a:r>
              <a:rPr lang="en-US"/>
              <a:t>If your field is pink, click on the area (</a:t>
            </a:r>
            <a:r>
              <a:rPr lang="en-US" b="1"/>
              <a:t>if not colored, No ESA Limitation</a:t>
            </a:r>
            <a:r>
              <a:rPr lang="en-US"/>
              <a:t>)</a:t>
            </a:r>
          </a:p>
          <a:p>
            <a:pPr marL="548640" indent="0">
              <a:spcBef>
                <a:spcPts val="1200"/>
              </a:spcBef>
              <a:spcAft>
                <a:spcPts val="600"/>
              </a:spcAft>
              <a:buNone/>
            </a:pPr>
            <a:r>
              <a:rPr lang="en-US" sz="1600"/>
              <a:t>	Outline of area should highlighted</a:t>
            </a:r>
            <a:endParaRPr lang="en-US" sz="1800"/>
          </a:p>
          <a:p>
            <a:pPr marL="548640" indent="0">
              <a:spcBef>
                <a:spcPts val="1200"/>
              </a:spcBef>
              <a:spcAft>
                <a:spcPts val="600"/>
              </a:spcAft>
              <a:buNone/>
            </a:pPr>
            <a:r>
              <a:rPr lang="en-US"/>
              <a:t>Designate application month e.g. “May 2021” </a:t>
            </a:r>
          </a:p>
          <a:p>
            <a:pPr marL="548640" indent="0">
              <a:spcBef>
                <a:spcPts val="1200"/>
              </a:spcBef>
              <a:spcAft>
                <a:spcPts val="600"/>
              </a:spcAft>
              <a:buNone/>
            </a:pPr>
            <a:r>
              <a:rPr lang="en-US" sz="1600"/>
              <a:t>	Search</a:t>
            </a:r>
          </a:p>
          <a:p>
            <a:pPr marL="548640" indent="0">
              <a:spcBef>
                <a:spcPts val="1800"/>
              </a:spcBef>
              <a:spcAft>
                <a:spcPts val="600"/>
              </a:spcAft>
              <a:buNone/>
            </a:pPr>
            <a:r>
              <a:rPr lang="en-US"/>
              <a:t>Look to the right at </a:t>
            </a:r>
            <a:r>
              <a:rPr lang="en-US" b="1"/>
              <a:t>Results*</a:t>
            </a:r>
          </a:p>
          <a:p>
            <a:pPr marL="548640" indent="0">
              <a:spcBef>
                <a:spcPts val="1800"/>
              </a:spcBef>
              <a:spcAft>
                <a:spcPts val="600"/>
              </a:spcAft>
              <a:buNone/>
            </a:pPr>
            <a:r>
              <a:rPr lang="en-US" b="1"/>
              <a:t>	</a:t>
            </a:r>
            <a:r>
              <a:rPr lang="en-US" sz="1700"/>
              <a:t>If dicamba products are listed, 	See Limitations </a:t>
            </a:r>
          </a:p>
        </p:txBody>
      </p:sp>
      <p:sp>
        <p:nvSpPr>
          <p:cNvPr id="12" name="Text Placeholder 11">
            <a:extLst>
              <a:ext uri="{FF2B5EF4-FFF2-40B4-BE49-F238E27FC236}">
                <a16:creationId xmlns:a16="http://schemas.microsoft.com/office/drawing/2014/main" id="{9658DCCA-D419-42AD-803B-6A91F171C181}"/>
              </a:ext>
            </a:extLst>
          </p:cNvPr>
          <p:cNvSpPr>
            <a:spLocks noGrp="1"/>
          </p:cNvSpPr>
          <p:nvPr>
            <p:ph type="body" sz="quarter" idx="14"/>
          </p:nvPr>
        </p:nvSpPr>
        <p:spPr>
          <a:xfrm>
            <a:off x="7134425" y="870295"/>
            <a:ext cx="4527487" cy="341632"/>
          </a:xfrm>
        </p:spPr>
        <p:txBody>
          <a:bodyPr/>
          <a:lstStyle/>
          <a:p>
            <a:r>
              <a:rPr lang="en-US"/>
              <a:t>Obtaining a Bulletin</a:t>
            </a:r>
          </a:p>
        </p:txBody>
      </p:sp>
      <p:sp>
        <p:nvSpPr>
          <p:cNvPr id="4" name="Footer Placeholder 3">
            <a:extLst>
              <a:ext uri="{FF2B5EF4-FFF2-40B4-BE49-F238E27FC236}">
                <a16:creationId xmlns:a16="http://schemas.microsoft.com/office/drawing/2014/main" id="{9A6226B8-5A3A-41AD-B03D-B5A5337E212D}"/>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616911A4-82F7-4EAC-8ED4-FF63F4590A48}"/>
              </a:ext>
            </a:extLst>
          </p:cNvPr>
          <p:cNvSpPr>
            <a:spLocks noGrp="1"/>
          </p:cNvSpPr>
          <p:nvPr>
            <p:ph type="sldNum" sz="quarter" idx="16"/>
          </p:nvPr>
        </p:nvSpPr>
        <p:spPr/>
        <p:txBody>
          <a:bodyPr/>
          <a:lstStyle/>
          <a:p>
            <a:pPr lvl="0"/>
            <a:fld id="{5382645D-9DD6-408C-B0EA-C65795F9B1DE}" type="slidenum">
              <a:rPr lang="en-US" noProof="0" smtClean="0"/>
              <a:pPr lvl="0"/>
              <a:t>40</a:t>
            </a:fld>
            <a:endParaRPr lang="en-US" noProof="0"/>
          </a:p>
        </p:txBody>
      </p:sp>
      <p:sp>
        <p:nvSpPr>
          <p:cNvPr id="10" name="Title 9">
            <a:extLst>
              <a:ext uri="{FF2B5EF4-FFF2-40B4-BE49-F238E27FC236}">
                <a16:creationId xmlns:a16="http://schemas.microsoft.com/office/drawing/2014/main" id="{0B0E1E68-1733-45D3-9AD8-80DE9D289054}"/>
              </a:ext>
            </a:extLst>
          </p:cNvPr>
          <p:cNvSpPr>
            <a:spLocks noGrp="1"/>
          </p:cNvSpPr>
          <p:nvPr>
            <p:ph type="title"/>
          </p:nvPr>
        </p:nvSpPr>
        <p:spPr>
          <a:xfrm>
            <a:off x="7134425" y="318014"/>
            <a:ext cx="4527487" cy="590931"/>
          </a:xfrm>
        </p:spPr>
        <p:txBody>
          <a:bodyPr/>
          <a:lstStyle/>
          <a:p>
            <a:r>
              <a:rPr lang="en-US"/>
              <a:t>Instructions</a:t>
            </a:r>
          </a:p>
        </p:txBody>
      </p:sp>
      <p:sp>
        <p:nvSpPr>
          <p:cNvPr id="16" name="Oval 15">
            <a:extLst>
              <a:ext uri="{FF2B5EF4-FFF2-40B4-BE49-F238E27FC236}">
                <a16:creationId xmlns:a16="http://schemas.microsoft.com/office/drawing/2014/main" id="{7FDD2E00-6C71-404A-8568-212E6134000F}"/>
              </a:ext>
            </a:extLst>
          </p:cNvPr>
          <p:cNvSpPr/>
          <p:nvPr/>
        </p:nvSpPr>
        <p:spPr>
          <a:xfrm>
            <a:off x="7210422" y="1392927"/>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a:t>
            </a:r>
          </a:p>
        </p:txBody>
      </p:sp>
      <p:sp>
        <p:nvSpPr>
          <p:cNvPr id="17" name="Oval 16">
            <a:extLst>
              <a:ext uri="{FF2B5EF4-FFF2-40B4-BE49-F238E27FC236}">
                <a16:creationId xmlns:a16="http://schemas.microsoft.com/office/drawing/2014/main" id="{2D3EEB1E-426A-4E82-B361-4E96FE53B524}"/>
              </a:ext>
            </a:extLst>
          </p:cNvPr>
          <p:cNvSpPr/>
          <p:nvPr/>
        </p:nvSpPr>
        <p:spPr>
          <a:xfrm>
            <a:off x="7210422" y="2488244"/>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sp>
        <p:nvSpPr>
          <p:cNvPr id="18" name="Oval 17">
            <a:extLst>
              <a:ext uri="{FF2B5EF4-FFF2-40B4-BE49-F238E27FC236}">
                <a16:creationId xmlns:a16="http://schemas.microsoft.com/office/drawing/2014/main" id="{8548AB4F-BE6E-4116-9245-1B38EF6E1574}"/>
              </a:ext>
            </a:extLst>
          </p:cNvPr>
          <p:cNvSpPr/>
          <p:nvPr/>
        </p:nvSpPr>
        <p:spPr>
          <a:xfrm>
            <a:off x="7212765" y="3572739"/>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3</a:t>
            </a:r>
          </a:p>
        </p:txBody>
      </p:sp>
      <p:sp>
        <p:nvSpPr>
          <p:cNvPr id="19" name="Oval 18">
            <a:extLst>
              <a:ext uri="{FF2B5EF4-FFF2-40B4-BE49-F238E27FC236}">
                <a16:creationId xmlns:a16="http://schemas.microsoft.com/office/drawing/2014/main" id="{8E5DCCC2-8621-4795-98A5-1428E5BEEAAA}"/>
              </a:ext>
            </a:extLst>
          </p:cNvPr>
          <p:cNvSpPr/>
          <p:nvPr/>
        </p:nvSpPr>
        <p:spPr>
          <a:xfrm>
            <a:off x="7210422" y="4704727"/>
            <a:ext cx="420624" cy="420624"/>
          </a:xfrm>
          <a:prstGeom prst="ellipse">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4</a:t>
            </a:r>
          </a:p>
        </p:txBody>
      </p:sp>
      <p:cxnSp>
        <p:nvCxnSpPr>
          <p:cNvPr id="39" name="Straight Connector 38">
            <a:extLst>
              <a:ext uri="{FF2B5EF4-FFF2-40B4-BE49-F238E27FC236}">
                <a16:creationId xmlns:a16="http://schemas.microsoft.com/office/drawing/2014/main" id="{3390D136-6D25-4D08-B309-6AA88DAC4A4C}"/>
              </a:ext>
            </a:extLst>
          </p:cNvPr>
          <p:cNvCxnSpPr>
            <a:cxnSpLocks/>
          </p:cNvCxnSpPr>
          <p:nvPr/>
        </p:nvCxnSpPr>
        <p:spPr>
          <a:xfrm>
            <a:off x="7945326" y="1900998"/>
            <a:ext cx="0" cy="438497"/>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09DC849-F54D-451B-AF68-B18BDEC2A024}"/>
              </a:ext>
            </a:extLst>
          </p:cNvPr>
          <p:cNvCxnSpPr>
            <a:cxnSpLocks/>
          </p:cNvCxnSpPr>
          <p:nvPr/>
        </p:nvCxnSpPr>
        <p:spPr>
          <a:xfrm>
            <a:off x="7957201" y="5348820"/>
            <a:ext cx="0" cy="43671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CE44B47-0223-4297-9F0C-6CFEAEF76488}"/>
              </a:ext>
            </a:extLst>
          </p:cNvPr>
          <p:cNvCxnSpPr>
            <a:cxnSpLocks/>
          </p:cNvCxnSpPr>
          <p:nvPr/>
        </p:nvCxnSpPr>
        <p:spPr>
          <a:xfrm>
            <a:off x="7957201" y="4282257"/>
            <a:ext cx="0" cy="228899"/>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A0F23FD-9FF3-4197-BAFE-6372A27A6B82}"/>
              </a:ext>
            </a:extLst>
          </p:cNvPr>
          <p:cNvPicPr>
            <a:picLocks noChangeAspect="1"/>
          </p:cNvPicPr>
          <p:nvPr/>
        </p:nvPicPr>
        <p:blipFill>
          <a:blip r:embed="rId5"/>
          <a:stretch>
            <a:fillRect/>
          </a:stretch>
        </p:blipFill>
        <p:spPr>
          <a:xfrm>
            <a:off x="914400" y="6362699"/>
            <a:ext cx="1171575" cy="495300"/>
          </a:xfrm>
          <a:prstGeom prst="rect">
            <a:avLst/>
          </a:prstGeom>
        </p:spPr>
      </p:pic>
      <p:pic>
        <p:nvPicPr>
          <p:cNvPr id="24" name="Picture 23">
            <a:extLst>
              <a:ext uri="{FF2B5EF4-FFF2-40B4-BE49-F238E27FC236}">
                <a16:creationId xmlns:a16="http://schemas.microsoft.com/office/drawing/2014/main" id="{6117EC27-2536-4802-9112-0741E6D7C331}"/>
              </a:ext>
            </a:extLst>
          </p:cNvPr>
          <p:cNvPicPr>
            <a:picLocks noChangeAspect="1"/>
          </p:cNvPicPr>
          <p:nvPr/>
        </p:nvPicPr>
        <p:blipFill>
          <a:blip r:embed="rId6"/>
          <a:stretch>
            <a:fillRect/>
          </a:stretch>
        </p:blipFill>
        <p:spPr>
          <a:xfrm>
            <a:off x="838200" y="6393164"/>
            <a:ext cx="1333500" cy="378995"/>
          </a:xfrm>
          <a:prstGeom prst="rect">
            <a:avLst/>
          </a:prstGeom>
        </p:spPr>
      </p:pic>
      <p:cxnSp>
        <p:nvCxnSpPr>
          <p:cNvPr id="31" name="Straight Connector 30">
            <a:extLst>
              <a:ext uri="{FF2B5EF4-FFF2-40B4-BE49-F238E27FC236}">
                <a16:creationId xmlns:a16="http://schemas.microsoft.com/office/drawing/2014/main" id="{B397D0EC-137A-4084-9C8B-56961B4E5F50}"/>
              </a:ext>
            </a:extLst>
          </p:cNvPr>
          <p:cNvCxnSpPr>
            <a:cxnSpLocks/>
          </p:cNvCxnSpPr>
          <p:nvPr/>
        </p:nvCxnSpPr>
        <p:spPr>
          <a:xfrm>
            <a:off x="7957201" y="3165973"/>
            <a:ext cx="0" cy="228899"/>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FED8B590-3524-4DD3-A109-99030C7F7E95}"/>
              </a:ext>
            </a:extLst>
          </p:cNvPr>
          <p:cNvSpPr/>
          <p:nvPr/>
        </p:nvSpPr>
        <p:spPr>
          <a:xfrm>
            <a:off x="3959846" y="497495"/>
            <a:ext cx="314793" cy="314793"/>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4</a:t>
            </a:r>
          </a:p>
        </p:txBody>
      </p:sp>
      <p:sp>
        <p:nvSpPr>
          <p:cNvPr id="14" name="TextBox 13">
            <a:extLst>
              <a:ext uri="{FF2B5EF4-FFF2-40B4-BE49-F238E27FC236}">
                <a16:creationId xmlns:a16="http://schemas.microsoft.com/office/drawing/2014/main" id="{EC735A7A-6C25-8649-8701-B65A7C208FE7}"/>
              </a:ext>
            </a:extLst>
          </p:cNvPr>
          <p:cNvSpPr txBox="1"/>
          <p:nvPr/>
        </p:nvSpPr>
        <p:spPr>
          <a:xfrm>
            <a:off x="6896052" y="5790671"/>
            <a:ext cx="5118951" cy="461665"/>
          </a:xfrm>
          <a:prstGeom prst="rect">
            <a:avLst/>
          </a:prstGeom>
          <a:noFill/>
        </p:spPr>
        <p:txBody>
          <a:bodyPr wrap="square" rtlCol="0">
            <a:spAutoFit/>
          </a:bodyPr>
          <a:lstStyle/>
          <a:p>
            <a:r>
              <a:rPr lang="en-US" sz="1200"/>
              <a:t>*All approved pesticides for applications in the PULA will be listed.  This example only shows </a:t>
            </a:r>
            <a:r>
              <a:rPr lang="en-US" sz="1200" err="1"/>
              <a:t>XtendiMax</a:t>
            </a:r>
            <a:r>
              <a:rPr lang="en-US" sz="1200"/>
              <a:t> for illustration purposes.</a:t>
            </a:r>
          </a:p>
        </p:txBody>
      </p:sp>
    </p:spTree>
    <p:extLst>
      <p:ext uri="{BB962C8B-B14F-4D97-AF65-F5344CB8AC3E}">
        <p14:creationId xmlns:p14="http://schemas.microsoft.com/office/powerpoint/2010/main" val="20889391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1521" y="1211927"/>
            <a:ext cx="9760392" cy="4714213"/>
          </a:xfrm>
        </p:spPr>
        <p:txBody>
          <a:bodyPr anchor="ctr">
            <a:normAutofit/>
          </a:bodyPr>
          <a:lstStyle/>
          <a:p>
            <a:r>
              <a:rPr lang="en-US"/>
              <a:t>To protect federally listed threatened and endangered species, both a </a:t>
            </a:r>
            <a:r>
              <a:rPr lang="en-US" b="1">
                <a:solidFill>
                  <a:srgbClr val="00B050"/>
                </a:solidFill>
              </a:rPr>
              <a:t>310-foot</a:t>
            </a:r>
            <a:r>
              <a:rPr lang="en-US">
                <a:solidFill>
                  <a:srgbClr val="00B050"/>
                </a:solidFill>
              </a:rPr>
              <a:t> </a:t>
            </a:r>
            <a:r>
              <a:rPr lang="en-US" b="1">
                <a:solidFill>
                  <a:srgbClr val="00B050"/>
                </a:solidFill>
              </a:rPr>
              <a:t>in-field wind-directional</a:t>
            </a:r>
            <a:r>
              <a:rPr lang="en-US" b="1"/>
              <a:t> </a:t>
            </a:r>
            <a:r>
              <a:rPr lang="en-US"/>
              <a:t>spray drift buffer and a </a:t>
            </a:r>
            <a:r>
              <a:rPr lang="en-US" b="1"/>
              <a:t>57-foot omnidirectional in-field buffer </a:t>
            </a:r>
            <a:r>
              <a:rPr lang="en-US"/>
              <a:t>are required. </a:t>
            </a:r>
          </a:p>
          <a:p>
            <a:pPr lvl="1"/>
            <a:r>
              <a:rPr lang="en-US" b="1"/>
              <a:t>If applying with a qualified hooded sprayer</a:t>
            </a:r>
            <a:r>
              <a:rPr lang="en-US"/>
              <a:t>, both a </a:t>
            </a:r>
            <a:r>
              <a:rPr lang="en-US">
                <a:solidFill>
                  <a:srgbClr val="00B050"/>
                </a:solidFill>
              </a:rPr>
              <a:t>240-foot</a:t>
            </a:r>
            <a:r>
              <a:rPr lang="en-US"/>
              <a:t> in-field wind-directional spray drift buffer and a 57-foot omnidirectional in-field buffer are required to protect federally listed threatened and endangered species. Please see the label for a link to the website(s) with your product's</a:t>
            </a:r>
            <a:r>
              <a:rPr lang="en-US" b="1"/>
              <a:t> </a:t>
            </a:r>
            <a:r>
              <a:rPr lang="en-US"/>
              <a:t>qualified hooded sprayers.</a:t>
            </a:r>
            <a:endParaRPr lang="en-US">
              <a:cs typeface="Arial"/>
            </a:endParaRPr>
          </a:p>
          <a:p>
            <a:r>
              <a:rPr lang="en-US"/>
              <a:t>The following areas may be included in the buffer distance composition when directly adjacent to the treated field edges: </a:t>
            </a:r>
            <a:endParaRPr lang="en-US">
              <a:cs typeface="Arial"/>
            </a:endParaRPr>
          </a:p>
          <a:p>
            <a:pPr lvl="1"/>
            <a:r>
              <a:rPr lang="en-US">
                <a:solidFill>
                  <a:srgbClr val="00B050"/>
                </a:solidFill>
              </a:rPr>
              <a:t>Roads, paved or gravel surfaces, mowed grassy areas adjacent to field, and areas of bare ground from recent plowing or grading that are contiguous with the treated field.</a:t>
            </a:r>
            <a:endParaRPr lang="en-US">
              <a:solidFill>
                <a:srgbClr val="00B050"/>
              </a:solidFill>
              <a:cs typeface="Arial"/>
            </a:endParaRPr>
          </a:p>
          <a:p>
            <a:pPr lvl="1"/>
            <a:r>
              <a:rPr lang="en-US">
                <a:solidFill>
                  <a:srgbClr val="00B050"/>
                </a:solidFill>
              </a:rPr>
              <a:t>Planted agricultural fields containing dicamba-resistant plantings of cotton and soybeans.</a:t>
            </a:r>
            <a:endParaRPr lang="en-US">
              <a:solidFill>
                <a:srgbClr val="00B050"/>
              </a:solidFill>
              <a:cs typeface="Arial"/>
            </a:endParaRPr>
          </a:p>
          <a:p>
            <a:pPr lvl="1"/>
            <a:r>
              <a:rPr lang="en-US"/>
              <a:t>Areas covered by the footprint of a building, silo, or other man-made structure with walls and or roof.</a:t>
            </a:r>
          </a:p>
        </p:txBody>
      </p:sp>
      <p:sp>
        <p:nvSpPr>
          <p:cNvPr id="2" name="Title 1"/>
          <p:cNvSpPr>
            <a:spLocks noGrp="1"/>
          </p:cNvSpPr>
          <p:nvPr>
            <p:ph type="title"/>
          </p:nvPr>
        </p:nvSpPr>
        <p:spPr/>
        <p:txBody>
          <a:bodyPr/>
          <a:lstStyle/>
          <a:p>
            <a:r>
              <a:rPr lang="en-US"/>
              <a:t>Buffer requirements summary</a:t>
            </a:r>
          </a:p>
        </p:txBody>
      </p:sp>
      <p:sp>
        <p:nvSpPr>
          <p:cNvPr id="16" name="Footer Placeholder 15">
            <a:extLst>
              <a:ext uri="{FF2B5EF4-FFF2-40B4-BE49-F238E27FC236}">
                <a16:creationId xmlns:a16="http://schemas.microsoft.com/office/drawing/2014/main" id="{EC687A51-E3E8-4834-8D31-19E0820EC2F1}"/>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7" name="Slide Number Placeholder 16">
            <a:extLst>
              <a:ext uri="{FF2B5EF4-FFF2-40B4-BE49-F238E27FC236}">
                <a16:creationId xmlns:a16="http://schemas.microsoft.com/office/drawing/2014/main" id="{8CC48A39-D716-48A5-A6A2-23ECB1FC038F}"/>
              </a:ext>
            </a:extLst>
          </p:cNvPr>
          <p:cNvSpPr>
            <a:spLocks noGrp="1"/>
          </p:cNvSpPr>
          <p:nvPr>
            <p:ph type="sldNum" sz="quarter" idx="16"/>
          </p:nvPr>
        </p:nvSpPr>
        <p:spPr/>
        <p:txBody>
          <a:bodyPr/>
          <a:lstStyle/>
          <a:p>
            <a:fld id="{5382645D-9DD6-408C-B0EA-C65795F9B1DE}" type="slidenum">
              <a:rPr lang="en-US" smtClean="0"/>
              <a:pPr/>
              <a:t>41</a:t>
            </a:fld>
            <a:endParaRPr lang="en-US"/>
          </a:p>
        </p:txBody>
      </p:sp>
      <p:pic>
        <p:nvPicPr>
          <p:cNvPr id="5" name="Picture 4">
            <a:extLst>
              <a:ext uri="{FF2B5EF4-FFF2-40B4-BE49-F238E27FC236}">
                <a16:creationId xmlns:a16="http://schemas.microsoft.com/office/drawing/2014/main" id="{F05BA870-F2EE-4FF3-843C-5B5F3294803A}"/>
              </a:ext>
            </a:extLst>
          </p:cNvPr>
          <p:cNvPicPr>
            <a:picLocks noChangeAspect="1"/>
          </p:cNvPicPr>
          <p:nvPr/>
        </p:nvPicPr>
        <p:blipFill>
          <a:blip r:embed="rId3"/>
          <a:stretch>
            <a:fillRect/>
          </a:stretch>
        </p:blipFill>
        <p:spPr>
          <a:xfrm>
            <a:off x="914400" y="6362700"/>
            <a:ext cx="1171575" cy="495300"/>
          </a:xfrm>
          <a:prstGeom prst="rect">
            <a:avLst/>
          </a:prstGeom>
        </p:spPr>
      </p:pic>
      <p:pic>
        <p:nvPicPr>
          <p:cNvPr id="19" name="Picture 18">
            <a:extLst>
              <a:ext uri="{FF2B5EF4-FFF2-40B4-BE49-F238E27FC236}">
                <a16:creationId xmlns:a16="http://schemas.microsoft.com/office/drawing/2014/main" id="{32AE1AFF-FBCE-4EDC-8106-6DE8A5FC7FF4}"/>
              </a:ext>
            </a:extLst>
          </p:cNvPr>
          <p:cNvPicPr>
            <a:picLocks noChangeAspect="1"/>
          </p:cNvPicPr>
          <p:nvPr/>
        </p:nvPicPr>
        <p:blipFill>
          <a:blip r:embed="rId4"/>
          <a:stretch>
            <a:fillRect/>
          </a:stretch>
        </p:blipFill>
        <p:spPr>
          <a:xfrm>
            <a:off x="838200" y="6393164"/>
            <a:ext cx="1333500" cy="378995"/>
          </a:xfrm>
          <a:prstGeom prst="rect">
            <a:avLst/>
          </a:prstGeom>
        </p:spPr>
      </p:pic>
      <p:sp>
        <p:nvSpPr>
          <p:cNvPr id="15" name="Text Placeholder 2">
            <a:extLst>
              <a:ext uri="{FF2B5EF4-FFF2-40B4-BE49-F238E27FC236}">
                <a16:creationId xmlns:a16="http://schemas.microsoft.com/office/drawing/2014/main" id="{0DD63385-D326-4B0C-87B3-47327425AA85}"/>
              </a:ext>
            </a:extLst>
          </p:cNvPr>
          <p:cNvSpPr>
            <a:spLocks noGrp="1"/>
          </p:cNvSpPr>
          <p:nvPr>
            <p:ph type="body" sz="quarter" idx="14"/>
          </p:nvPr>
        </p:nvSpPr>
        <p:spPr>
          <a:xfrm>
            <a:off x="838200" y="870295"/>
            <a:ext cx="10515600" cy="341632"/>
          </a:xfrm>
        </p:spPr>
        <p:txBody>
          <a:bodyPr/>
          <a:lstStyle/>
          <a:p>
            <a:r>
              <a:rPr lang="en-US"/>
              <a:t>County requiring Omnidirectional buffer</a:t>
            </a:r>
          </a:p>
        </p:txBody>
      </p:sp>
    </p:spTree>
    <p:extLst>
      <p:ext uri="{BB962C8B-B14F-4D97-AF65-F5344CB8AC3E}">
        <p14:creationId xmlns:p14="http://schemas.microsoft.com/office/powerpoint/2010/main" val="70226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9" name="Group 368">
            <a:extLst>
              <a:ext uri="{FF2B5EF4-FFF2-40B4-BE49-F238E27FC236}">
                <a16:creationId xmlns:a16="http://schemas.microsoft.com/office/drawing/2014/main" id="{BC393913-ACE7-4CC1-A51F-1B32A6790412}"/>
              </a:ext>
            </a:extLst>
          </p:cNvPr>
          <p:cNvGrpSpPr>
            <a:grpSpLocks noChangeAspect="1"/>
          </p:cNvGrpSpPr>
          <p:nvPr/>
        </p:nvGrpSpPr>
        <p:grpSpPr>
          <a:xfrm>
            <a:off x="1582831" y="2834462"/>
            <a:ext cx="656906" cy="658368"/>
            <a:chOff x="-1143000" y="-2349500"/>
            <a:chExt cx="2139950" cy="2144712"/>
          </a:xfrm>
        </p:grpSpPr>
        <p:sp>
          <p:nvSpPr>
            <p:cNvPr id="370" name="Oval 369">
              <a:extLst>
                <a:ext uri="{FF2B5EF4-FFF2-40B4-BE49-F238E27FC236}">
                  <a16:creationId xmlns:a16="http://schemas.microsoft.com/office/drawing/2014/main" id="{0C3374B0-8E6D-4EC6-BD65-E58C123AD832}"/>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8">
              <a:extLst>
                <a:ext uri="{FF2B5EF4-FFF2-40B4-BE49-F238E27FC236}">
                  <a16:creationId xmlns:a16="http://schemas.microsoft.com/office/drawing/2014/main" id="{6AF75492-30DE-48B5-96A7-C81685049682}"/>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7">
            <a:extLst>
              <a:ext uri="{FF2B5EF4-FFF2-40B4-BE49-F238E27FC236}">
                <a16:creationId xmlns:a16="http://schemas.microsoft.com/office/drawing/2014/main" id="{CA2AF3D2-18F4-4009-825D-6406F7F498A0}"/>
              </a:ext>
            </a:extLst>
          </p:cNvPr>
          <p:cNvSpPr>
            <a:spLocks noChangeArrowheads="1"/>
          </p:cNvSpPr>
          <p:nvPr/>
        </p:nvSpPr>
        <p:spPr bwMode="auto">
          <a:xfrm>
            <a:off x="6351588" y="1470025"/>
            <a:ext cx="2151063"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687D2E7-519B-4617-B559-0ED168573FC3}"/>
              </a:ext>
            </a:extLst>
          </p:cNvPr>
          <p:cNvSpPr>
            <a:spLocks/>
          </p:cNvSpPr>
          <p:nvPr/>
        </p:nvSpPr>
        <p:spPr bwMode="auto">
          <a:xfrm>
            <a:off x="8555038" y="1470025"/>
            <a:ext cx="2706688" cy="3124200"/>
          </a:xfrm>
          <a:custGeom>
            <a:avLst/>
            <a:gdLst>
              <a:gd name="T0" fmla="*/ 0 w 1705"/>
              <a:gd name="T1" fmla="*/ 1968 h 1968"/>
              <a:gd name="T2" fmla="*/ 1705 w 1705"/>
              <a:gd name="T3" fmla="*/ 1220 h 1968"/>
              <a:gd name="T4" fmla="*/ 1705 w 1705"/>
              <a:gd name="T5" fmla="*/ 0 h 1968"/>
              <a:gd name="T6" fmla="*/ 0 w 1705"/>
              <a:gd name="T7" fmla="*/ 0 h 1968"/>
              <a:gd name="T8" fmla="*/ 0 w 1705"/>
              <a:gd name="T9" fmla="*/ 1968 h 1968"/>
            </a:gdLst>
            <a:ahLst/>
            <a:cxnLst>
              <a:cxn ang="0">
                <a:pos x="T0" y="T1"/>
              </a:cxn>
              <a:cxn ang="0">
                <a:pos x="T2" y="T3"/>
              </a:cxn>
              <a:cxn ang="0">
                <a:pos x="T4" y="T5"/>
              </a:cxn>
              <a:cxn ang="0">
                <a:pos x="T6" y="T7"/>
              </a:cxn>
              <a:cxn ang="0">
                <a:pos x="T8" y="T9"/>
              </a:cxn>
            </a:cxnLst>
            <a:rect l="0" t="0" r="r" b="b"/>
            <a:pathLst>
              <a:path w="1705" h="1968">
                <a:moveTo>
                  <a:pt x="0" y="1968"/>
                </a:moveTo>
                <a:lnTo>
                  <a:pt x="1705" y="1220"/>
                </a:lnTo>
                <a:lnTo>
                  <a:pt x="1705" y="0"/>
                </a:lnTo>
                <a:lnTo>
                  <a:pt x="0" y="0"/>
                </a:lnTo>
                <a:lnTo>
                  <a:pt x="0" y="19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9">
            <a:extLst>
              <a:ext uri="{FF2B5EF4-FFF2-40B4-BE49-F238E27FC236}">
                <a16:creationId xmlns:a16="http://schemas.microsoft.com/office/drawing/2014/main" id="{A36E3E8E-88CB-4A09-98E3-9964CDE19661}"/>
              </a:ext>
            </a:extLst>
          </p:cNvPr>
          <p:cNvSpPr>
            <a:spLocks noChangeArrowheads="1"/>
          </p:cNvSpPr>
          <p:nvPr/>
        </p:nvSpPr>
        <p:spPr bwMode="auto">
          <a:xfrm>
            <a:off x="3459163" y="1470025"/>
            <a:ext cx="2841625"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7B96F78D-65F1-49A6-9A12-F72E0AD74375}"/>
              </a:ext>
            </a:extLst>
          </p:cNvPr>
          <p:cNvSpPr>
            <a:spLocks/>
          </p:cNvSpPr>
          <p:nvPr/>
        </p:nvSpPr>
        <p:spPr bwMode="auto">
          <a:xfrm>
            <a:off x="6351588" y="3136900"/>
            <a:ext cx="2151063" cy="2146300"/>
          </a:xfrm>
          <a:custGeom>
            <a:avLst/>
            <a:gdLst>
              <a:gd name="T0" fmla="*/ 0 w 1355"/>
              <a:gd name="T1" fmla="*/ 0 h 1352"/>
              <a:gd name="T2" fmla="*/ 0 w 1355"/>
              <a:gd name="T3" fmla="*/ 1352 h 1352"/>
              <a:gd name="T4" fmla="*/ 391 w 1355"/>
              <a:gd name="T5" fmla="*/ 1352 h 1352"/>
              <a:gd name="T6" fmla="*/ 1355 w 1355"/>
              <a:gd name="T7" fmla="*/ 932 h 1352"/>
              <a:gd name="T8" fmla="*/ 1355 w 1355"/>
              <a:gd name="T9" fmla="*/ 0 h 1352"/>
              <a:gd name="T10" fmla="*/ 0 w 1355"/>
              <a:gd name="T11" fmla="*/ 0 h 1352"/>
            </a:gdLst>
            <a:ahLst/>
            <a:cxnLst>
              <a:cxn ang="0">
                <a:pos x="T0" y="T1"/>
              </a:cxn>
              <a:cxn ang="0">
                <a:pos x="T2" y="T3"/>
              </a:cxn>
              <a:cxn ang="0">
                <a:pos x="T4" y="T5"/>
              </a:cxn>
              <a:cxn ang="0">
                <a:pos x="T6" y="T7"/>
              </a:cxn>
              <a:cxn ang="0">
                <a:pos x="T8" y="T9"/>
              </a:cxn>
              <a:cxn ang="0">
                <a:pos x="T10" y="T11"/>
              </a:cxn>
            </a:cxnLst>
            <a:rect l="0" t="0" r="r" b="b"/>
            <a:pathLst>
              <a:path w="1355" h="1352">
                <a:moveTo>
                  <a:pt x="0" y="0"/>
                </a:moveTo>
                <a:lnTo>
                  <a:pt x="0" y="1352"/>
                </a:lnTo>
                <a:lnTo>
                  <a:pt x="391" y="1352"/>
                </a:lnTo>
                <a:lnTo>
                  <a:pt x="1355" y="932"/>
                </a:lnTo>
                <a:lnTo>
                  <a:pt x="1355" y="0"/>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1DE99310-1D53-4A9E-BAC4-03BC1E2D9111}"/>
              </a:ext>
            </a:extLst>
          </p:cNvPr>
          <p:cNvSpPr>
            <a:spLocks/>
          </p:cNvSpPr>
          <p:nvPr/>
        </p:nvSpPr>
        <p:spPr bwMode="auto">
          <a:xfrm>
            <a:off x="6361113" y="4122738"/>
            <a:ext cx="3390900" cy="1843088"/>
          </a:xfrm>
          <a:custGeom>
            <a:avLst/>
            <a:gdLst>
              <a:gd name="T0" fmla="*/ 2136 w 2136"/>
              <a:gd name="T1" fmla="*/ 0 h 1161"/>
              <a:gd name="T2" fmla="*/ 401 w 2136"/>
              <a:gd name="T3" fmla="*/ 761 h 1161"/>
              <a:gd name="T4" fmla="*/ 0 w 2136"/>
              <a:gd name="T5" fmla="*/ 761 h 1161"/>
              <a:gd name="T6" fmla="*/ 0 w 2136"/>
              <a:gd name="T7" fmla="*/ 1161 h 1161"/>
              <a:gd name="T8" fmla="*/ 2136 w 2136"/>
              <a:gd name="T9" fmla="*/ 1161 h 1161"/>
              <a:gd name="T10" fmla="*/ 2136 w 2136"/>
              <a:gd name="T11" fmla="*/ 0 h 1161"/>
            </a:gdLst>
            <a:ahLst/>
            <a:cxnLst>
              <a:cxn ang="0">
                <a:pos x="T0" y="T1"/>
              </a:cxn>
              <a:cxn ang="0">
                <a:pos x="T2" y="T3"/>
              </a:cxn>
              <a:cxn ang="0">
                <a:pos x="T4" y="T5"/>
              </a:cxn>
              <a:cxn ang="0">
                <a:pos x="T6" y="T7"/>
              </a:cxn>
              <a:cxn ang="0">
                <a:pos x="T8" y="T9"/>
              </a:cxn>
              <a:cxn ang="0">
                <a:pos x="T10" y="T11"/>
              </a:cxn>
            </a:cxnLst>
            <a:rect l="0" t="0" r="r" b="b"/>
            <a:pathLst>
              <a:path w="2136" h="1161">
                <a:moveTo>
                  <a:pt x="2136" y="0"/>
                </a:moveTo>
                <a:lnTo>
                  <a:pt x="401" y="761"/>
                </a:lnTo>
                <a:lnTo>
                  <a:pt x="0" y="761"/>
                </a:lnTo>
                <a:lnTo>
                  <a:pt x="0" y="1161"/>
                </a:lnTo>
                <a:lnTo>
                  <a:pt x="2136" y="1161"/>
                </a:lnTo>
                <a:lnTo>
                  <a:pt x="2136"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03C5520D-672B-4F52-B9A3-0D0AD00B4DCA}"/>
              </a:ext>
            </a:extLst>
          </p:cNvPr>
          <p:cNvSpPr>
            <a:spLocks/>
          </p:cNvSpPr>
          <p:nvPr/>
        </p:nvSpPr>
        <p:spPr bwMode="auto">
          <a:xfrm>
            <a:off x="9804401" y="3460750"/>
            <a:ext cx="1457325" cy="2508250"/>
          </a:xfrm>
          <a:custGeom>
            <a:avLst/>
            <a:gdLst>
              <a:gd name="T0" fmla="*/ 0 w 918"/>
              <a:gd name="T1" fmla="*/ 403 h 1580"/>
              <a:gd name="T2" fmla="*/ 0 w 918"/>
              <a:gd name="T3" fmla="*/ 1580 h 1580"/>
              <a:gd name="T4" fmla="*/ 918 w 918"/>
              <a:gd name="T5" fmla="*/ 1580 h 1580"/>
              <a:gd name="T6" fmla="*/ 918 w 918"/>
              <a:gd name="T7" fmla="*/ 0 h 1580"/>
              <a:gd name="T8" fmla="*/ 0 w 918"/>
              <a:gd name="T9" fmla="*/ 403 h 1580"/>
            </a:gdLst>
            <a:ahLst/>
            <a:cxnLst>
              <a:cxn ang="0">
                <a:pos x="T0" y="T1"/>
              </a:cxn>
              <a:cxn ang="0">
                <a:pos x="T2" y="T3"/>
              </a:cxn>
              <a:cxn ang="0">
                <a:pos x="T4" y="T5"/>
              </a:cxn>
              <a:cxn ang="0">
                <a:pos x="T6" y="T7"/>
              </a:cxn>
              <a:cxn ang="0">
                <a:pos x="T8" y="T9"/>
              </a:cxn>
            </a:cxnLst>
            <a:rect l="0" t="0" r="r" b="b"/>
            <a:pathLst>
              <a:path w="918" h="1580">
                <a:moveTo>
                  <a:pt x="0" y="403"/>
                </a:moveTo>
                <a:lnTo>
                  <a:pt x="0" y="1580"/>
                </a:lnTo>
                <a:lnTo>
                  <a:pt x="918" y="1580"/>
                </a:lnTo>
                <a:lnTo>
                  <a:pt x="918" y="0"/>
                </a:lnTo>
                <a:lnTo>
                  <a:pt x="0" y="40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
            <a:extLst>
              <a:ext uri="{FF2B5EF4-FFF2-40B4-BE49-F238E27FC236}">
                <a16:creationId xmlns:a16="http://schemas.microsoft.com/office/drawing/2014/main" id="{236C6A5D-4F43-4543-AB49-22A5051FCD79}"/>
              </a:ext>
            </a:extLst>
          </p:cNvPr>
          <p:cNvSpPr>
            <a:spLocks noChangeArrowheads="1"/>
          </p:cNvSpPr>
          <p:nvPr/>
        </p:nvSpPr>
        <p:spPr bwMode="auto">
          <a:xfrm>
            <a:off x="3459163" y="3136900"/>
            <a:ext cx="2841625" cy="283210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8" name="Group 127">
            <a:extLst>
              <a:ext uri="{FF2B5EF4-FFF2-40B4-BE49-F238E27FC236}">
                <a16:creationId xmlns:a16="http://schemas.microsoft.com/office/drawing/2014/main" id="{47B44F36-5A85-4827-89B4-CD1BB4271A1B}"/>
              </a:ext>
            </a:extLst>
          </p:cNvPr>
          <p:cNvGrpSpPr/>
          <p:nvPr/>
        </p:nvGrpSpPr>
        <p:grpSpPr>
          <a:xfrm>
            <a:off x="942976" y="4813300"/>
            <a:ext cx="1704627" cy="1155700"/>
            <a:chOff x="942976" y="4813300"/>
            <a:chExt cx="1704627" cy="1155700"/>
          </a:xfrm>
        </p:grpSpPr>
        <p:sp>
          <p:nvSpPr>
            <p:cNvPr id="113" name="Rectangle 110">
              <a:extLst>
                <a:ext uri="{FF2B5EF4-FFF2-40B4-BE49-F238E27FC236}">
                  <a16:creationId xmlns:a16="http://schemas.microsoft.com/office/drawing/2014/main" id="{A2E0A347-112D-474C-965A-848046BB2B72}"/>
                </a:ext>
              </a:extLst>
            </p:cNvPr>
            <p:cNvSpPr>
              <a:spLocks noChangeArrowheads="1"/>
            </p:cNvSpPr>
            <p:nvPr/>
          </p:nvSpPr>
          <p:spPr bwMode="auto">
            <a:xfrm>
              <a:off x="1357313" y="4829175"/>
              <a:ext cx="9699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Application 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4" name="Oval 111">
              <a:extLst>
                <a:ext uri="{FF2B5EF4-FFF2-40B4-BE49-F238E27FC236}">
                  <a16:creationId xmlns:a16="http://schemas.microsoft.com/office/drawing/2014/main" id="{BAD217C1-7D20-4D3F-8540-5DCF1448EA4C}"/>
                </a:ext>
              </a:extLst>
            </p:cNvPr>
            <p:cNvSpPr>
              <a:spLocks noChangeArrowheads="1"/>
            </p:cNvSpPr>
            <p:nvPr/>
          </p:nvSpPr>
          <p:spPr bwMode="auto">
            <a:xfrm>
              <a:off x="942976" y="4813300"/>
              <a:ext cx="228600" cy="22860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12">
              <a:extLst>
                <a:ext uri="{FF2B5EF4-FFF2-40B4-BE49-F238E27FC236}">
                  <a16:creationId xmlns:a16="http://schemas.microsoft.com/office/drawing/2014/main" id="{CAC77972-D303-4797-ADBB-0A72C9A73646}"/>
                </a:ext>
              </a:extLst>
            </p:cNvPr>
            <p:cNvSpPr>
              <a:spLocks noChangeArrowheads="1"/>
            </p:cNvSpPr>
            <p:nvPr/>
          </p:nvSpPr>
          <p:spPr bwMode="auto">
            <a:xfrm>
              <a:off x="1357313" y="5137150"/>
              <a:ext cx="12902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Dicamba Tolerant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8" name="Oval 115">
              <a:extLst>
                <a:ext uri="{FF2B5EF4-FFF2-40B4-BE49-F238E27FC236}">
                  <a16:creationId xmlns:a16="http://schemas.microsoft.com/office/drawing/2014/main" id="{7FBBD618-0257-44D1-B094-0E333F3CF45F}"/>
                </a:ext>
              </a:extLst>
            </p:cNvPr>
            <p:cNvSpPr>
              <a:spLocks noChangeArrowheads="1"/>
            </p:cNvSpPr>
            <p:nvPr/>
          </p:nvSpPr>
          <p:spPr bwMode="auto">
            <a:xfrm>
              <a:off x="942976" y="5122863"/>
              <a:ext cx="228600" cy="228600"/>
            </a:xfrm>
            <a:prstGeom prst="ellipse">
              <a:avLst/>
            </a:prstGeom>
            <a:solidFill>
              <a:srgbClr val="B2B4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6">
              <a:extLst>
                <a:ext uri="{FF2B5EF4-FFF2-40B4-BE49-F238E27FC236}">
                  <a16:creationId xmlns:a16="http://schemas.microsoft.com/office/drawing/2014/main" id="{9E44489D-96D2-4258-AC18-CCA14F0EA719}"/>
                </a:ext>
              </a:extLst>
            </p:cNvPr>
            <p:cNvSpPr>
              <a:spLocks noChangeArrowheads="1"/>
            </p:cNvSpPr>
            <p:nvPr/>
          </p:nvSpPr>
          <p:spPr bwMode="auto">
            <a:xfrm>
              <a:off x="1357313" y="5446713"/>
              <a:ext cx="5222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No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0" name="Oval 117">
              <a:extLst>
                <a:ext uri="{FF2B5EF4-FFF2-40B4-BE49-F238E27FC236}">
                  <a16:creationId xmlns:a16="http://schemas.microsoft.com/office/drawing/2014/main" id="{7F0AB5B6-3F11-46D9-A579-40C9929B4C0F}"/>
                </a:ext>
              </a:extLst>
            </p:cNvPr>
            <p:cNvSpPr>
              <a:spLocks noChangeArrowheads="1"/>
            </p:cNvSpPr>
            <p:nvPr/>
          </p:nvSpPr>
          <p:spPr bwMode="auto">
            <a:xfrm>
              <a:off x="942976" y="5430838"/>
              <a:ext cx="228600" cy="228600"/>
            </a:xfrm>
            <a:prstGeom prst="ellipse">
              <a:avLst/>
            </a:prstGeom>
            <a:solidFill>
              <a:srgbClr val="6C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18">
              <a:extLst>
                <a:ext uri="{FF2B5EF4-FFF2-40B4-BE49-F238E27FC236}">
                  <a16:creationId xmlns:a16="http://schemas.microsoft.com/office/drawing/2014/main" id="{746FF963-E3D5-4A9F-A156-059F323BA7D4}"/>
                </a:ext>
              </a:extLst>
            </p:cNvPr>
            <p:cNvSpPr>
              <a:spLocks noChangeArrowheads="1"/>
            </p:cNvSpPr>
            <p:nvPr/>
          </p:nvSpPr>
          <p:spPr bwMode="auto">
            <a:xfrm>
              <a:off x="1357313" y="5754688"/>
              <a:ext cx="8667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Sensitive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Oval 119">
              <a:extLst>
                <a:ext uri="{FF2B5EF4-FFF2-40B4-BE49-F238E27FC236}">
                  <a16:creationId xmlns:a16="http://schemas.microsoft.com/office/drawing/2014/main" id="{0CA3E211-2864-47ED-883E-FABF2E9082F1}"/>
                </a:ext>
              </a:extLst>
            </p:cNvPr>
            <p:cNvSpPr>
              <a:spLocks noChangeArrowheads="1"/>
            </p:cNvSpPr>
            <p:nvPr/>
          </p:nvSpPr>
          <p:spPr bwMode="auto">
            <a:xfrm>
              <a:off x="942976" y="5740400"/>
              <a:ext cx="228600" cy="228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a:extLst>
              <a:ext uri="{FF2B5EF4-FFF2-40B4-BE49-F238E27FC236}">
                <a16:creationId xmlns:a16="http://schemas.microsoft.com/office/drawing/2014/main" id="{37D15052-69EE-461D-8BC7-EF2C9FF7226E}"/>
              </a:ext>
            </a:extLst>
          </p:cNvPr>
          <p:cNvSpPr>
            <a:spLocks noGrp="1"/>
          </p:cNvSpPr>
          <p:nvPr>
            <p:ph type="body" sz="quarter" idx="14"/>
          </p:nvPr>
        </p:nvSpPr>
        <p:spPr>
          <a:xfrm>
            <a:off x="838200" y="870295"/>
            <a:ext cx="10515600" cy="341632"/>
          </a:xfrm>
        </p:spPr>
        <p:txBody>
          <a:bodyPr/>
          <a:lstStyle/>
          <a:p>
            <a:r>
              <a:rPr lang="en-US"/>
              <a:t>County requiring Omnidirectional buffer</a:t>
            </a:r>
          </a:p>
        </p:txBody>
      </p:sp>
      <p:sp>
        <p:nvSpPr>
          <p:cNvPr id="4" name="Title 3">
            <a:extLst>
              <a:ext uri="{FF2B5EF4-FFF2-40B4-BE49-F238E27FC236}">
                <a16:creationId xmlns:a16="http://schemas.microsoft.com/office/drawing/2014/main" id="{B05B9D20-D630-486A-AFDE-A97A1CB3ABF0}"/>
              </a:ext>
            </a:extLst>
          </p:cNvPr>
          <p:cNvSpPr>
            <a:spLocks noGrp="1"/>
          </p:cNvSpPr>
          <p:nvPr>
            <p:ph type="title"/>
          </p:nvPr>
        </p:nvSpPr>
        <p:spPr>
          <a:xfrm>
            <a:off x="838200" y="318014"/>
            <a:ext cx="10515600" cy="590931"/>
          </a:xfrm>
        </p:spPr>
        <p:txBody>
          <a:bodyPr/>
          <a:lstStyle/>
          <a:p>
            <a:r>
              <a:rPr lang="en-US"/>
              <a:t>Buffer protection</a:t>
            </a:r>
          </a:p>
        </p:txBody>
      </p:sp>
      <p:sp>
        <p:nvSpPr>
          <p:cNvPr id="136" name="Rectangle 106">
            <a:extLst>
              <a:ext uri="{FF2B5EF4-FFF2-40B4-BE49-F238E27FC236}">
                <a16:creationId xmlns:a16="http://schemas.microsoft.com/office/drawing/2014/main" id="{BDBF304A-7386-4E44-A8C8-355B5244537C}"/>
              </a:ext>
            </a:extLst>
          </p:cNvPr>
          <p:cNvSpPr>
            <a:spLocks noChangeArrowheads="1"/>
          </p:cNvSpPr>
          <p:nvPr/>
        </p:nvSpPr>
        <p:spPr bwMode="auto">
          <a:xfrm>
            <a:off x="78024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38" name="Rectangle 106">
            <a:extLst>
              <a:ext uri="{FF2B5EF4-FFF2-40B4-BE49-F238E27FC236}">
                <a16:creationId xmlns:a16="http://schemas.microsoft.com/office/drawing/2014/main" id="{91E0ACCD-CBE2-41D9-8C29-2BD77EC4D6C2}"/>
              </a:ext>
            </a:extLst>
          </p:cNvPr>
          <p:cNvSpPr>
            <a:spLocks noChangeArrowheads="1"/>
          </p:cNvSpPr>
          <p:nvPr/>
        </p:nvSpPr>
        <p:spPr bwMode="auto">
          <a:xfrm>
            <a:off x="102789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0" name="Rectangle 106">
            <a:extLst>
              <a:ext uri="{FF2B5EF4-FFF2-40B4-BE49-F238E27FC236}">
                <a16:creationId xmlns:a16="http://schemas.microsoft.com/office/drawing/2014/main" id="{CF58D40A-33C1-45D4-9B73-630309EAE284}"/>
              </a:ext>
            </a:extLst>
          </p:cNvPr>
          <p:cNvSpPr>
            <a:spLocks noChangeArrowheads="1"/>
          </p:cNvSpPr>
          <p:nvPr/>
        </p:nvSpPr>
        <p:spPr bwMode="auto">
          <a:xfrm>
            <a:off x="4391861" y="4122063"/>
            <a:ext cx="97622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b="1" spc="150" dirty="0">
                <a:latin typeface="Arial Narrow"/>
              </a:rPr>
              <a:t>DICAMBA </a:t>
            </a:r>
            <a:endParaRPr lang="en-US" altLang="en-US" spc="150" dirty="0">
              <a:latin typeface="Arial Narrow"/>
              <a:cs typeface="Arial"/>
            </a:endParaRPr>
          </a:p>
          <a:p>
            <a:pPr algn="ctr"/>
            <a:r>
              <a:rPr lang="en-US" altLang="en-US" sz="1400" b="1" spc="150" dirty="0">
                <a:latin typeface="Arial Narrow"/>
              </a:rPr>
              <a:t>TOLERANT</a:t>
            </a:r>
            <a:r>
              <a:rPr lang="en-US" altLang="en-US" sz="1400" b="1" i="0" u="none" strike="noStrike" cap="none" spc="150" normalizeH="0" dirty="0">
                <a:ln>
                  <a:noFill/>
                </a:ln>
                <a:effectLst/>
                <a:latin typeface="Arial Narrow" panose="020B0606020202030204" pitchFamily="34" charset="0"/>
              </a:rPr>
              <a:t/>
            </a:r>
            <a:br>
              <a:rPr lang="en-US" altLang="en-US" sz="1400" b="1" i="0" u="none" strike="noStrike" cap="none" spc="150" normalizeH="0" dirty="0">
                <a:ln>
                  <a:noFill/>
                </a:ln>
                <a:effectLst/>
                <a:latin typeface="Arial Narrow" panose="020B0606020202030204" pitchFamily="34" charset="0"/>
              </a:rPr>
            </a:br>
            <a:r>
              <a:rPr kumimoji="0" lang="en-US" altLang="en-US" sz="1400" b="1" i="0" u="none" strike="noStrike" cap="none" spc="150" normalizeH="0" dirty="0">
                <a:ln>
                  <a:noFill/>
                </a:ln>
                <a:effectLst/>
                <a:latin typeface="Arial Narrow"/>
              </a:rPr>
              <a:t>SOYBEANS</a:t>
            </a:r>
            <a:endParaRPr lang="en-US" altLang="en-US" sz="1800" b="0" i="0" u="none" strike="noStrike" cap="none" spc="150" normalizeH="0" dirty="0">
              <a:ln>
                <a:noFill/>
              </a:ln>
              <a:effectLst/>
              <a:latin typeface="Arial Narrow"/>
              <a:cs typeface="Arial"/>
            </a:endParaRPr>
          </a:p>
        </p:txBody>
      </p:sp>
      <p:sp>
        <p:nvSpPr>
          <p:cNvPr id="142" name="Rectangle 106">
            <a:extLst>
              <a:ext uri="{FF2B5EF4-FFF2-40B4-BE49-F238E27FC236}">
                <a16:creationId xmlns:a16="http://schemas.microsoft.com/office/drawing/2014/main" id="{C515B04C-D5AB-4FA4-9C81-1FFDC76E3B80}"/>
              </a:ext>
            </a:extLst>
          </p:cNvPr>
          <p:cNvSpPr>
            <a:spLocks noChangeArrowheads="1"/>
          </p:cNvSpPr>
          <p:nvPr/>
        </p:nvSpPr>
        <p:spPr bwMode="auto">
          <a:xfrm>
            <a:off x="4391861" y="1847175"/>
            <a:ext cx="97622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b="1" spc="150" dirty="0">
                <a:latin typeface="Arial Narrow"/>
              </a:rPr>
              <a:t>DICAMBA </a:t>
            </a:r>
            <a:endParaRPr lang="en-US" altLang="en-US" spc="150" dirty="0">
              <a:cs typeface="Arial"/>
            </a:endParaRPr>
          </a:p>
          <a:p>
            <a:pPr algn="ctr"/>
            <a:r>
              <a:rPr lang="en-US" altLang="en-US" sz="1400" b="1" spc="150" dirty="0">
                <a:latin typeface="Arial Narrow"/>
              </a:rPr>
              <a:t>TOLERANT</a:t>
            </a:r>
            <a:endParaRPr lang="en-US" altLang="en-US" spc="150" dirty="0">
              <a:cs typeface="Arial"/>
            </a:endParaRPr>
          </a:p>
          <a:p>
            <a:pPr algn="ctr"/>
            <a:r>
              <a:rPr lang="en-US" altLang="en-US" sz="1400" b="1" spc="150" dirty="0">
                <a:latin typeface="Arial Narrow"/>
              </a:rPr>
              <a:t>SOYBEANS</a:t>
            </a:r>
            <a:endParaRPr lang="en-US" altLang="en-US" spc="150" dirty="0">
              <a:cs typeface="Arial"/>
            </a:endParaRPr>
          </a:p>
        </p:txBody>
      </p:sp>
      <p:sp>
        <p:nvSpPr>
          <p:cNvPr id="143" name="Rectangle 106">
            <a:extLst>
              <a:ext uri="{FF2B5EF4-FFF2-40B4-BE49-F238E27FC236}">
                <a16:creationId xmlns:a16="http://schemas.microsoft.com/office/drawing/2014/main" id="{D479E799-39C2-416C-972A-19134C24F21E}"/>
              </a:ext>
            </a:extLst>
          </p:cNvPr>
          <p:cNvSpPr>
            <a:spLocks noChangeArrowheads="1"/>
          </p:cNvSpPr>
          <p:nvPr/>
        </p:nvSpPr>
        <p:spPr bwMode="auto">
          <a:xfrm>
            <a:off x="7173043" y="217034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4" name="Rectangle 106">
            <a:extLst>
              <a:ext uri="{FF2B5EF4-FFF2-40B4-BE49-F238E27FC236}">
                <a16:creationId xmlns:a16="http://schemas.microsoft.com/office/drawing/2014/main" id="{A783EB0C-9C7D-4C55-BE1B-7BC71F3A734C}"/>
              </a:ext>
            </a:extLst>
          </p:cNvPr>
          <p:cNvSpPr>
            <a:spLocks noChangeArrowheads="1"/>
          </p:cNvSpPr>
          <p:nvPr/>
        </p:nvSpPr>
        <p:spPr bwMode="auto">
          <a:xfrm>
            <a:off x="9267983" y="2378963"/>
            <a:ext cx="128079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solidFill>
                  <a:schemeClr val="bg1"/>
                </a:solidFill>
                <a:effectLst/>
                <a:latin typeface="Arial Narrow" panose="020B0606020202030204" pitchFamily="34" charset="0"/>
              </a:rPr>
              <a:t>NON-DICAMBA</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TOLERANT</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SOYBEANS</a:t>
            </a:r>
            <a:endParaRPr kumimoji="0" lang="en-US" altLang="en-US" sz="1800" b="0" i="0" u="none" strike="noStrike" cap="none" spc="150" normalizeH="0">
              <a:ln>
                <a:noFill/>
              </a:ln>
              <a:solidFill>
                <a:schemeClr val="bg1"/>
              </a:solidFill>
              <a:effectLst/>
            </a:endParaRPr>
          </a:p>
        </p:txBody>
      </p:sp>
      <p:sp>
        <p:nvSpPr>
          <p:cNvPr id="8" name="Rectangle 6">
            <a:extLst>
              <a:ext uri="{FF2B5EF4-FFF2-40B4-BE49-F238E27FC236}">
                <a16:creationId xmlns:a16="http://schemas.microsoft.com/office/drawing/2014/main" id="{0E39FB0D-90ED-4844-82C5-19907D0F36E5}"/>
              </a:ext>
            </a:extLst>
          </p:cNvPr>
          <p:cNvSpPr>
            <a:spLocks noChangeArrowheads="1"/>
          </p:cNvSpPr>
          <p:nvPr/>
        </p:nvSpPr>
        <p:spPr bwMode="auto">
          <a:xfrm>
            <a:off x="6350" y="3175"/>
            <a:ext cx="12176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Slide Number Placeholder 264">
            <a:extLst>
              <a:ext uri="{FF2B5EF4-FFF2-40B4-BE49-F238E27FC236}">
                <a16:creationId xmlns:a16="http://schemas.microsoft.com/office/drawing/2014/main" id="{2D7EE934-235D-436A-AC32-AAEE47F808DE}"/>
              </a:ext>
            </a:extLst>
          </p:cNvPr>
          <p:cNvSpPr>
            <a:spLocks noGrp="1"/>
          </p:cNvSpPr>
          <p:nvPr>
            <p:ph type="sldNum" sz="quarter" idx="16"/>
          </p:nvPr>
        </p:nvSpPr>
        <p:spPr/>
        <p:txBody>
          <a:bodyPr/>
          <a:lstStyle/>
          <a:p>
            <a:fld id="{5382645D-9DD6-408C-B0EA-C65795F9B1DE}" type="slidenum">
              <a:rPr lang="en-US" smtClean="0"/>
              <a:pPr/>
              <a:t>42</a:t>
            </a:fld>
            <a:endParaRPr lang="en-US"/>
          </a:p>
        </p:txBody>
      </p:sp>
      <p:sp>
        <p:nvSpPr>
          <p:cNvPr id="267" name="Footer Placeholder 266">
            <a:extLst>
              <a:ext uri="{FF2B5EF4-FFF2-40B4-BE49-F238E27FC236}">
                <a16:creationId xmlns:a16="http://schemas.microsoft.com/office/drawing/2014/main" id="{52E20EBB-5B3F-47B0-A2E5-81D9C34DC539}"/>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grpSp>
        <p:nvGrpSpPr>
          <p:cNvPr id="201" name="Group 200">
            <a:extLst>
              <a:ext uri="{FF2B5EF4-FFF2-40B4-BE49-F238E27FC236}">
                <a16:creationId xmlns:a16="http://schemas.microsoft.com/office/drawing/2014/main" id="{E81738D4-C4A6-40CA-B716-E87DE5603F19}"/>
              </a:ext>
            </a:extLst>
          </p:cNvPr>
          <p:cNvGrpSpPr/>
          <p:nvPr/>
        </p:nvGrpSpPr>
        <p:grpSpPr>
          <a:xfrm>
            <a:off x="1219772" y="2293819"/>
            <a:ext cx="1536700" cy="407988"/>
            <a:chOff x="9229726" y="4735513"/>
            <a:chExt cx="1536700" cy="407988"/>
          </a:xfrm>
        </p:grpSpPr>
        <p:sp>
          <p:nvSpPr>
            <p:cNvPr id="207" name="Freeform 97">
              <a:extLst>
                <a:ext uri="{FF2B5EF4-FFF2-40B4-BE49-F238E27FC236}">
                  <a16:creationId xmlns:a16="http://schemas.microsoft.com/office/drawing/2014/main" id="{FA96531F-DA45-42CE-BD74-87DCAA08120B}"/>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98">
              <a:extLst>
                <a:ext uri="{FF2B5EF4-FFF2-40B4-BE49-F238E27FC236}">
                  <a16:creationId xmlns:a16="http://schemas.microsoft.com/office/drawing/2014/main" id="{131DBC70-BE2B-49A6-ABEB-174FEC479018}"/>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99">
              <a:extLst>
                <a:ext uri="{FF2B5EF4-FFF2-40B4-BE49-F238E27FC236}">
                  <a16:creationId xmlns:a16="http://schemas.microsoft.com/office/drawing/2014/main" id="{EBEB87D5-E5FC-449A-BB8E-ABC84B459510}"/>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00">
              <a:extLst>
                <a:ext uri="{FF2B5EF4-FFF2-40B4-BE49-F238E27FC236}">
                  <a16:creationId xmlns:a16="http://schemas.microsoft.com/office/drawing/2014/main" id="{E30730E0-0E45-42C2-96C7-9FD430F917AA}"/>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01">
              <a:extLst>
                <a:ext uri="{FF2B5EF4-FFF2-40B4-BE49-F238E27FC236}">
                  <a16:creationId xmlns:a16="http://schemas.microsoft.com/office/drawing/2014/main" id="{F1499133-5C4D-43D7-8FED-13ED8E8511E1}"/>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02">
              <a:extLst>
                <a:ext uri="{FF2B5EF4-FFF2-40B4-BE49-F238E27FC236}">
                  <a16:creationId xmlns:a16="http://schemas.microsoft.com/office/drawing/2014/main" id="{391ADD6C-FC48-4AAF-895B-BED97CCD37C0}"/>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03">
              <a:extLst>
                <a:ext uri="{FF2B5EF4-FFF2-40B4-BE49-F238E27FC236}">
                  <a16:creationId xmlns:a16="http://schemas.microsoft.com/office/drawing/2014/main" id="{A6733306-7564-4E27-AF25-EE8A30A06E91}"/>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04">
              <a:extLst>
                <a:ext uri="{FF2B5EF4-FFF2-40B4-BE49-F238E27FC236}">
                  <a16:creationId xmlns:a16="http://schemas.microsoft.com/office/drawing/2014/main" id="{D8A13C9A-7CB2-41AB-ABF9-35905171D743}"/>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05">
              <a:extLst>
                <a:ext uri="{FF2B5EF4-FFF2-40B4-BE49-F238E27FC236}">
                  <a16:creationId xmlns:a16="http://schemas.microsoft.com/office/drawing/2014/main" id="{BB8F5563-1EFF-4B20-88F7-1565A5215246}"/>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106">
              <a:extLst>
                <a:ext uri="{FF2B5EF4-FFF2-40B4-BE49-F238E27FC236}">
                  <a16:creationId xmlns:a16="http://schemas.microsoft.com/office/drawing/2014/main" id="{BABB2D80-5B0E-4FF1-A3AC-31513C75301A}"/>
                </a:ext>
              </a:extLst>
            </p:cNvPr>
            <p:cNvSpPr>
              <a:spLocks noChangeArrowheads="1"/>
            </p:cNvSpPr>
            <p:nvPr/>
          </p:nvSpPr>
          <p:spPr bwMode="auto">
            <a:xfrm>
              <a:off x="9556997" y="4838443"/>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sp>
        <p:nvSpPr>
          <p:cNvPr id="226" name="Rectangle 12">
            <a:extLst>
              <a:ext uri="{FF2B5EF4-FFF2-40B4-BE49-F238E27FC236}">
                <a16:creationId xmlns:a16="http://schemas.microsoft.com/office/drawing/2014/main" id="{552A49FE-5A47-4BB3-807E-93E4BB8CE295}"/>
              </a:ext>
            </a:extLst>
          </p:cNvPr>
          <p:cNvSpPr>
            <a:spLocks noChangeArrowheads="1"/>
          </p:cNvSpPr>
          <p:nvPr/>
        </p:nvSpPr>
        <p:spPr bwMode="auto">
          <a:xfrm>
            <a:off x="1323976" y="1606550"/>
            <a:ext cx="1160463"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6">
            <a:extLst>
              <a:ext uri="{FF2B5EF4-FFF2-40B4-BE49-F238E27FC236}">
                <a16:creationId xmlns:a16="http://schemas.microsoft.com/office/drawing/2014/main" id="{2E61AE11-DA7B-4D92-962A-8D7E283C547F}"/>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moveTo>
                  <a:pt x="1193" y="0"/>
                </a:moveTo>
                <a:lnTo>
                  <a:pt x="0" y="0"/>
                </a:lnTo>
                <a:lnTo>
                  <a:pt x="0" y="232"/>
                </a:lnTo>
                <a:lnTo>
                  <a:pt x="584" y="232"/>
                </a:lnTo>
                <a:lnTo>
                  <a:pt x="608" y="232"/>
                </a:lnTo>
                <a:lnTo>
                  <a:pt x="1193" y="232"/>
                </a:lnTo>
                <a:lnTo>
                  <a:pt x="1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28" name="Group 227">
            <a:extLst>
              <a:ext uri="{FF2B5EF4-FFF2-40B4-BE49-F238E27FC236}">
                <a16:creationId xmlns:a16="http://schemas.microsoft.com/office/drawing/2014/main" id="{0A309794-199C-42AB-AF45-E4F4992C945F}"/>
              </a:ext>
            </a:extLst>
          </p:cNvPr>
          <p:cNvGrpSpPr/>
          <p:nvPr/>
        </p:nvGrpSpPr>
        <p:grpSpPr>
          <a:xfrm>
            <a:off x="958851" y="4081575"/>
            <a:ext cx="1893888" cy="369888"/>
            <a:chOff x="958851" y="3832068"/>
            <a:chExt cx="1893888" cy="369888"/>
          </a:xfrm>
        </p:grpSpPr>
        <p:sp>
          <p:nvSpPr>
            <p:cNvPr id="229" name="Freeform 19">
              <a:extLst>
                <a:ext uri="{FF2B5EF4-FFF2-40B4-BE49-F238E27FC236}">
                  <a16:creationId xmlns:a16="http://schemas.microsoft.com/office/drawing/2014/main" id="{033D0E53-4DD9-4DDD-AAB1-51557FF1EBA5}"/>
                </a:ext>
              </a:extLst>
            </p:cNvPr>
            <p:cNvSpPr>
              <a:spLocks noEditPoints="1"/>
            </p:cNvSpPr>
            <p:nvPr/>
          </p:nvSpPr>
          <p:spPr bwMode="auto">
            <a:xfrm>
              <a:off x="958851" y="3832068"/>
              <a:ext cx="1893888" cy="369888"/>
            </a:xfrm>
            <a:custGeom>
              <a:avLst/>
              <a:gdLst>
                <a:gd name="T0" fmla="*/ 1193 w 1193"/>
                <a:gd name="T1" fmla="*/ 233 h 233"/>
                <a:gd name="T2" fmla="*/ 0 w 1193"/>
                <a:gd name="T3" fmla="*/ 233 h 233"/>
                <a:gd name="T4" fmla="*/ 0 w 1193"/>
                <a:gd name="T5" fmla="*/ 0 h 233"/>
                <a:gd name="T6" fmla="*/ 1193 w 1193"/>
                <a:gd name="T7" fmla="*/ 0 h 233"/>
                <a:gd name="T8" fmla="*/ 1193 w 1193"/>
                <a:gd name="T9" fmla="*/ 233 h 233"/>
                <a:gd name="T10" fmla="*/ 24 w 1193"/>
                <a:gd name="T11" fmla="*/ 209 h 233"/>
                <a:gd name="T12" fmla="*/ 1169 w 1193"/>
                <a:gd name="T13" fmla="*/ 209 h 233"/>
                <a:gd name="T14" fmla="*/ 1169 w 1193"/>
                <a:gd name="T15" fmla="*/ 24 h 233"/>
                <a:gd name="T16" fmla="*/ 24 w 1193"/>
                <a:gd name="T17" fmla="*/ 24 h 233"/>
                <a:gd name="T18" fmla="*/ 24 w 1193"/>
                <a:gd name="T19" fmla="*/ 20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3" h="233">
                  <a:moveTo>
                    <a:pt x="1193" y="233"/>
                  </a:moveTo>
                  <a:lnTo>
                    <a:pt x="0" y="233"/>
                  </a:lnTo>
                  <a:lnTo>
                    <a:pt x="0" y="0"/>
                  </a:lnTo>
                  <a:lnTo>
                    <a:pt x="1193" y="0"/>
                  </a:lnTo>
                  <a:lnTo>
                    <a:pt x="1193" y="233"/>
                  </a:lnTo>
                  <a:close/>
                  <a:moveTo>
                    <a:pt x="24" y="209"/>
                  </a:moveTo>
                  <a:lnTo>
                    <a:pt x="1169" y="209"/>
                  </a:lnTo>
                  <a:lnTo>
                    <a:pt x="1169" y="24"/>
                  </a:lnTo>
                  <a:lnTo>
                    <a:pt x="24" y="24"/>
                  </a:lnTo>
                  <a:lnTo>
                    <a:pt x="24"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18">
              <a:extLst>
                <a:ext uri="{FF2B5EF4-FFF2-40B4-BE49-F238E27FC236}">
                  <a16:creationId xmlns:a16="http://schemas.microsoft.com/office/drawing/2014/main" id="{04A0FDCC-2DF0-4E32-BA08-8465AC3263EB}"/>
                </a:ext>
              </a:extLst>
            </p:cNvPr>
            <p:cNvSpPr>
              <a:spLocks noChangeArrowheads="1"/>
            </p:cNvSpPr>
            <p:nvPr/>
          </p:nvSpPr>
          <p:spPr bwMode="auto">
            <a:xfrm>
              <a:off x="1637293" y="3932000"/>
              <a:ext cx="5370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latin typeface="Arial" panose="020B0604020202020204" pitchFamily="34" charset="0"/>
                </a:rPr>
                <a:t>Buff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32" name="Group 231">
            <a:extLst>
              <a:ext uri="{FF2B5EF4-FFF2-40B4-BE49-F238E27FC236}">
                <a16:creationId xmlns:a16="http://schemas.microsoft.com/office/drawing/2014/main" id="{45DE5E23-08FC-4020-9FE0-5D17AFD859E4}"/>
              </a:ext>
            </a:extLst>
          </p:cNvPr>
          <p:cNvGrpSpPr/>
          <p:nvPr/>
        </p:nvGrpSpPr>
        <p:grpSpPr>
          <a:xfrm>
            <a:off x="960438" y="1476375"/>
            <a:ext cx="1893888" cy="576263"/>
            <a:chOff x="960438" y="1476375"/>
            <a:chExt cx="1893888" cy="576263"/>
          </a:xfrm>
        </p:grpSpPr>
        <p:grpSp>
          <p:nvGrpSpPr>
            <p:cNvPr id="233" name="Group 232">
              <a:extLst>
                <a:ext uri="{FF2B5EF4-FFF2-40B4-BE49-F238E27FC236}">
                  <a16:creationId xmlns:a16="http://schemas.microsoft.com/office/drawing/2014/main" id="{14AAE696-0FBB-4597-9655-A4AE31C913DA}"/>
                </a:ext>
              </a:extLst>
            </p:cNvPr>
            <p:cNvGrpSpPr/>
            <p:nvPr/>
          </p:nvGrpSpPr>
          <p:grpSpPr>
            <a:xfrm>
              <a:off x="960438" y="1476375"/>
              <a:ext cx="1893888" cy="576263"/>
              <a:chOff x="960438" y="1476375"/>
              <a:chExt cx="1893888" cy="576263"/>
            </a:xfrm>
          </p:grpSpPr>
          <p:sp>
            <p:nvSpPr>
              <p:cNvPr id="237" name="Freeform 11">
                <a:extLst>
                  <a:ext uri="{FF2B5EF4-FFF2-40B4-BE49-F238E27FC236}">
                    <a16:creationId xmlns:a16="http://schemas.microsoft.com/office/drawing/2014/main" id="{7C338085-1265-4A64-91F7-16720AB73A7B}"/>
                  </a:ext>
                </a:extLst>
              </p:cNvPr>
              <p:cNvSpPr>
                <a:spLocks/>
              </p:cNvSpPr>
              <p:nvPr/>
            </p:nvSpPr>
            <p:spPr bwMode="auto">
              <a:xfrm>
                <a:off x="1817688" y="1844675"/>
                <a:ext cx="179388" cy="207963"/>
              </a:xfrm>
              <a:custGeom>
                <a:avLst/>
                <a:gdLst>
                  <a:gd name="T0" fmla="*/ 167 w 277"/>
                  <a:gd name="T1" fmla="*/ 0 h 322"/>
                  <a:gd name="T2" fmla="*/ 107 w 277"/>
                  <a:gd name="T3" fmla="*/ 0 h 322"/>
                  <a:gd name="T4" fmla="*/ 107 w 277"/>
                  <a:gd name="T5" fmla="*/ 211 h 322"/>
                  <a:gd name="T6" fmla="*/ 55 w 277"/>
                  <a:gd name="T7" fmla="*/ 150 h 322"/>
                  <a:gd name="T8" fmla="*/ 33 w 277"/>
                  <a:gd name="T9" fmla="*/ 140 h 322"/>
                  <a:gd name="T10" fmla="*/ 13 w 277"/>
                  <a:gd name="T11" fmla="*/ 147 h 322"/>
                  <a:gd name="T12" fmla="*/ 10 w 277"/>
                  <a:gd name="T13" fmla="*/ 189 h 322"/>
                  <a:gd name="T14" fmla="*/ 116 w 277"/>
                  <a:gd name="T15" fmla="*/ 311 h 322"/>
                  <a:gd name="T16" fmla="*/ 138 w 277"/>
                  <a:gd name="T17" fmla="*/ 322 h 322"/>
                  <a:gd name="T18" fmla="*/ 160 w 277"/>
                  <a:gd name="T19" fmla="*/ 311 h 322"/>
                  <a:gd name="T20" fmla="*/ 266 w 277"/>
                  <a:gd name="T21" fmla="*/ 189 h 322"/>
                  <a:gd name="T22" fmla="*/ 263 w 277"/>
                  <a:gd name="T23" fmla="*/ 147 h 322"/>
                  <a:gd name="T24" fmla="*/ 244 w 277"/>
                  <a:gd name="T25" fmla="*/ 140 h 322"/>
                  <a:gd name="T26" fmla="*/ 221 w 277"/>
                  <a:gd name="T27" fmla="*/ 150 h 322"/>
                  <a:gd name="T28" fmla="*/ 167 w 277"/>
                  <a:gd name="T29" fmla="*/ 214 h 322"/>
                  <a:gd name="T30" fmla="*/ 167 w 277"/>
                  <a:gd name="T3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2">
                    <a:moveTo>
                      <a:pt x="167" y="0"/>
                    </a:moveTo>
                    <a:cubicBezTo>
                      <a:pt x="107" y="0"/>
                      <a:pt x="107" y="0"/>
                      <a:pt x="107" y="0"/>
                    </a:cubicBezTo>
                    <a:cubicBezTo>
                      <a:pt x="107" y="211"/>
                      <a:pt x="107" y="211"/>
                      <a:pt x="107" y="211"/>
                    </a:cubicBezTo>
                    <a:cubicBezTo>
                      <a:pt x="55" y="150"/>
                      <a:pt x="55" y="150"/>
                      <a:pt x="55" y="150"/>
                    </a:cubicBezTo>
                    <a:cubicBezTo>
                      <a:pt x="49" y="144"/>
                      <a:pt x="41" y="140"/>
                      <a:pt x="33" y="140"/>
                    </a:cubicBezTo>
                    <a:cubicBezTo>
                      <a:pt x="26" y="140"/>
                      <a:pt x="19" y="142"/>
                      <a:pt x="13" y="147"/>
                    </a:cubicBezTo>
                    <a:cubicBezTo>
                      <a:pt x="1" y="158"/>
                      <a:pt x="0" y="177"/>
                      <a:pt x="10" y="189"/>
                    </a:cubicBezTo>
                    <a:cubicBezTo>
                      <a:pt x="116" y="311"/>
                      <a:pt x="116" y="311"/>
                      <a:pt x="116" y="311"/>
                    </a:cubicBezTo>
                    <a:cubicBezTo>
                      <a:pt x="121" y="318"/>
                      <a:pt x="130" y="322"/>
                      <a:pt x="138" y="322"/>
                    </a:cubicBezTo>
                    <a:cubicBezTo>
                      <a:pt x="147" y="322"/>
                      <a:pt x="155" y="318"/>
                      <a:pt x="160" y="311"/>
                    </a:cubicBezTo>
                    <a:cubicBezTo>
                      <a:pt x="266" y="189"/>
                      <a:pt x="266" y="189"/>
                      <a:pt x="266" y="189"/>
                    </a:cubicBezTo>
                    <a:cubicBezTo>
                      <a:pt x="277" y="177"/>
                      <a:pt x="275" y="158"/>
                      <a:pt x="263" y="147"/>
                    </a:cubicBezTo>
                    <a:cubicBezTo>
                      <a:pt x="257" y="142"/>
                      <a:pt x="251" y="140"/>
                      <a:pt x="244" y="140"/>
                    </a:cubicBezTo>
                    <a:cubicBezTo>
                      <a:pt x="235" y="140"/>
                      <a:pt x="227" y="144"/>
                      <a:pt x="221" y="150"/>
                    </a:cubicBezTo>
                    <a:cubicBezTo>
                      <a:pt x="167" y="214"/>
                      <a:pt x="167" y="214"/>
                      <a:pt x="167" y="214"/>
                    </a:cubicBezTo>
                    <a:cubicBezTo>
                      <a:pt x="167" y="0"/>
                      <a:pt x="167" y="0"/>
                      <a:pt x="167"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15">
                <a:extLst>
                  <a:ext uri="{FF2B5EF4-FFF2-40B4-BE49-F238E27FC236}">
                    <a16:creationId xmlns:a16="http://schemas.microsoft.com/office/drawing/2014/main" id="{A9695A1B-04AE-441E-B835-065CFBCAA488}"/>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close/>
                    <a:moveTo>
                      <a:pt x="1193" y="0"/>
                    </a:moveTo>
                    <a:lnTo>
                      <a:pt x="0" y="0"/>
                    </a:lnTo>
                    <a:lnTo>
                      <a:pt x="0" y="232"/>
                    </a:lnTo>
                    <a:lnTo>
                      <a:pt x="584" y="232"/>
                    </a:lnTo>
                    <a:lnTo>
                      <a:pt x="608" y="232"/>
                    </a:lnTo>
                    <a:lnTo>
                      <a:pt x="1193" y="232"/>
                    </a:lnTo>
                    <a:lnTo>
                      <a:pt x="119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35" name="Rectangle 14">
              <a:extLst>
                <a:ext uri="{FF2B5EF4-FFF2-40B4-BE49-F238E27FC236}">
                  <a16:creationId xmlns:a16="http://schemas.microsoft.com/office/drawing/2014/main" id="{CE7D5133-AC0C-4815-AE94-9A0298125856}"/>
                </a:ext>
              </a:extLst>
            </p:cNvPr>
            <p:cNvSpPr>
              <a:spLocks noChangeArrowheads="1"/>
            </p:cNvSpPr>
            <p:nvPr/>
          </p:nvSpPr>
          <p:spPr bwMode="auto">
            <a:xfrm>
              <a:off x="1316547" y="1574720"/>
              <a:ext cx="11816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a:t>W</a:t>
              </a:r>
              <a:r>
                <a:rPr kumimoji="0" lang="en-US" altLang="en-US" sz="1200" b="1" i="0" u="none" strike="noStrike" cap="none" normalizeH="0" baseline="0">
                  <a:ln>
                    <a:noFill/>
                  </a:ln>
                  <a:effectLst/>
                  <a:latin typeface="Arial" panose="020B0604020202020204" pitchFamily="34" charset="0"/>
                </a:rPr>
                <a:t>ind Direction?</a:t>
              </a:r>
              <a:endParaRPr kumimoji="0" lang="en-US" altLang="en-US" sz="1800" b="0" i="0" u="none" strike="noStrike" cap="none" normalizeH="0" baseline="0">
                <a:ln>
                  <a:noFill/>
                </a:ln>
                <a:effectLst/>
                <a:latin typeface="Arial" panose="020B0604020202020204" pitchFamily="34" charset="0"/>
              </a:endParaRPr>
            </a:p>
          </p:txBody>
        </p:sp>
      </p:grpSp>
      <p:sp>
        <p:nvSpPr>
          <p:cNvPr id="243" name="TextBox 242">
            <a:extLst>
              <a:ext uri="{FF2B5EF4-FFF2-40B4-BE49-F238E27FC236}">
                <a16:creationId xmlns:a16="http://schemas.microsoft.com/office/drawing/2014/main" id="{1DA89B7C-51E2-42F4-B18E-8D52038F8EB8}"/>
              </a:ext>
            </a:extLst>
          </p:cNvPr>
          <p:cNvSpPr txBox="1"/>
          <p:nvPr/>
        </p:nvSpPr>
        <p:spPr>
          <a:xfrm>
            <a:off x="888984" y="3571546"/>
            <a:ext cx="2037145" cy="369332"/>
          </a:xfrm>
          <a:prstGeom prst="rect">
            <a:avLst/>
          </a:prstGeom>
          <a:noFill/>
        </p:spPr>
        <p:txBody>
          <a:bodyPr wrap="square" rtlCol="0">
            <a:spAutoFit/>
          </a:bodyPr>
          <a:lstStyle/>
          <a:p>
            <a:pPr algn="ctr"/>
            <a:r>
              <a:rPr lang="en-US">
                <a:solidFill>
                  <a:schemeClr val="accent6"/>
                </a:solidFill>
                <a:latin typeface="+mj-lt"/>
              </a:rPr>
              <a:t>SPRAY</a:t>
            </a:r>
          </a:p>
        </p:txBody>
      </p:sp>
      <p:sp>
        <p:nvSpPr>
          <p:cNvPr id="245" name="Rectangle 244">
            <a:extLst>
              <a:ext uri="{FF2B5EF4-FFF2-40B4-BE49-F238E27FC236}">
                <a16:creationId xmlns:a16="http://schemas.microsoft.com/office/drawing/2014/main" id="{1D2599DC-2544-4912-832C-424847EA0481}"/>
              </a:ext>
            </a:extLst>
          </p:cNvPr>
          <p:cNvSpPr/>
          <p:nvPr/>
        </p:nvSpPr>
        <p:spPr>
          <a:xfrm>
            <a:off x="844285" y="1307189"/>
            <a:ext cx="2451798" cy="2604809"/>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BC2ACF54-AC86-4CB8-815A-5698FC40B0E4}"/>
              </a:ext>
            </a:extLst>
          </p:cNvPr>
          <p:cNvPicPr>
            <a:picLocks noChangeAspect="1"/>
          </p:cNvPicPr>
          <p:nvPr/>
        </p:nvPicPr>
        <p:blipFill>
          <a:blip r:embed="rId3"/>
          <a:stretch>
            <a:fillRect/>
          </a:stretch>
        </p:blipFill>
        <p:spPr>
          <a:xfrm>
            <a:off x="916015" y="6335671"/>
            <a:ext cx="1171575" cy="495300"/>
          </a:xfrm>
          <a:prstGeom prst="rect">
            <a:avLst/>
          </a:prstGeom>
        </p:spPr>
      </p:pic>
      <p:pic>
        <p:nvPicPr>
          <p:cNvPr id="372" name="Picture 371">
            <a:extLst>
              <a:ext uri="{FF2B5EF4-FFF2-40B4-BE49-F238E27FC236}">
                <a16:creationId xmlns:a16="http://schemas.microsoft.com/office/drawing/2014/main" id="{B102B8CA-5E12-4E0F-BDEF-DE4C130A9EB4}"/>
              </a:ext>
            </a:extLst>
          </p:cNvPr>
          <p:cNvPicPr>
            <a:picLocks noChangeAspect="1"/>
          </p:cNvPicPr>
          <p:nvPr/>
        </p:nvPicPr>
        <p:blipFill>
          <a:blip r:embed="rId4"/>
          <a:stretch>
            <a:fillRect/>
          </a:stretch>
        </p:blipFill>
        <p:spPr>
          <a:xfrm>
            <a:off x="838200" y="6393164"/>
            <a:ext cx="1333500" cy="378995"/>
          </a:xfrm>
          <a:prstGeom prst="rect">
            <a:avLst/>
          </a:prstGeom>
        </p:spPr>
      </p:pic>
      <p:sp>
        <p:nvSpPr>
          <p:cNvPr id="373" name="Rectangle 41">
            <a:extLst>
              <a:ext uri="{FF2B5EF4-FFF2-40B4-BE49-F238E27FC236}">
                <a16:creationId xmlns:a16="http://schemas.microsoft.com/office/drawing/2014/main" id="{8389A612-FDDB-4A3B-A5EC-B7514D15A906}"/>
              </a:ext>
            </a:extLst>
          </p:cNvPr>
          <p:cNvSpPr>
            <a:spLocks noChangeArrowheads="1"/>
          </p:cNvSpPr>
          <p:nvPr/>
        </p:nvSpPr>
        <p:spPr bwMode="auto">
          <a:xfrm>
            <a:off x="6548265" y="3594924"/>
            <a:ext cx="155747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dirty="0">
                <a:solidFill>
                  <a:schemeClr val="bg1"/>
                </a:solidFill>
                <a:latin typeface="Arial Narrow"/>
              </a:rPr>
              <a:t>DICAMBA TOLERANT CROP</a:t>
            </a:r>
          </a:p>
          <a:p>
            <a:pPr algn="ctr" eaLnBrk="1" fontAlgn="auto" hangingPunct="1">
              <a:spcBef>
                <a:spcPts val="0"/>
              </a:spcBef>
              <a:spcAft>
                <a:spcPts val="0"/>
              </a:spcAft>
              <a:defRPr/>
            </a:pPr>
            <a:r>
              <a:rPr lang="en-US" altLang="en-US" sz="1400" b="1" kern="0" spc="140" dirty="0">
                <a:solidFill>
                  <a:schemeClr val="bg1"/>
                </a:solidFill>
                <a:latin typeface="Arial Narrow" charset="0"/>
              </a:rPr>
              <a:t>APPROVED APPLICATION</a:t>
            </a:r>
            <a:endParaRPr lang="en-US" altLang="en-US" sz="1400" b="1" kern="0" spc="140" dirty="0">
              <a:solidFill>
                <a:schemeClr val="bg1"/>
              </a:solidFill>
              <a:latin typeface="+mj-lt"/>
            </a:endParaRPr>
          </a:p>
        </p:txBody>
      </p:sp>
      <p:sp>
        <p:nvSpPr>
          <p:cNvPr id="380" name="Rectangle 106">
            <a:extLst>
              <a:ext uri="{FF2B5EF4-FFF2-40B4-BE49-F238E27FC236}">
                <a16:creationId xmlns:a16="http://schemas.microsoft.com/office/drawing/2014/main" id="{0140A0D2-DE32-4F88-A428-FEFF9B483DB3}"/>
              </a:ext>
            </a:extLst>
          </p:cNvPr>
          <p:cNvSpPr>
            <a:spLocks noChangeArrowheads="1"/>
          </p:cNvSpPr>
          <p:nvPr/>
        </p:nvSpPr>
        <p:spPr bwMode="auto">
          <a:xfrm>
            <a:off x="567104" y="6033669"/>
            <a:ext cx="1136028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en-US" sz="1400" b="1" spc="150">
                <a:latin typeface="Arial Narrow" panose="020B0606020202030204" pitchFamily="34" charset="0"/>
              </a:rPr>
              <a:t>*BUFFER COMPOSITION IS 310’ DOWNWIND (MAY BE REDUCED WHEN UTILIZING QUALIFIED DRT) WITH 57’ OMNIDIRECTIONAL. </a:t>
            </a:r>
          </a:p>
        </p:txBody>
      </p:sp>
      <p:grpSp>
        <p:nvGrpSpPr>
          <p:cNvPr id="6" name="Group 5">
            <a:extLst>
              <a:ext uri="{FF2B5EF4-FFF2-40B4-BE49-F238E27FC236}">
                <a16:creationId xmlns:a16="http://schemas.microsoft.com/office/drawing/2014/main" id="{B4817DF9-E0F7-4248-83C2-487A56A970EE}"/>
              </a:ext>
            </a:extLst>
          </p:cNvPr>
          <p:cNvGrpSpPr/>
          <p:nvPr/>
        </p:nvGrpSpPr>
        <p:grpSpPr>
          <a:xfrm>
            <a:off x="5780089" y="3127183"/>
            <a:ext cx="2742578" cy="2156017"/>
            <a:chOff x="5780089" y="3127183"/>
            <a:chExt cx="2742578" cy="2156017"/>
          </a:xfrm>
        </p:grpSpPr>
        <p:sp>
          <p:nvSpPr>
            <p:cNvPr id="382" name="Rectangle 381">
              <a:extLst>
                <a:ext uri="{FF2B5EF4-FFF2-40B4-BE49-F238E27FC236}">
                  <a16:creationId xmlns:a16="http://schemas.microsoft.com/office/drawing/2014/main" id="{D290768F-444A-48A6-8FEB-ADFEEFE82B1E}"/>
                </a:ext>
              </a:extLst>
            </p:cNvPr>
            <p:cNvSpPr/>
            <p:nvPr/>
          </p:nvSpPr>
          <p:spPr>
            <a:xfrm>
              <a:off x="5780089" y="3136900"/>
              <a:ext cx="520699" cy="2146300"/>
            </a:xfrm>
            <a:prstGeom prst="rect">
              <a:avLst/>
            </a:prstGeom>
            <a:pattFill prst="wdUpDiag">
              <a:fgClr>
                <a:schemeClr val="bg1"/>
              </a:fgClr>
              <a:bgClr>
                <a:schemeClr val="bg1">
                  <a:lumMod val="75000"/>
                </a:schemeClr>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Rectangle 106">
              <a:extLst>
                <a:ext uri="{FF2B5EF4-FFF2-40B4-BE49-F238E27FC236}">
                  <a16:creationId xmlns:a16="http://schemas.microsoft.com/office/drawing/2014/main" id="{496F9936-A538-483A-A1E6-1BDD8CE935AB}"/>
                </a:ext>
              </a:extLst>
            </p:cNvPr>
            <p:cNvSpPr>
              <a:spLocks noChangeArrowheads="1"/>
            </p:cNvSpPr>
            <p:nvPr/>
          </p:nvSpPr>
          <p:spPr bwMode="auto">
            <a:xfrm rot="16200000">
              <a:off x="5760859" y="4120404"/>
              <a:ext cx="601126" cy="153888"/>
            </a:xfrm>
            <a:prstGeom prst="rect">
              <a:avLst/>
            </a:prstGeom>
            <a:solidFill>
              <a:schemeClr val="bg1">
                <a:lumMod val="75000"/>
              </a:schemeClr>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spc="150" normalizeH="0">
                  <a:ln>
                    <a:noFill/>
                  </a:ln>
                  <a:effectLst/>
                  <a:latin typeface="Arial Narrow" panose="020B0606020202030204" pitchFamily="34" charset="0"/>
                </a:rPr>
                <a:t>BUFFER*</a:t>
              </a:r>
              <a:endParaRPr kumimoji="0" lang="en-US" altLang="en-US" sz="1100" b="0" i="0" u="none" strike="noStrike" cap="none" spc="150" normalizeH="0">
                <a:ln>
                  <a:noFill/>
                </a:ln>
                <a:effectLst/>
              </a:endParaRPr>
            </a:p>
          </p:txBody>
        </p:sp>
        <p:sp>
          <p:nvSpPr>
            <p:cNvPr id="384" name="Rectangle 383">
              <a:extLst>
                <a:ext uri="{FF2B5EF4-FFF2-40B4-BE49-F238E27FC236}">
                  <a16:creationId xmlns:a16="http://schemas.microsoft.com/office/drawing/2014/main" id="{40281C40-5758-46DF-96BB-169E03EF55FE}"/>
                </a:ext>
              </a:extLst>
            </p:cNvPr>
            <p:cNvSpPr/>
            <p:nvPr/>
          </p:nvSpPr>
          <p:spPr>
            <a:xfrm rot="16200000">
              <a:off x="7331615" y="2144779"/>
              <a:ext cx="186253" cy="2151061"/>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Rectangle 106">
              <a:extLst>
                <a:ext uri="{FF2B5EF4-FFF2-40B4-BE49-F238E27FC236}">
                  <a16:creationId xmlns:a16="http://schemas.microsoft.com/office/drawing/2014/main" id="{A300A606-871E-4A97-ADA9-64FE00AE8259}"/>
                </a:ext>
              </a:extLst>
            </p:cNvPr>
            <p:cNvSpPr>
              <a:spLocks noChangeArrowheads="1"/>
            </p:cNvSpPr>
            <p:nvPr/>
          </p:nvSpPr>
          <p:spPr bwMode="auto">
            <a:xfrm>
              <a:off x="6806912" y="3137383"/>
              <a:ext cx="1245534" cy="153888"/>
            </a:xfrm>
            <a:prstGeom prst="rect">
              <a:avLst/>
            </a:prstGeom>
            <a:solidFill>
              <a:schemeClr val="accent6"/>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spc="150" normalizeH="0">
                  <a:ln>
                    <a:noFill/>
                  </a:ln>
                  <a:solidFill>
                    <a:schemeClr val="bg1"/>
                  </a:solidFill>
                  <a:effectLst/>
                  <a:latin typeface="Arial Narrow" panose="020B0606020202030204" pitchFamily="34" charset="0"/>
                </a:rPr>
                <a:t>IN-FIELD BUFFER*</a:t>
              </a:r>
              <a:endParaRPr kumimoji="0" lang="en-US" altLang="en-US" sz="1100" b="0" i="0" u="none" strike="noStrike" cap="none" spc="150" normalizeH="0">
                <a:ln>
                  <a:noFill/>
                </a:ln>
                <a:solidFill>
                  <a:schemeClr val="bg1"/>
                </a:solidFill>
                <a:effectLst/>
              </a:endParaRPr>
            </a:p>
          </p:txBody>
        </p:sp>
        <p:sp>
          <p:nvSpPr>
            <p:cNvPr id="387" name="Rectangle 386">
              <a:extLst>
                <a:ext uri="{FF2B5EF4-FFF2-40B4-BE49-F238E27FC236}">
                  <a16:creationId xmlns:a16="http://schemas.microsoft.com/office/drawing/2014/main" id="{D4B5B27C-2891-4DDF-B364-D70EB21C5715}"/>
                </a:ext>
              </a:extLst>
            </p:cNvPr>
            <p:cNvSpPr/>
            <p:nvPr/>
          </p:nvSpPr>
          <p:spPr>
            <a:xfrm rot="16200000">
              <a:off x="6569361" y="4872122"/>
              <a:ext cx="198573" cy="623581"/>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Rectangle 387">
              <a:extLst>
                <a:ext uri="{FF2B5EF4-FFF2-40B4-BE49-F238E27FC236}">
                  <a16:creationId xmlns:a16="http://schemas.microsoft.com/office/drawing/2014/main" id="{688CEA0F-909C-4708-9373-FE0E7C950A04}"/>
                </a:ext>
              </a:extLst>
            </p:cNvPr>
            <p:cNvSpPr/>
            <p:nvPr/>
          </p:nvSpPr>
          <p:spPr>
            <a:xfrm rot="14781636">
              <a:off x="7597311" y="4031205"/>
              <a:ext cx="186253" cy="1664458"/>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Rectangle 388">
              <a:extLst>
                <a:ext uri="{FF2B5EF4-FFF2-40B4-BE49-F238E27FC236}">
                  <a16:creationId xmlns:a16="http://schemas.microsoft.com/office/drawing/2014/main" id="{B3423A9A-0278-462C-9D2E-902928C5DF94}"/>
                </a:ext>
              </a:extLst>
            </p:cNvPr>
            <p:cNvSpPr/>
            <p:nvPr/>
          </p:nvSpPr>
          <p:spPr>
            <a:xfrm>
              <a:off x="8311165" y="3131734"/>
              <a:ext cx="186253" cy="1485936"/>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06316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69"/>
                                        </p:tgtEl>
                                        <p:attrNameLst>
                                          <p:attrName>style.visibility</p:attrName>
                                        </p:attrNameLst>
                                      </p:cBhvr>
                                      <p:to>
                                        <p:strVal val="visible"/>
                                      </p:to>
                                    </p:set>
                                    <p:animEffect transition="in" filter="fade">
                                      <p:cBhvr>
                                        <p:cTn id="7" dur="500"/>
                                        <p:tgtEl>
                                          <p:spTgt spid="369"/>
                                        </p:tgtEl>
                                      </p:cBhvr>
                                    </p:animEffect>
                                    <p:anim calcmode="lin" valueType="num">
                                      <p:cBhvr>
                                        <p:cTn id="8" dur="500" fill="hold"/>
                                        <p:tgtEl>
                                          <p:spTgt spid="369"/>
                                        </p:tgtEl>
                                        <p:attrNameLst>
                                          <p:attrName>ppt_x</p:attrName>
                                        </p:attrNameLst>
                                      </p:cBhvr>
                                      <p:tavLst>
                                        <p:tav tm="0">
                                          <p:val>
                                            <p:strVal val="#ppt_x"/>
                                          </p:val>
                                        </p:tav>
                                        <p:tav tm="100000">
                                          <p:val>
                                            <p:strVal val="#ppt_x"/>
                                          </p:val>
                                        </p:tav>
                                      </p:tavLst>
                                    </p:anim>
                                    <p:anim calcmode="lin" valueType="num">
                                      <p:cBhvr>
                                        <p:cTn id="9" dur="500" fill="hold"/>
                                        <p:tgtEl>
                                          <p:spTgt spid="36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243"/>
                                        </p:tgtEl>
                                        <p:attrNameLst>
                                          <p:attrName>style.visibility</p:attrName>
                                        </p:attrNameLst>
                                      </p:cBhvr>
                                      <p:to>
                                        <p:strVal val="visible"/>
                                      </p:to>
                                    </p:set>
                                    <p:animEffect transition="in" filter="fade">
                                      <p:cBhvr>
                                        <p:cTn id="13" dur="500"/>
                                        <p:tgtEl>
                                          <p:spTgt spid="24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28"/>
                                        </p:tgtEl>
                                        <p:attrNameLst>
                                          <p:attrName>style.visibility</p:attrName>
                                        </p:attrNameLst>
                                      </p:cBhvr>
                                      <p:to>
                                        <p:strVal val="visible"/>
                                      </p:to>
                                    </p:set>
                                    <p:animEffect transition="in" filter="fade">
                                      <p:cBhvr>
                                        <p:cTn id="18" dur="500"/>
                                        <p:tgtEl>
                                          <p:spTgt spid="22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5"/>
                                        </p:tgtEl>
                                        <p:attrNameLst>
                                          <p:attrName>style.visibility</p:attrName>
                                        </p:attrNameLst>
                                      </p:cBhvr>
                                      <p:to>
                                        <p:strVal val="visible"/>
                                      </p:to>
                                    </p:set>
                                    <p:animEffect transition="in" filter="fade">
                                      <p:cBhvr>
                                        <p:cTn id="21" dur="500"/>
                                        <p:tgtEl>
                                          <p:spTgt spid="245"/>
                                        </p:tgtEl>
                                      </p:cBhvr>
                                    </p:animEffect>
                                  </p:childTnLst>
                                </p:cTn>
                              </p:par>
                              <p:par>
                                <p:cTn id="22" presetID="42" presetClass="entr" presetSubtype="0" fill="hold" grpId="0" nodeType="withEffect">
                                  <p:stCondLst>
                                    <p:cond delay="0"/>
                                  </p:stCondLst>
                                  <p:childTnLst>
                                    <p:set>
                                      <p:cBhvr>
                                        <p:cTn id="23" dur="1" fill="hold">
                                          <p:stCondLst>
                                            <p:cond delay="0"/>
                                          </p:stCondLst>
                                        </p:cTn>
                                        <p:tgtEl>
                                          <p:spTgt spid="380"/>
                                        </p:tgtEl>
                                        <p:attrNameLst>
                                          <p:attrName>style.visibility</p:attrName>
                                        </p:attrNameLst>
                                      </p:cBhvr>
                                      <p:to>
                                        <p:strVal val="visible"/>
                                      </p:to>
                                    </p:set>
                                    <p:animEffect transition="in" filter="fade">
                                      <p:cBhvr>
                                        <p:cTn id="24" dur="1000"/>
                                        <p:tgtEl>
                                          <p:spTgt spid="380"/>
                                        </p:tgtEl>
                                      </p:cBhvr>
                                    </p:animEffect>
                                    <p:anim calcmode="lin" valueType="num">
                                      <p:cBhvr>
                                        <p:cTn id="25" dur="1000" fill="hold"/>
                                        <p:tgtEl>
                                          <p:spTgt spid="380"/>
                                        </p:tgtEl>
                                        <p:attrNameLst>
                                          <p:attrName>ppt_x</p:attrName>
                                        </p:attrNameLst>
                                      </p:cBhvr>
                                      <p:tavLst>
                                        <p:tav tm="0">
                                          <p:val>
                                            <p:strVal val="#ppt_x"/>
                                          </p:val>
                                        </p:tav>
                                        <p:tav tm="100000">
                                          <p:val>
                                            <p:strVal val="#ppt_x"/>
                                          </p:val>
                                        </p:tav>
                                      </p:tavLst>
                                    </p:anim>
                                    <p:anim calcmode="lin" valueType="num">
                                      <p:cBhvr>
                                        <p:cTn id="26" dur="1000" fill="hold"/>
                                        <p:tgtEl>
                                          <p:spTgt spid="380"/>
                                        </p:tgtEl>
                                        <p:attrNameLst>
                                          <p:attrName>ppt_y</p:attrName>
                                        </p:attrNameLst>
                                      </p:cBhvr>
                                      <p:tavLst>
                                        <p:tav tm="0">
                                          <p:val>
                                            <p:strVal val="#ppt_y+.1"/>
                                          </p:val>
                                        </p:tav>
                                        <p:tav tm="100000">
                                          <p:val>
                                            <p:strVal val="#ppt_y"/>
                                          </p:val>
                                        </p:tav>
                                      </p:tavLst>
                                    </p:anim>
                                  </p:childTnLst>
                                </p:cTn>
                              </p:par>
                              <p:par>
                                <p:cTn id="27" presetID="1"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p:bldP spid="245" grpId="0" animBg="1"/>
      <p:bldP spid="38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4" name="Group 373">
            <a:extLst>
              <a:ext uri="{FF2B5EF4-FFF2-40B4-BE49-F238E27FC236}">
                <a16:creationId xmlns:a16="http://schemas.microsoft.com/office/drawing/2014/main" id="{134A7AB2-0C57-4507-8EB7-1684C0866D45}"/>
              </a:ext>
            </a:extLst>
          </p:cNvPr>
          <p:cNvGrpSpPr>
            <a:grpSpLocks noChangeAspect="1"/>
          </p:cNvGrpSpPr>
          <p:nvPr/>
        </p:nvGrpSpPr>
        <p:grpSpPr>
          <a:xfrm>
            <a:off x="1892821" y="2252031"/>
            <a:ext cx="656906" cy="658368"/>
            <a:chOff x="-1143000" y="-2349500"/>
            <a:chExt cx="2139950" cy="2144712"/>
          </a:xfrm>
        </p:grpSpPr>
        <p:sp>
          <p:nvSpPr>
            <p:cNvPr id="375" name="Oval 374">
              <a:extLst>
                <a:ext uri="{FF2B5EF4-FFF2-40B4-BE49-F238E27FC236}">
                  <a16:creationId xmlns:a16="http://schemas.microsoft.com/office/drawing/2014/main" id="{AE4DED10-A2C3-460D-B96C-940368693566}"/>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8">
              <a:extLst>
                <a:ext uri="{FF2B5EF4-FFF2-40B4-BE49-F238E27FC236}">
                  <a16:creationId xmlns:a16="http://schemas.microsoft.com/office/drawing/2014/main" id="{CD04FCB5-AA24-48BD-8E8F-6CFEB52E3E1A}"/>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7">
            <a:extLst>
              <a:ext uri="{FF2B5EF4-FFF2-40B4-BE49-F238E27FC236}">
                <a16:creationId xmlns:a16="http://schemas.microsoft.com/office/drawing/2014/main" id="{CA2AF3D2-18F4-4009-825D-6406F7F498A0}"/>
              </a:ext>
            </a:extLst>
          </p:cNvPr>
          <p:cNvSpPr>
            <a:spLocks noChangeArrowheads="1"/>
          </p:cNvSpPr>
          <p:nvPr/>
        </p:nvSpPr>
        <p:spPr bwMode="auto">
          <a:xfrm>
            <a:off x="6351588" y="1470025"/>
            <a:ext cx="2151063"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687D2E7-519B-4617-B559-0ED168573FC3}"/>
              </a:ext>
            </a:extLst>
          </p:cNvPr>
          <p:cNvSpPr>
            <a:spLocks/>
          </p:cNvSpPr>
          <p:nvPr/>
        </p:nvSpPr>
        <p:spPr bwMode="auto">
          <a:xfrm>
            <a:off x="8555038" y="1470025"/>
            <a:ext cx="2706688" cy="3124200"/>
          </a:xfrm>
          <a:custGeom>
            <a:avLst/>
            <a:gdLst>
              <a:gd name="T0" fmla="*/ 0 w 1705"/>
              <a:gd name="T1" fmla="*/ 1968 h 1968"/>
              <a:gd name="T2" fmla="*/ 1705 w 1705"/>
              <a:gd name="T3" fmla="*/ 1220 h 1968"/>
              <a:gd name="T4" fmla="*/ 1705 w 1705"/>
              <a:gd name="T5" fmla="*/ 0 h 1968"/>
              <a:gd name="T6" fmla="*/ 0 w 1705"/>
              <a:gd name="T7" fmla="*/ 0 h 1968"/>
              <a:gd name="T8" fmla="*/ 0 w 1705"/>
              <a:gd name="T9" fmla="*/ 1968 h 1968"/>
            </a:gdLst>
            <a:ahLst/>
            <a:cxnLst>
              <a:cxn ang="0">
                <a:pos x="T0" y="T1"/>
              </a:cxn>
              <a:cxn ang="0">
                <a:pos x="T2" y="T3"/>
              </a:cxn>
              <a:cxn ang="0">
                <a:pos x="T4" y="T5"/>
              </a:cxn>
              <a:cxn ang="0">
                <a:pos x="T6" y="T7"/>
              </a:cxn>
              <a:cxn ang="0">
                <a:pos x="T8" y="T9"/>
              </a:cxn>
            </a:cxnLst>
            <a:rect l="0" t="0" r="r" b="b"/>
            <a:pathLst>
              <a:path w="1705" h="1968">
                <a:moveTo>
                  <a:pt x="0" y="1968"/>
                </a:moveTo>
                <a:lnTo>
                  <a:pt x="1705" y="1220"/>
                </a:lnTo>
                <a:lnTo>
                  <a:pt x="1705" y="0"/>
                </a:lnTo>
                <a:lnTo>
                  <a:pt x="0" y="0"/>
                </a:lnTo>
                <a:lnTo>
                  <a:pt x="0" y="19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9">
            <a:extLst>
              <a:ext uri="{FF2B5EF4-FFF2-40B4-BE49-F238E27FC236}">
                <a16:creationId xmlns:a16="http://schemas.microsoft.com/office/drawing/2014/main" id="{A36E3E8E-88CB-4A09-98E3-9964CDE19661}"/>
              </a:ext>
            </a:extLst>
          </p:cNvPr>
          <p:cNvSpPr>
            <a:spLocks noChangeArrowheads="1"/>
          </p:cNvSpPr>
          <p:nvPr/>
        </p:nvSpPr>
        <p:spPr bwMode="auto">
          <a:xfrm>
            <a:off x="3459163" y="1470025"/>
            <a:ext cx="2841625" cy="16160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1DE99310-1D53-4A9E-BAC4-03BC1E2D9111}"/>
              </a:ext>
            </a:extLst>
          </p:cNvPr>
          <p:cNvSpPr>
            <a:spLocks/>
          </p:cNvSpPr>
          <p:nvPr/>
        </p:nvSpPr>
        <p:spPr bwMode="auto">
          <a:xfrm>
            <a:off x="6361113" y="4122738"/>
            <a:ext cx="3390900" cy="1843088"/>
          </a:xfrm>
          <a:custGeom>
            <a:avLst/>
            <a:gdLst>
              <a:gd name="T0" fmla="*/ 2136 w 2136"/>
              <a:gd name="T1" fmla="*/ 0 h 1161"/>
              <a:gd name="T2" fmla="*/ 401 w 2136"/>
              <a:gd name="T3" fmla="*/ 761 h 1161"/>
              <a:gd name="T4" fmla="*/ 0 w 2136"/>
              <a:gd name="T5" fmla="*/ 761 h 1161"/>
              <a:gd name="T6" fmla="*/ 0 w 2136"/>
              <a:gd name="T7" fmla="*/ 1161 h 1161"/>
              <a:gd name="T8" fmla="*/ 2136 w 2136"/>
              <a:gd name="T9" fmla="*/ 1161 h 1161"/>
              <a:gd name="T10" fmla="*/ 2136 w 2136"/>
              <a:gd name="T11" fmla="*/ 0 h 1161"/>
            </a:gdLst>
            <a:ahLst/>
            <a:cxnLst>
              <a:cxn ang="0">
                <a:pos x="T0" y="T1"/>
              </a:cxn>
              <a:cxn ang="0">
                <a:pos x="T2" y="T3"/>
              </a:cxn>
              <a:cxn ang="0">
                <a:pos x="T4" y="T5"/>
              </a:cxn>
              <a:cxn ang="0">
                <a:pos x="T6" y="T7"/>
              </a:cxn>
              <a:cxn ang="0">
                <a:pos x="T8" y="T9"/>
              </a:cxn>
              <a:cxn ang="0">
                <a:pos x="T10" y="T11"/>
              </a:cxn>
            </a:cxnLst>
            <a:rect l="0" t="0" r="r" b="b"/>
            <a:pathLst>
              <a:path w="2136" h="1161">
                <a:moveTo>
                  <a:pt x="2136" y="0"/>
                </a:moveTo>
                <a:lnTo>
                  <a:pt x="401" y="761"/>
                </a:lnTo>
                <a:lnTo>
                  <a:pt x="0" y="761"/>
                </a:lnTo>
                <a:lnTo>
                  <a:pt x="0" y="1161"/>
                </a:lnTo>
                <a:lnTo>
                  <a:pt x="2136" y="1161"/>
                </a:lnTo>
                <a:lnTo>
                  <a:pt x="2136"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03C5520D-672B-4F52-B9A3-0D0AD00B4DCA}"/>
              </a:ext>
            </a:extLst>
          </p:cNvPr>
          <p:cNvSpPr>
            <a:spLocks/>
          </p:cNvSpPr>
          <p:nvPr/>
        </p:nvSpPr>
        <p:spPr bwMode="auto">
          <a:xfrm>
            <a:off x="9804401" y="3460750"/>
            <a:ext cx="1457325" cy="2508250"/>
          </a:xfrm>
          <a:custGeom>
            <a:avLst/>
            <a:gdLst>
              <a:gd name="T0" fmla="*/ 0 w 918"/>
              <a:gd name="T1" fmla="*/ 403 h 1580"/>
              <a:gd name="T2" fmla="*/ 0 w 918"/>
              <a:gd name="T3" fmla="*/ 1580 h 1580"/>
              <a:gd name="T4" fmla="*/ 918 w 918"/>
              <a:gd name="T5" fmla="*/ 1580 h 1580"/>
              <a:gd name="T6" fmla="*/ 918 w 918"/>
              <a:gd name="T7" fmla="*/ 0 h 1580"/>
              <a:gd name="T8" fmla="*/ 0 w 918"/>
              <a:gd name="T9" fmla="*/ 403 h 1580"/>
            </a:gdLst>
            <a:ahLst/>
            <a:cxnLst>
              <a:cxn ang="0">
                <a:pos x="T0" y="T1"/>
              </a:cxn>
              <a:cxn ang="0">
                <a:pos x="T2" y="T3"/>
              </a:cxn>
              <a:cxn ang="0">
                <a:pos x="T4" y="T5"/>
              </a:cxn>
              <a:cxn ang="0">
                <a:pos x="T6" y="T7"/>
              </a:cxn>
              <a:cxn ang="0">
                <a:pos x="T8" y="T9"/>
              </a:cxn>
            </a:cxnLst>
            <a:rect l="0" t="0" r="r" b="b"/>
            <a:pathLst>
              <a:path w="918" h="1580">
                <a:moveTo>
                  <a:pt x="0" y="403"/>
                </a:moveTo>
                <a:lnTo>
                  <a:pt x="0" y="1580"/>
                </a:lnTo>
                <a:lnTo>
                  <a:pt x="918" y="1580"/>
                </a:lnTo>
                <a:lnTo>
                  <a:pt x="918" y="0"/>
                </a:lnTo>
                <a:lnTo>
                  <a:pt x="0" y="40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
            <a:extLst>
              <a:ext uri="{FF2B5EF4-FFF2-40B4-BE49-F238E27FC236}">
                <a16:creationId xmlns:a16="http://schemas.microsoft.com/office/drawing/2014/main" id="{236C6A5D-4F43-4543-AB49-22A5051FCD79}"/>
              </a:ext>
            </a:extLst>
          </p:cNvPr>
          <p:cNvSpPr>
            <a:spLocks noChangeArrowheads="1"/>
          </p:cNvSpPr>
          <p:nvPr/>
        </p:nvSpPr>
        <p:spPr bwMode="auto">
          <a:xfrm>
            <a:off x="3459163" y="3136900"/>
            <a:ext cx="2841625" cy="283210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8" name="Group 127">
            <a:extLst>
              <a:ext uri="{FF2B5EF4-FFF2-40B4-BE49-F238E27FC236}">
                <a16:creationId xmlns:a16="http://schemas.microsoft.com/office/drawing/2014/main" id="{47B44F36-5A85-4827-89B4-CD1BB4271A1B}"/>
              </a:ext>
            </a:extLst>
          </p:cNvPr>
          <p:cNvGrpSpPr/>
          <p:nvPr/>
        </p:nvGrpSpPr>
        <p:grpSpPr>
          <a:xfrm>
            <a:off x="942976" y="4813300"/>
            <a:ext cx="1704627" cy="1155700"/>
            <a:chOff x="942976" y="4813300"/>
            <a:chExt cx="1704627" cy="1155700"/>
          </a:xfrm>
        </p:grpSpPr>
        <p:sp>
          <p:nvSpPr>
            <p:cNvPr id="113" name="Rectangle 110">
              <a:extLst>
                <a:ext uri="{FF2B5EF4-FFF2-40B4-BE49-F238E27FC236}">
                  <a16:creationId xmlns:a16="http://schemas.microsoft.com/office/drawing/2014/main" id="{A2E0A347-112D-474C-965A-848046BB2B72}"/>
                </a:ext>
              </a:extLst>
            </p:cNvPr>
            <p:cNvSpPr>
              <a:spLocks noChangeArrowheads="1"/>
            </p:cNvSpPr>
            <p:nvPr/>
          </p:nvSpPr>
          <p:spPr bwMode="auto">
            <a:xfrm>
              <a:off x="1357313" y="4829175"/>
              <a:ext cx="9699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Application Fiel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4" name="Oval 111">
              <a:extLst>
                <a:ext uri="{FF2B5EF4-FFF2-40B4-BE49-F238E27FC236}">
                  <a16:creationId xmlns:a16="http://schemas.microsoft.com/office/drawing/2014/main" id="{BAD217C1-7D20-4D3F-8540-5DCF1448EA4C}"/>
                </a:ext>
              </a:extLst>
            </p:cNvPr>
            <p:cNvSpPr>
              <a:spLocks noChangeArrowheads="1"/>
            </p:cNvSpPr>
            <p:nvPr/>
          </p:nvSpPr>
          <p:spPr bwMode="auto">
            <a:xfrm>
              <a:off x="942976" y="4813300"/>
              <a:ext cx="228600" cy="22860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12">
              <a:extLst>
                <a:ext uri="{FF2B5EF4-FFF2-40B4-BE49-F238E27FC236}">
                  <a16:creationId xmlns:a16="http://schemas.microsoft.com/office/drawing/2014/main" id="{CAC77972-D303-4797-ADBB-0A72C9A73646}"/>
                </a:ext>
              </a:extLst>
            </p:cNvPr>
            <p:cNvSpPr>
              <a:spLocks noChangeArrowheads="1"/>
            </p:cNvSpPr>
            <p:nvPr/>
          </p:nvSpPr>
          <p:spPr bwMode="auto">
            <a:xfrm>
              <a:off x="1357313" y="5137150"/>
              <a:ext cx="12902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Dicamba Tolerant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8" name="Oval 115">
              <a:extLst>
                <a:ext uri="{FF2B5EF4-FFF2-40B4-BE49-F238E27FC236}">
                  <a16:creationId xmlns:a16="http://schemas.microsoft.com/office/drawing/2014/main" id="{7FBBD618-0257-44D1-B094-0E333F3CF45F}"/>
                </a:ext>
              </a:extLst>
            </p:cNvPr>
            <p:cNvSpPr>
              <a:spLocks noChangeArrowheads="1"/>
            </p:cNvSpPr>
            <p:nvPr/>
          </p:nvSpPr>
          <p:spPr bwMode="auto">
            <a:xfrm>
              <a:off x="942976" y="5122863"/>
              <a:ext cx="228600" cy="228600"/>
            </a:xfrm>
            <a:prstGeom prst="ellipse">
              <a:avLst/>
            </a:prstGeom>
            <a:solidFill>
              <a:srgbClr val="B2B4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6">
              <a:extLst>
                <a:ext uri="{FF2B5EF4-FFF2-40B4-BE49-F238E27FC236}">
                  <a16:creationId xmlns:a16="http://schemas.microsoft.com/office/drawing/2014/main" id="{9E44489D-96D2-4258-AC18-CCA14F0EA719}"/>
                </a:ext>
              </a:extLst>
            </p:cNvPr>
            <p:cNvSpPr>
              <a:spLocks noChangeArrowheads="1"/>
            </p:cNvSpPr>
            <p:nvPr/>
          </p:nvSpPr>
          <p:spPr bwMode="auto">
            <a:xfrm>
              <a:off x="1357313" y="5446713"/>
              <a:ext cx="5222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No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0" name="Oval 117">
              <a:extLst>
                <a:ext uri="{FF2B5EF4-FFF2-40B4-BE49-F238E27FC236}">
                  <a16:creationId xmlns:a16="http://schemas.microsoft.com/office/drawing/2014/main" id="{7F0AB5B6-3F11-46D9-A579-40C9929B4C0F}"/>
                </a:ext>
              </a:extLst>
            </p:cNvPr>
            <p:cNvSpPr>
              <a:spLocks noChangeArrowheads="1"/>
            </p:cNvSpPr>
            <p:nvPr/>
          </p:nvSpPr>
          <p:spPr bwMode="auto">
            <a:xfrm>
              <a:off x="942976" y="5430838"/>
              <a:ext cx="228600" cy="228600"/>
            </a:xfrm>
            <a:prstGeom prst="ellipse">
              <a:avLst/>
            </a:prstGeom>
            <a:solidFill>
              <a:srgbClr val="6C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18">
              <a:extLst>
                <a:ext uri="{FF2B5EF4-FFF2-40B4-BE49-F238E27FC236}">
                  <a16:creationId xmlns:a16="http://schemas.microsoft.com/office/drawing/2014/main" id="{746FF963-E3D5-4A9F-A156-059F323BA7D4}"/>
                </a:ext>
              </a:extLst>
            </p:cNvPr>
            <p:cNvSpPr>
              <a:spLocks noChangeArrowheads="1"/>
            </p:cNvSpPr>
            <p:nvPr/>
          </p:nvSpPr>
          <p:spPr bwMode="auto">
            <a:xfrm>
              <a:off x="1357313" y="5754688"/>
              <a:ext cx="8667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Arial Narrow" panose="020B0606020202030204" pitchFamily="34" charset="0"/>
                </a:rPr>
                <a:t>Sensitive Cro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Oval 119">
              <a:extLst>
                <a:ext uri="{FF2B5EF4-FFF2-40B4-BE49-F238E27FC236}">
                  <a16:creationId xmlns:a16="http://schemas.microsoft.com/office/drawing/2014/main" id="{0CA3E211-2864-47ED-883E-FABF2E9082F1}"/>
                </a:ext>
              </a:extLst>
            </p:cNvPr>
            <p:cNvSpPr>
              <a:spLocks noChangeArrowheads="1"/>
            </p:cNvSpPr>
            <p:nvPr/>
          </p:nvSpPr>
          <p:spPr bwMode="auto">
            <a:xfrm>
              <a:off x="942976" y="5740400"/>
              <a:ext cx="228600" cy="228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a:extLst>
              <a:ext uri="{FF2B5EF4-FFF2-40B4-BE49-F238E27FC236}">
                <a16:creationId xmlns:a16="http://schemas.microsoft.com/office/drawing/2014/main" id="{37D15052-69EE-461D-8BC7-EF2C9FF7226E}"/>
              </a:ext>
            </a:extLst>
          </p:cNvPr>
          <p:cNvSpPr>
            <a:spLocks noGrp="1"/>
          </p:cNvSpPr>
          <p:nvPr>
            <p:ph type="body" sz="quarter" idx="14"/>
          </p:nvPr>
        </p:nvSpPr>
        <p:spPr>
          <a:xfrm>
            <a:off x="838200" y="870295"/>
            <a:ext cx="10515600" cy="341632"/>
          </a:xfrm>
        </p:spPr>
        <p:txBody>
          <a:bodyPr/>
          <a:lstStyle/>
          <a:p>
            <a:r>
              <a:rPr lang="en-US"/>
              <a:t>County requiring Omnidirectional buffer</a:t>
            </a:r>
          </a:p>
        </p:txBody>
      </p:sp>
      <p:sp>
        <p:nvSpPr>
          <p:cNvPr id="4" name="Title 3">
            <a:extLst>
              <a:ext uri="{FF2B5EF4-FFF2-40B4-BE49-F238E27FC236}">
                <a16:creationId xmlns:a16="http://schemas.microsoft.com/office/drawing/2014/main" id="{B05B9D20-D630-486A-AFDE-A97A1CB3ABF0}"/>
              </a:ext>
            </a:extLst>
          </p:cNvPr>
          <p:cNvSpPr>
            <a:spLocks noGrp="1"/>
          </p:cNvSpPr>
          <p:nvPr>
            <p:ph type="title"/>
          </p:nvPr>
        </p:nvSpPr>
        <p:spPr>
          <a:xfrm>
            <a:off x="838200" y="318014"/>
            <a:ext cx="10515600" cy="590931"/>
          </a:xfrm>
        </p:spPr>
        <p:txBody>
          <a:bodyPr/>
          <a:lstStyle/>
          <a:p>
            <a:r>
              <a:rPr lang="en-US"/>
              <a:t>Buffer protection</a:t>
            </a:r>
          </a:p>
        </p:txBody>
      </p:sp>
      <p:sp>
        <p:nvSpPr>
          <p:cNvPr id="136" name="Rectangle 106">
            <a:extLst>
              <a:ext uri="{FF2B5EF4-FFF2-40B4-BE49-F238E27FC236}">
                <a16:creationId xmlns:a16="http://schemas.microsoft.com/office/drawing/2014/main" id="{BDBF304A-7386-4E44-A8C8-355B5244537C}"/>
              </a:ext>
            </a:extLst>
          </p:cNvPr>
          <p:cNvSpPr>
            <a:spLocks noChangeArrowheads="1"/>
          </p:cNvSpPr>
          <p:nvPr/>
        </p:nvSpPr>
        <p:spPr bwMode="auto">
          <a:xfrm>
            <a:off x="78024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38" name="Rectangle 106">
            <a:extLst>
              <a:ext uri="{FF2B5EF4-FFF2-40B4-BE49-F238E27FC236}">
                <a16:creationId xmlns:a16="http://schemas.microsoft.com/office/drawing/2014/main" id="{91E0ACCD-CBE2-41D9-8C29-2BD77EC4D6C2}"/>
              </a:ext>
            </a:extLst>
          </p:cNvPr>
          <p:cNvSpPr>
            <a:spLocks noChangeArrowheads="1"/>
          </p:cNvSpPr>
          <p:nvPr/>
        </p:nvSpPr>
        <p:spPr bwMode="auto">
          <a:xfrm>
            <a:off x="10278987" y="556895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0" name="Rectangle 106">
            <a:extLst>
              <a:ext uri="{FF2B5EF4-FFF2-40B4-BE49-F238E27FC236}">
                <a16:creationId xmlns:a16="http://schemas.microsoft.com/office/drawing/2014/main" id="{CF58D40A-33C1-45D4-9B73-630309EAE284}"/>
              </a:ext>
            </a:extLst>
          </p:cNvPr>
          <p:cNvSpPr>
            <a:spLocks noChangeArrowheads="1"/>
          </p:cNvSpPr>
          <p:nvPr/>
        </p:nvSpPr>
        <p:spPr bwMode="auto">
          <a:xfrm>
            <a:off x="4391861" y="4122063"/>
            <a:ext cx="97622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b="1" spc="150" dirty="0">
                <a:latin typeface="Arial Narrow"/>
              </a:rPr>
              <a:t>DICAMBA</a:t>
            </a:r>
            <a:endParaRPr lang="en-US" altLang="en-US" spc="150" dirty="0">
              <a:cs typeface="Arial"/>
            </a:endParaRPr>
          </a:p>
          <a:p>
            <a:pPr algn="ctr"/>
            <a:r>
              <a:rPr lang="en-US" altLang="en-US" sz="1400" b="1" spc="150" dirty="0">
                <a:latin typeface="Arial Narrow"/>
              </a:rPr>
              <a:t>TOLERANT</a:t>
            </a:r>
            <a:endParaRPr lang="en-US" altLang="en-US" spc="150" dirty="0">
              <a:cs typeface="Arial"/>
            </a:endParaRPr>
          </a:p>
          <a:p>
            <a:pPr marL="0" marR="0" lvl="0" indent="0" algn="ctr" defTabSz="914400">
              <a:lnSpc>
                <a:spcPct val="100000"/>
              </a:lnSpc>
              <a:spcBef>
                <a:spcPct val="0"/>
              </a:spcBef>
              <a:spcAft>
                <a:spcPct val="0"/>
              </a:spcAft>
              <a:buNone/>
              <a:tabLst/>
            </a:pPr>
            <a:r>
              <a:rPr lang="en-US" altLang="en-US" sz="1400" b="1" spc="150" dirty="0">
                <a:latin typeface="Arial Narrow"/>
              </a:rPr>
              <a:t>SOYBEANS</a:t>
            </a:r>
            <a:endParaRPr lang="en-US" altLang="en-US" sz="1800" b="0" i="0" u="none" strike="noStrike" cap="none" spc="150" normalizeH="0" dirty="0">
              <a:ln>
                <a:noFill/>
              </a:ln>
              <a:effectLst/>
              <a:cs typeface="Arial"/>
            </a:endParaRPr>
          </a:p>
        </p:txBody>
      </p:sp>
      <p:sp>
        <p:nvSpPr>
          <p:cNvPr id="142" name="Rectangle 106">
            <a:extLst>
              <a:ext uri="{FF2B5EF4-FFF2-40B4-BE49-F238E27FC236}">
                <a16:creationId xmlns:a16="http://schemas.microsoft.com/office/drawing/2014/main" id="{C515B04C-D5AB-4FA4-9C81-1FFDC76E3B80}"/>
              </a:ext>
            </a:extLst>
          </p:cNvPr>
          <p:cNvSpPr>
            <a:spLocks noChangeArrowheads="1"/>
          </p:cNvSpPr>
          <p:nvPr/>
        </p:nvSpPr>
        <p:spPr bwMode="auto">
          <a:xfrm>
            <a:off x="4391861" y="1847175"/>
            <a:ext cx="97622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b="1" spc="150" dirty="0">
                <a:latin typeface="Arial Narrow"/>
              </a:rPr>
              <a:t>DICAMBA</a:t>
            </a:r>
            <a:endParaRPr lang="en-US" altLang="en-US" spc="150" dirty="0">
              <a:cs typeface="Arial"/>
            </a:endParaRPr>
          </a:p>
          <a:p>
            <a:pPr algn="ctr"/>
            <a:r>
              <a:rPr lang="en-US" altLang="en-US" sz="1400" b="1" spc="150" dirty="0">
                <a:latin typeface="Arial Narrow"/>
              </a:rPr>
              <a:t>TOLERANT</a:t>
            </a:r>
            <a:endParaRPr lang="en-US" altLang="en-US" spc="150" dirty="0">
              <a:cs typeface="Arial"/>
            </a:endParaRPr>
          </a:p>
          <a:p>
            <a:pPr lvl="0" algn="ctr"/>
            <a:r>
              <a:rPr lang="en-US" altLang="en-US" sz="1400" b="1" spc="150" dirty="0">
                <a:latin typeface="Arial Narrow"/>
              </a:rPr>
              <a:t>SOYBEANS</a:t>
            </a:r>
            <a:endParaRPr lang="en-US" altLang="en-US" spc="150" dirty="0">
              <a:cs typeface="Arial"/>
            </a:endParaRPr>
          </a:p>
        </p:txBody>
      </p:sp>
      <p:sp>
        <p:nvSpPr>
          <p:cNvPr id="143" name="Rectangle 106">
            <a:extLst>
              <a:ext uri="{FF2B5EF4-FFF2-40B4-BE49-F238E27FC236}">
                <a16:creationId xmlns:a16="http://schemas.microsoft.com/office/drawing/2014/main" id="{D479E799-39C2-416C-972A-19134C24F21E}"/>
              </a:ext>
            </a:extLst>
          </p:cNvPr>
          <p:cNvSpPr>
            <a:spLocks noChangeArrowheads="1"/>
          </p:cNvSpPr>
          <p:nvPr/>
        </p:nvSpPr>
        <p:spPr bwMode="auto">
          <a:xfrm>
            <a:off x="7173043" y="2170340"/>
            <a:ext cx="50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b="1" spc="150">
                <a:latin typeface="Arial Narrow" panose="020B0606020202030204" pitchFamily="34" charset="0"/>
              </a:rPr>
              <a:t>CORN</a:t>
            </a:r>
            <a:endParaRPr kumimoji="0" lang="en-US" altLang="en-US" sz="1800" b="0" i="0" u="none" strike="noStrike" cap="none" spc="150" normalizeH="0">
              <a:ln>
                <a:noFill/>
              </a:ln>
              <a:effectLst/>
            </a:endParaRPr>
          </a:p>
        </p:txBody>
      </p:sp>
      <p:sp>
        <p:nvSpPr>
          <p:cNvPr id="144" name="Rectangle 106">
            <a:extLst>
              <a:ext uri="{FF2B5EF4-FFF2-40B4-BE49-F238E27FC236}">
                <a16:creationId xmlns:a16="http://schemas.microsoft.com/office/drawing/2014/main" id="{A783EB0C-9C7D-4C55-BE1B-7BC71F3A734C}"/>
              </a:ext>
            </a:extLst>
          </p:cNvPr>
          <p:cNvSpPr>
            <a:spLocks noChangeArrowheads="1"/>
          </p:cNvSpPr>
          <p:nvPr/>
        </p:nvSpPr>
        <p:spPr bwMode="auto">
          <a:xfrm>
            <a:off x="9267983" y="2378963"/>
            <a:ext cx="128079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solidFill>
                  <a:schemeClr val="bg1"/>
                </a:solidFill>
                <a:effectLst/>
                <a:latin typeface="Arial Narrow" panose="020B0606020202030204" pitchFamily="34" charset="0"/>
              </a:rPr>
              <a:t>NON-DICAMBA</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TOLERANT</a:t>
            </a:r>
            <a:br>
              <a:rPr kumimoji="0" lang="en-US" altLang="en-US" sz="1400" b="1" i="0" u="none" strike="noStrike" cap="none" spc="150" normalizeH="0">
                <a:ln>
                  <a:noFill/>
                </a:ln>
                <a:solidFill>
                  <a:schemeClr val="bg1"/>
                </a:solidFill>
                <a:effectLst/>
                <a:latin typeface="Arial Narrow" panose="020B0606020202030204" pitchFamily="34" charset="0"/>
              </a:rPr>
            </a:br>
            <a:r>
              <a:rPr kumimoji="0" lang="en-US" altLang="en-US" sz="1400" b="1" i="0" u="none" strike="noStrike" cap="none" spc="150" normalizeH="0">
                <a:ln>
                  <a:noFill/>
                </a:ln>
                <a:solidFill>
                  <a:schemeClr val="bg1"/>
                </a:solidFill>
                <a:effectLst/>
                <a:latin typeface="Arial Narrow" panose="020B0606020202030204" pitchFamily="34" charset="0"/>
              </a:rPr>
              <a:t>SOYBEANS</a:t>
            </a:r>
            <a:endParaRPr kumimoji="0" lang="en-US" altLang="en-US" sz="1800" b="0" i="0" u="none" strike="noStrike" cap="none" spc="150" normalizeH="0">
              <a:ln>
                <a:noFill/>
              </a:ln>
              <a:solidFill>
                <a:schemeClr val="bg1"/>
              </a:solidFill>
              <a:effectLst/>
            </a:endParaRPr>
          </a:p>
        </p:txBody>
      </p:sp>
      <p:sp>
        <p:nvSpPr>
          <p:cNvPr id="13" name="Freeform 10">
            <a:extLst>
              <a:ext uri="{FF2B5EF4-FFF2-40B4-BE49-F238E27FC236}">
                <a16:creationId xmlns:a16="http://schemas.microsoft.com/office/drawing/2014/main" id="{7B96F78D-65F1-49A6-9A12-F72E0AD74375}"/>
              </a:ext>
            </a:extLst>
          </p:cNvPr>
          <p:cNvSpPr>
            <a:spLocks/>
          </p:cNvSpPr>
          <p:nvPr/>
        </p:nvSpPr>
        <p:spPr bwMode="auto">
          <a:xfrm>
            <a:off x="6351588" y="3136900"/>
            <a:ext cx="2151063" cy="2146300"/>
          </a:xfrm>
          <a:custGeom>
            <a:avLst/>
            <a:gdLst>
              <a:gd name="T0" fmla="*/ 0 w 1355"/>
              <a:gd name="T1" fmla="*/ 0 h 1352"/>
              <a:gd name="T2" fmla="*/ 0 w 1355"/>
              <a:gd name="T3" fmla="*/ 1352 h 1352"/>
              <a:gd name="T4" fmla="*/ 391 w 1355"/>
              <a:gd name="T5" fmla="*/ 1352 h 1352"/>
              <a:gd name="T6" fmla="*/ 1355 w 1355"/>
              <a:gd name="T7" fmla="*/ 932 h 1352"/>
              <a:gd name="T8" fmla="*/ 1355 w 1355"/>
              <a:gd name="T9" fmla="*/ 0 h 1352"/>
              <a:gd name="T10" fmla="*/ 0 w 1355"/>
              <a:gd name="T11" fmla="*/ 0 h 1352"/>
            </a:gdLst>
            <a:ahLst/>
            <a:cxnLst>
              <a:cxn ang="0">
                <a:pos x="T0" y="T1"/>
              </a:cxn>
              <a:cxn ang="0">
                <a:pos x="T2" y="T3"/>
              </a:cxn>
              <a:cxn ang="0">
                <a:pos x="T4" y="T5"/>
              </a:cxn>
              <a:cxn ang="0">
                <a:pos x="T6" y="T7"/>
              </a:cxn>
              <a:cxn ang="0">
                <a:pos x="T8" y="T9"/>
              </a:cxn>
              <a:cxn ang="0">
                <a:pos x="T10" y="T11"/>
              </a:cxn>
            </a:cxnLst>
            <a:rect l="0" t="0" r="r" b="b"/>
            <a:pathLst>
              <a:path w="1355" h="1352">
                <a:moveTo>
                  <a:pt x="0" y="0"/>
                </a:moveTo>
                <a:lnTo>
                  <a:pt x="0" y="1352"/>
                </a:lnTo>
                <a:lnTo>
                  <a:pt x="391" y="1352"/>
                </a:lnTo>
                <a:lnTo>
                  <a:pt x="1355" y="932"/>
                </a:lnTo>
                <a:lnTo>
                  <a:pt x="1355" y="0"/>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300">
            <a:extLst>
              <a:ext uri="{FF2B5EF4-FFF2-40B4-BE49-F238E27FC236}">
                <a16:creationId xmlns:a16="http://schemas.microsoft.com/office/drawing/2014/main" id="{9AEC8F3F-4AF6-4BF4-A728-B9219BDE4113}"/>
              </a:ext>
            </a:extLst>
          </p:cNvPr>
          <p:cNvSpPr>
            <a:spLocks/>
          </p:cNvSpPr>
          <p:nvPr/>
        </p:nvSpPr>
        <p:spPr bwMode="auto">
          <a:xfrm>
            <a:off x="8488363" y="4857750"/>
            <a:ext cx="38100" cy="38100"/>
          </a:xfrm>
          <a:custGeom>
            <a:avLst/>
            <a:gdLst>
              <a:gd name="T0" fmla="*/ 24 w 24"/>
              <a:gd name="T1" fmla="*/ 0 h 24"/>
              <a:gd name="T2" fmla="*/ 0 w 24"/>
              <a:gd name="T3" fmla="*/ 24 h 24"/>
              <a:gd name="T4" fmla="*/ 18 w 24"/>
              <a:gd name="T5" fmla="*/ 16 h 24"/>
              <a:gd name="T6" fmla="*/ 24 w 24"/>
              <a:gd name="T7" fmla="*/ 10 h 24"/>
              <a:gd name="T8" fmla="*/ 24 w 24"/>
              <a:gd name="T9" fmla="*/ 0 h 24"/>
            </a:gdLst>
            <a:ahLst/>
            <a:cxnLst>
              <a:cxn ang="0">
                <a:pos x="T0" y="T1"/>
              </a:cxn>
              <a:cxn ang="0">
                <a:pos x="T2" y="T3"/>
              </a:cxn>
              <a:cxn ang="0">
                <a:pos x="T4" y="T5"/>
              </a:cxn>
              <a:cxn ang="0">
                <a:pos x="T6" y="T7"/>
              </a:cxn>
              <a:cxn ang="0">
                <a:pos x="T8" y="T9"/>
              </a:cxn>
            </a:cxnLst>
            <a:rect l="0" t="0" r="r" b="b"/>
            <a:pathLst>
              <a:path w="24" h="24">
                <a:moveTo>
                  <a:pt x="24" y="0"/>
                </a:moveTo>
                <a:lnTo>
                  <a:pt x="0" y="24"/>
                </a:lnTo>
                <a:lnTo>
                  <a:pt x="18" y="16"/>
                </a:lnTo>
                <a:lnTo>
                  <a:pt x="24" y="1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7C3519B0-2329-44A3-9D4F-FD741F4CD7A1}"/>
              </a:ext>
            </a:extLst>
          </p:cNvPr>
          <p:cNvSpPr>
            <a:spLocks noGrp="1"/>
          </p:cNvSpPr>
          <p:nvPr>
            <p:ph type="sldNum" sz="quarter" idx="16"/>
          </p:nvPr>
        </p:nvSpPr>
        <p:spPr/>
        <p:txBody>
          <a:bodyPr/>
          <a:lstStyle/>
          <a:p>
            <a:fld id="{5382645D-9DD6-408C-B0EA-C65795F9B1DE}" type="slidenum">
              <a:rPr lang="en-US" smtClean="0"/>
              <a:pPr/>
              <a:t>43</a:t>
            </a:fld>
            <a:endParaRPr lang="en-US"/>
          </a:p>
        </p:txBody>
      </p:sp>
      <p:sp>
        <p:nvSpPr>
          <p:cNvPr id="5" name="Footer Placeholder 4">
            <a:extLst>
              <a:ext uri="{FF2B5EF4-FFF2-40B4-BE49-F238E27FC236}">
                <a16:creationId xmlns:a16="http://schemas.microsoft.com/office/drawing/2014/main" id="{2A954C1D-2ECB-4CD0-8458-9F05052F1C20}"/>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grpSp>
        <p:nvGrpSpPr>
          <p:cNvPr id="358" name="Group 357">
            <a:extLst>
              <a:ext uri="{FF2B5EF4-FFF2-40B4-BE49-F238E27FC236}">
                <a16:creationId xmlns:a16="http://schemas.microsoft.com/office/drawing/2014/main" id="{88211185-4355-4715-BFF6-5386C7475712}"/>
              </a:ext>
            </a:extLst>
          </p:cNvPr>
          <p:cNvGrpSpPr/>
          <p:nvPr/>
        </p:nvGrpSpPr>
        <p:grpSpPr>
          <a:xfrm rot="16200000">
            <a:off x="679352" y="2522112"/>
            <a:ext cx="1536700" cy="407988"/>
            <a:chOff x="9229726" y="4735513"/>
            <a:chExt cx="1536700" cy="407988"/>
          </a:xfrm>
        </p:grpSpPr>
        <p:sp>
          <p:nvSpPr>
            <p:cNvPr id="359" name="Freeform 97">
              <a:extLst>
                <a:ext uri="{FF2B5EF4-FFF2-40B4-BE49-F238E27FC236}">
                  <a16:creationId xmlns:a16="http://schemas.microsoft.com/office/drawing/2014/main" id="{0482BDA4-3A33-45C3-9B51-D169838FB2EB}"/>
                </a:ext>
              </a:extLst>
            </p:cNvPr>
            <p:cNvSpPr>
              <a:spLocks noEditPoints="1"/>
            </p:cNvSpPr>
            <p:nvPr/>
          </p:nvSpPr>
          <p:spPr bwMode="auto">
            <a:xfrm>
              <a:off x="9229726" y="4786313"/>
              <a:ext cx="985838" cy="320675"/>
            </a:xfrm>
            <a:custGeom>
              <a:avLst/>
              <a:gdLst>
                <a:gd name="T0" fmla="*/ 621 w 621"/>
                <a:gd name="T1" fmla="*/ 202 h 202"/>
                <a:gd name="T2" fmla="*/ 181 w 621"/>
                <a:gd name="T3" fmla="*/ 202 h 202"/>
                <a:gd name="T4" fmla="*/ 0 w 621"/>
                <a:gd name="T5" fmla="*/ 101 h 202"/>
                <a:gd name="T6" fmla="*/ 181 w 621"/>
                <a:gd name="T7" fmla="*/ 0 h 202"/>
                <a:gd name="T8" fmla="*/ 621 w 621"/>
                <a:gd name="T9" fmla="*/ 0 h 202"/>
                <a:gd name="T10" fmla="*/ 621 w 621"/>
                <a:gd name="T11" fmla="*/ 202 h 202"/>
                <a:gd name="T12" fmla="*/ 196 w 621"/>
                <a:gd name="T13" fmla="*/ 146 h 202"/>
                <a:gd name="T14" fmla="*/ 565 w 621"/>
                <a:gd name="T15" fmla="*/ 146 h 202"/>
                <a:gd name="T16" fmla="*/ 565 w 621"/>
                <a:gd name="T17" fmla="*/ 56 h 202"/>
                <a:gd name="T18" fmla="*/ 196 w 621"/>
                <a:gd name="T19" fmla="*/ 56 h 202"/>
                <a:gd name="T20" fmla="*/ 115 w 621"/>
                <a:gd name="T21" fmla="*/ 101 h 202"/>
                <a:gd name="T22" fmla="*/ 196 w 621"/>
                <a:gd name="T23" fmla="*/ 14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202">
                  <a:moveTo>
                    <a:pt x="621" y="202"/>
                  </a:moveTo>
                  <a:lnTo>
                    <a:pt x="181" y="202"/>
                  </a:lnTo>
                  <a:lnTo>
                    <a:pt x="0" y="101"/>
                  </a:lnTo>
                  <a:lnTo>
                    <a:pt x="181" y="0"/>
                  </a:lnTo>
                  <a:lnTo>
                    <a:pt x="621" y="0"/>
                  </a:lnTo>
                  <a:lnTo>
                    <a:pt x="621" y="202"/>
                  </a:lnTo>
                  <a:close/>
                  <a:moveTo>
                    <a:pt x="196" y="146"/>
                  </a:moveTo>
                  <a:lnTo>
                    <a:pt x="565" y="146"/>
                  </a:lnTo>
                  <a:lnTo>
                    <a:pt x="565" y="56"/>
                  </a:lnTo>
                  <a:lnTo>
                    <a:pt x="196" y="56"/>
                  </a:lnTo>
                  <a:lnTo>
                    <a:pt x="115" y="101"/>
                  </a:lnTo>
                  <a:lnTo>
                    <a:pt x="19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98">
              <a:extLst>
                <a:ext uri="{FF2B5EF4-FFF2-40B4-BE49-F238E27FC236}">
                  <a16:creationId xmlns:a16="http://schemas.microsoft.com/office/drawing/2014/main" id="{CD2F8AA6-9E72-4B31-979D-A488A3FDFDA4}"/>
                </a:ext>
              </a:extLst>
            </p:cNvPr>
            <p:cNvSpPr>
              <a:spLocks/>
            </p:cNvSpPr>
            <p:nvPr/>
          </p:nvSpPr>
          <p:spPr bwMode="auto">
            <a:xfrm>
              <a:off x="9320213" y="4830763"/>
              <a:ext cx="850900" cy="231775"/>
            </a:xfrm>
            <a:custGeom>
              <a:avLst/>
              <a:gdLst>
                <a:gd name="T0" fmla="*/ 131 w 536"/>
                <a:gd name="T1" fmla="*/ 0 h 146"/>
                <a:gd name="T2" fmla="*/ 536 w 536"/>
                <a:gd name="T3" fmla="*/ 0 h 146"/>
                <a:gd name="T4" fmla="*/ 536 w 536"/>
                <a:gd name="T5" fmla="*/ 146 h 146"/>
                <a:gd name="T6" fmla="*/ 131 w 536"/>
                <a:gd name="T7" fmla="*/ 146 h 146"/>
                <a:gd name="T8" fmla="*/ 0 w 536"/>
                <a:gd name="T9" fmla="*/ 73 h 146"/>
                <a:gd name="T10" fmla="*/ 131 w 536"/>
                <a:gd name="T11" fmla="*/ 0 h 146"/>
              </a:gdLst>
              <a:ahLst/>
              <a:cxnLst>
                <a:cxn ang="0">
                  <a:pos x="T0" y="T1"/>
                </a:cxn>
                <a:cxn ang="0">
                  <a:pos x="T2" y="T3"/>
                </a:cxn>
                <a:cxn ang="0">
                  <a:pos x="T4" y="T5"/>
                </a:cxn>
                <a:cxn ang="0">
                  <a:pos x="T6" y="T7"/>
                </a:cxn>
                <a:cxn ang="0">
                  <a:pos x="T8" y="T9"/>
                </a:cxn>
                <a:cxn ang="0">
                  <a:pos x="T10" y="T11"/>
                </a:cxn>
              </a:cxnLst>
              <a:rect l="0" t="0" r="r" b="b"/>
              <a:pathLst>
                <a:path w="536" h="146">
                  <a:moveTo>
                    <a:pt x="131" y="0"/>
                  </a:moveTo>
                  <a:lnTo>
                    <a:pt x="536" y="0"/>
                  </a:lnTo>
                  <a:lnTo>
                    <a:pt x="536" y="146"/>
                  </a:lnTo>
                  <a:lnTo>
                    <a:pt x="131" y="146"/>
                  </a:lnTo>
                  <a:lnTo>
                    <a:pt x="0" y="73"/>
                  </a:lnTo>
                  <a:lnTo>
                    <a:pt x="1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99">
              <a:extLst>
                <a:ext uri="{FF2B5EF4-FFF2-40B4-BE49-F238E27FC236}">
                  <a16:creationId xmlns:a16="http://schemas.microsoft.com/office/drawing/2014/main" id="{8B3523BF-2919-4651-A583-86FB1FF65C08}"/>
                </a:ext>
              </a:extLst>
            </p:cNvPr>
            <p:cNvSpPr>
              <a:spLocks noEditPoints="1"/>
            </p:cNvSpPr>
            <p:nvPr/>
          </p:nvSpPr>
          <p:spPr bwMode="auto">
            <a:xfrm>
              <a:off x="9288463" y="4813300"/>
              <a:ext cx="898525" cy="265113"/>
            </a:xfrm>
            <a:custGeom>
              <a:avLst/>
              <a:gdLst>
                <a:gd name="T0" fmla="*/ 566 w 566"/>
                <a:gd name="T1" fmla="*/ 167 h 167"/>
                <a:gd name="T2" fmla="*/ 149 w 566"/>
                <a:gd name="T3" fmla="*/ 167 h 167"/>
                <a:gd name="T4" fmla="*/ 0 w 566"/>
                <a:gd name="T5" fmla="*/ 84 h 167"/>
                <a:gd name="T6" fmla="*/ 149 w 566"/>
                <a:gd name="T7" fmla="*/ 0 h 167"/>
                <a:gd name="T8" fmla="*/ 566 w 566"/>
                <a:gd name="T9" fmla="*/ 0 h 167"/>
                <a:gd name="T10" fmla="*/ 566 w 566"/>
                <a:gd name="T11" fmla="*/ 167 h 167"/>
                <a:gd name="T12" fmla="*/ 154 w 566"/>
                <a:gd name="T13" fmla="*/ 147 h 167"/>
                <a:gd name="T14" fmla="*/ 546 w 566"/>
                <a:gd name="T15" fmla="*/ 147 h 167"/>
                <a:gd name="T16" fmla="*/ 546 w 566"/>
                <a:gd name="T17" fmla="*/ 21 h 167"/>
                <a:gd name="T18" fmla="*/ 154 w 566"/>
                <a:gd name="T19" fmla="*/ 21 h 167"/>
                <a:gd name="T20" fmla="*/ 41 w 566"/>
                <a:gd name="T21" fmla="*/ 84 h 167"/>
                <a:gd name="T22" fmla="*/ 154 w 566"/>
                <a:gd name="T23"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67">
                  <a:moveTo>
                    <a:pt x="566" y="167"/>
                  </a:moveTo>
                  <a:lnTo>
                    <a:pt x="149" y="167"/>
                  </a:lnTo>
                  <a:lnTo>
                    <a:pt x="0" y="84"/>
                  </a:lnTo>
                  <a:lnTo>
                    <a:pt x="149" y="0"/>
                  </a:lnTo>
                  <a:lnTo>
                    <a:pt x="566" y="0"/>
                  </a:lnTo>
                  <a:lnTo>
                    <a:pt x="566" y="167"/>
                  </a:lnTo>
                  <a:close/>
                  <a:moveTo>
                    <a:pt x="154" y="147"/>
                  </a:moveTo>
                  <a:lnTo>
                    <a:pt x="546" y="147"/>
                  </a:lnTo>
                  <a:lnTo>
                    <a:pt x="546" y="21"/>
                  </a:lnTo>
                  <a:lnTo>
                    <a:pt x="154" y="21"/>
                  </a:lnTo>
                  <a:lnTo>
                    <a:pt x="41" y="84"/>
                  </a:lnTo>
                  <a:lnTo>
                    <a:pt x="154"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00">
              <a:extLst>
                <a:ext uri="{FF2B5EF4-FFF2-40B4-BE49-F238E27FC236}">
                  <a16:creationId xmlns:a16="http://schemas.microsoft.com/office/drawing/2014/main" id="{5FD0EB82-72DA-4E8B-9A38-A44861E0EC9B}"/>
                </a:ext>
              </a:extLst>
            </p:cNvPr>
            <p:cNvSpPr>
              <a:spLocks/>
            </p:cNvSpPr>
            <p:nvPr/>
          </p:nvSpPr>
          <p:spPr bwMode="auto">
            <a:xfrm>
              <a:off x="10139363" y="4973638"/>
              <a:ext cx="479425" cy="169863"/>
            </a:xfrm>
            <a:custGeom>
              <a:avLst/>
              <a:gdLst>
                <a:gd name="T0" fmla="*/ 131 w 744"/>
                <a:gd name="T1" fmla="*/ 263 h 263"/>
                <a:gd name="T2" fmla="*/ 261 w 744"/>
                <a:gd name="T3" fmla="*/ 149 h 263"/>
                <a:gd name="T4" fmla="*/ 668 w 744"/>
                <a:gd name="T5" fmla="*/ 149 h 263"/>
                <a:gd name="T6" fmla="*/ 744 w 744"/>
                <a:gd name="T7" fmla="*/ 74 h 263"/>
                <a:gd name="T8" fmla="*/ 670 w 744"/>
                <a:gd name="T9" fmla="*/ 0 h 263"/>
                <a:gd name="T10" fmla="*/ 131 w 744"/>
                <a:gd name="T11" fmla="*/ 0 h 263"/>
                <a:gd name="T12" fmla="*/ 0 w 744"/>
                <a:gd name="T13" fmla="*/ 131 h 263"/>
                <a:gd name="T14" fmla="*/ 131 w 744"/>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4" h="263">
                  <a:moveTo>
                    <a:pt x="131" y="263"/>
                  </a:moveTo>
                  <a:cubicBezTo>
                    <a:pt x="198" y="263"/>
                    <a:pt x="253" y="213"/>
                    <a:pt x="261" y="149"/>
                  </a:cubicBezTo>
                  <a:cubicBezTo>
                    <a:pt x="668" y="149"/>
                    <a:pt x="668" y="149"/>
                    <a:pt x="668" y="149"/>
                  </a:cubicBezTo>
                  <a:cubicBezTo>
                    <a:pt x="711" y="149"/>
                    <a:pt x="744" y="116"/>
                    <a:pt x="744" y="74"/>
                  </a:cubicBezTo>
                  <a:cubicBezTo>
                    <a:pt x="744" y="33"/>
                    <a:pt x="711" y="0"/>
                    <a:pt x="670" y="0"/>
                  </a:cubicBezTo>
                  <a:cubicBezTo>
                    <a:pt x="131" y="0"/>
                    <a:pt x="131" y="0"/>
                    <a:pt x="131" y="0"/>
                  </a:cubicBezTo>
                  <a:cubicBezTo>
                    <a:pt x="59" y="0"/>
                    <a:pt x="0" y="59"/>
                    <a:pt x="0" y="131"/>
                  </a:cubicBezTo>
                  <a:cubicBezTo>
                    <a:pt x="0" y="204"/>
                    <a:pt x="59" y="263"/>
                    <a:pt x="131" y="2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01">
              <a:extLst>
                <a:ext uri="{FF2B5EF4-FFF2-40B4-BE49-F238E27FC236}">
                  <a16:creationId xmlns:a16="http://schemas.microsoft.com/office/drawing/2014/main" id="{9F636492-81A0-4412-8223-47ABAF7301B5}"/>
                </a:ext>
              </a:extLst>
            </p:cNvPr>
            <p:cNvSpPr>
              <a:spLocks/>
            </p:cNvSpPr>
            <p:nvPr/>
          </p:nvSpPr>
          <p:spPr bwMode="auto">
            <a:xfrm>
              <a:off x="10015538" y="4741863"/>
              <a:ext cx="750888" cy="266700"/>
            </a:xfrm>
            <a:custGeom>
              <a:avLst/>
              <a:gdLst>
                <a:gd name="T0" fmla="*/ 0 w 1163"/>
                <a:gd name="T1" fmla="*/ 207 h 414"/>
                <a:gd name="T2" fmla="*/ 208 w 1163"/>
                <a:gd name="T3" fmla="*/ 0 h 414"/>
                <a:gd name="T4" fmla="*/ 416 w 1163"/>
                <a:gd name="T5" fmla="*/ 207 h 414"/>
                <a:gd name="T6" fmla="*/ 416 w 1163"/>
                <a:gd name="T7" fmla="*/ 212 h 414"/>
                <a:gd name="T8" fmla="*/ 394 w 1163"/>
                <a:gd name="T9" fmla="*/ 265 h 414"/>
                <a:gd name="T10" fmla="*/ 1089 w 1163"/>
                <a:gd name="T11" fmla="*/ 265 h 414"/>
                <a:gd name="T12" fmla="*/ 1163 w 1163"/>
                <a:gd name="T13" fmla="*/ 339 h 414"/>
                <a:gd name="T14" fmla="*/ 1089 w 1163"/>
                <a:gd name="T15" fmla="*/ 414 h 414"/>
                <a:gd name="T16" fmla="*/ 208 w 1163"/>
                <a:gd name="T17" fmla="*/ 414 h 414"/>
                <a:gd name="T18" fmla="*/ 0 w 1163"/>
                <a:gd name="T19" fmla="*/ 20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414">
                  <a:moveTo>
                    <a:pt x="0" y="207"/>
                  </a:moveTo>
                  <a:cubicBezTo>
                    <a:pt x="0" y="93"/>
                    <a:pt x="93" y="0"/>
                    <a:pt x="208" y="0"/>
                  </a:cubicBezTo>
                  <a:cubicBezTo>
                    <a:pt x="323" y="0"/>
                    <a:pt x="416" y="93"/>
                    <a:pt x="416" y="207"/>
                  </a:cubicBezTo>
                  <a:cubicBezTo>
                    <a:pt x="416" y="212"/>
                    <a:pt x="416" y="212"/>
                    <a:pt x="416" y="212"/>
                  </a:cubicBezTo>
                  <a:cubicBezTo>
                    <a:pt x="416" y="233"/>
                    <a:pt x="407" y="251"/>
                    <a:pt x="394" y="265"/>
                  </a:cubicBezTo>
                  <a:cubicBezTo>
                    <a:pt x="1089" y="265"/>
                    <a:pt x="1089" y="265"/>
                    <a:pt x="1089" y="265"/>
                  </a:cubicBezTo>
                  <a:cubicBezTo>
                    <a:pt x="1130" y="265"/>
                    <a:pt x="1163" y="298"/>
                    <a:pt x="1163" y="339"/>
                  </a:cubicBezTo>
                  <a:cubicBezTo>
                    <a:pt x="1163" y="380"/>
                    <a:pt x="1130" y="414"/>
                    <a:pt x="1089" y="414"/>
                  </a:cubicBezTo>
                  <a:cubicBezTo>
                    <a:pt x="208" y="414"/>
                    <a:pt x="208" y="414"/>
                    <a:pt x="208" y="414"/>
                  </a:cubicBezTo>
                  <a:cubicBezTo>
                    <a:pt x="93" y="414"/>
                    <a:pt x="0" y="321"/>
                    <a:pt x="0" y="2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02">
              <a:extLst>
                <a:ext uri="{FF2B5EF4-FFF2-40B4-BE49-F238E27FC236}">
                  <a16:creationId xmlns:a16="http://schemas.microsoft.com/office/drawing/2014/main" id="{8CC9A7A5-CAC9-4804-B6BF-AEF26F4C0E7E}"/>
                </a:ext>
              </a:extLst>
            </p:cNvPr>
            <p:cNvSpPr>
              <a:spLocks/>
            </p:cNvSpPr>
            <p:nvPr/>
          </p:nvSpPr>
          <p:spPr bwMode="auto">
            <a:xfrm>
              <a:off x="10237788" y="4735513"/>
              <a:ext cx="455613" cy="219075"/>
            </a:xfrm>
            <a:custGeom>
              <a:avLst/>
              <a:gdLst>
                <a:gd name="T0" fmla="*/ 0 w 706"/>
                <a:gd name="T1" fmla="*/ 170 h 339"/>
                <a:gd name="T2" fmla="*/ 169 w 706"/>
                <a:gd name="T3" fmla="*/ 0 h 339"/>
                <a:gd name="T4" fmla="*/ 339 w 706"/>
                <a:gd name="T5" fmla="*/ 170 h 339"/>
                <a:gd name="T6" fmla="*/ 339 w 706"/>
                <a:gd name="T7" fmla="*/ 177 h 339"/>
                <a:gd name="T8" fmla="*/ 338 w 706"/>
                <a:gd name="T9" fmla="*/ 190 h 339"/>
                <a:gd name="T10" fmla="*/ 632 w 706"/>
                <a:gd name="T11" fmla="*/ 190 h 339"/>
                <a:gd name="T12" fmla="*/ 706 w 706"/>
                <a:gd name="T13" fmla="*/ 265 h 339"/>
                <a:gd name="T14" fmla="*/ 632 w 706"/>
                <a:gd name="T15" fmla="*/ 339 h 339"/>
                <a:gd name="T16" fmla="*/ 169 w 706"/>
                <a:gd name="T17" fmla="*/ 339 h 339"/>
                <a:gd name="T18" fmla="*/ 0 w 706"/>
                <a:gd name="T19"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6" h="339">
                  <a:moveTo>
                    <a:pt x="0" y="170"/>
                  </a:moveTo>
                  <a:cubicBezTo>
                    <a:pt x="0" y="73"/>
                    <a:pt x="73" y="0"/>
                    <a:pt x="169" y="0"/>
                  </a:cubicBezTo>
                  <a:cubicBezTo>
                    <a:pt x="266" y="0"/>
                    <a:pt x="339" y="73"/>
                    <a:pt x="339" y="170"/>
                  </a:cubicBezTo>
                  <a:cubicBezTo>
                    <a:pt x="339" y="177"/>
                    <a:pt x="339" y="177"/>
                    <a:pt x="339" y="177"/>
                  </a:cubicBezTo>
                  <a:cubicBezTo>
                    <a:pt x="339" y="182"/>
                    <a:pt x="339" y="186"/>
                    <a:pt x="338" y="190"/>
                  </a:cubicBezTo>
                  <a:cubicBezTo>
                    <a:pt x="632" y="190"/>
                    <a:pt x="632" y="190"/>
                    <a:pt x="632" y="190"/>
                  </a:cubicBezTo>
                  <a:cubicBezTo>
                    <a:pt x="673" y="190"/>
                    <a:pt x="706" y="224"/>
                    <a:pt x="706" y="265"/>
                  </a:cubicBezTo>
                  <a:cubicBezTo>
                    <a:pt x="706" y="306"/>
                    <a:pt x="673" y="339"/>
                    <a:pt x="632" y="339"/>
                  </a:cubicBezTo>
                  <a:cubicBezTo>
                    <a:pt x="169" y="339"/>
                    <a:pt x="169" y="339"/>
                    <a:pt x="169" y="339"/>
                  </a:cubicBezTo>
                  <a:cubicBezTo>
                    <a:pt x="73" y="339"/>
                    <a:pt x="0" y="266"/>
                    <a:pt x="0"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03">
              <a:extLst>
                <a:ext uri="{FF2B5EF4-FFF2-40B4-BE49-F238E27FC236}">
                  <a16:creationId xmlns:a16="http://schemas.microsoft.com/office/drawing/2014/main" id="{E35BBD87-096F-433B-A375-9E5CC3FD6CC6}"/>
                </a:ext>
              </a:extLst>
            </p:cNvPr>
            <p:cNvSpPr>
              <a:spLocks/>
            </p:cNvSpPr>
            <p:nvPr/>
          </p:nvSpPr>
          <p:spPr bwMode="auto">
            <a:xfrm>
              <a:off x="10171113" y="5005388"/>
              <a:ext cx="415925" cy="104775"/>
            </a:xfrm>
            <a:custGeom>
              <a:avLst/>
              <a:gdLst>
                <a:gd name="T0" fmla="*/ 82 w 646"/>
                <a:gd name="T1" fmla="*/ 0 h 164"/>
                <a:gd name="T2" fmla="*/ 621 w 646"/>
                <a:gd name="T3" fmla="*/ 0 h 164"/>
                <a:gd name="T4" fmla="*/ 646 w 646"/>
                <a:gd name="T5" fmla="*/ 25 h 164"/>
                <a:gd name="T6" fmla="*/ 621 w 646"/>
                <a:gd name="T7" fmla="*/ 51 h 164"/>
                <a:gd name="T8" fmla="*/ 619 w 646"/>
                <a:gd name="T9" fmla="*/ 51 h 164"/>
                <a:gd name="T10" fmla="*/ 82 w 646"/>
                <a:gd name="T11" fmla="*/ 51 h 164"/>
                <a:gd name="T12" fmla="*/ 50 w 646"/>
                <a:gd name="T13" fmla="*/ 82 h 164"/>
                <a:gd name="T14" fmla="*/ 82 w 646"/>
                <a:gd name="T15" fmla="*/ 114 h 164"/>
                <a:gd name="T16" fmla="*/ 114 w 646"/>
                <a:gd name="T17" fmla="*/ 82 h 164"/>
                <a:gd name="T18" fmla="*/ 114 w 646"/>
                <a:gd name="T19" fmla="*/ 76 h 164"/>
                <a:gd name="T20" fmla="*/ 164 w 646"/>
                <a:gd name="T21" fmla="*/ 76 h 164"/>
                <a:gd name="T22" fmla="*/ 164 w 646"/>
                <a:gd name="T23" fmla="*/ 82 h 164"/>
                <a:gd name="T24" fmla="*/ 82 w 646"/>
                <a:gd name="T25" fmla="*/ 164 h 164"/>
                <a:gd name="T26" fmla="*/ 0 w 646"/>
                <a:gd name="T27" fmla="*/ 82 h 164"/>
                <a:gd name="T28" fmla="*/ 82 w 646"/>
                <a:gd name="T2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6" h="164">
                  <a:moveTo>
                    <a:pt x="82" y="0"/>
                  </a:moveTo>
                  <a:cubicBezTo>
                    <a:pt x="621" y="0"/>
                    <a:pt x="621" y="0"/>
                    <a:pt x="621" y="0"/>
                  </a:cubicBezTo>
                  <a:cubicBezTo>
                    <a:pt x="635" y="0"/>
                    <a:pt x="646" y="11"/>
                    <a:pt x="646" y="25"/>
                  </a:cubicBezTo>
                  <a:cubicBezTo>
                    <a:pt x="646" y="40"/>
                    <a:pt x="635" y="51"/>
                    <a:pt x="621" y="51"/>
                  </a:cubicBezTo>
                  <a:cubicBezTo>
                    <a:pt x="619" y="51"/>
                    <a:pt x="619" y="51"/>
                    <a:pt x="619" y="51"/>
                  </a:cubicBezTo>
                  <a:cubicBezTo>
                    <a:pt x="82" y="51"/>
                    <a:pt x="82" y="51"/>
                    <a:pt x="82" y="51"/>
                  </a:cubicBezTo>
                  <a:cubicBezTo>
                    <a:pt x="62" y="51"/>
                    <a:pt x="50" y="63"/>
                    <a:pt x="50" y="82"/>
                  </a:cubicBezTo>
                  <a:cubicBezTo>
                    <a:pt x="50" y="102"/>
                    <a:pt x="62" y="114"/>
                    <a:pt x="82" y="114"/>
                  </a:cubicBezTo>
                  <a:cubicBezTo>
                    <a:pt x="102" y="114"/>
                    <a:pt x="114" y="102"/>
                    <a:pt x="114" y="82"/>
                  </a:cubicBezTo>
                  <a:cubicBezTo>
                    <a:pt x="114" y="76"/>
                    <a:pt x="114" y="76"/>
                    <a:pt x="114" y="76"/>
                  </a:cubicBezTo>
                  <a:cubicBezTo>
                    <a:pt x="164" y="76"/>
                    <a:pt x="164" y="76"/>
                    <a:pt x="164" y="76"/>
                  </a:cubicBezTo>
                  <a:cubicBezTo>
                    <a:pt x="164" y="82"/>
                    <a:pt x="164" y="82"/>
                    <a:pt x="164" y="82"/>
                  </a:cubicBezTo>
                  <a:cubicBezTo>
                    <a:pt x="164" y="128"/>
                    <a:pt x="127" y="164"/>
                    <a:pt x="82" y="164"/>
                  </a:cubicBezTo>
                  <a:cubicBezTo>
                    <a:pt x="37" y="164"/>
                    <a:pt x="0" y="128"/>
                    <a:pt x="0" y="82"/>
                  </a:cubicBezTo>
                  <a:cubicBezTo>
                    <a:pt x="0" y="37"/>
                    <a:pt x="37" y="0"/>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04">
              <a:extLst>
                <a:ext uri="{FF2B5EF4-FFF2-40B4-BE49-F238E27FC236}">
                  <a16:creationId xmlns:a16="http://schemas.microsoft.com/office/drawing/2014/main" id="{1DEC6F5C-185F-4BBE-A732-7F32B5117CC3}"/>
                </a:ext>
              </a:extLst>
            </p:cNvPr>
            <p:cNvSpPr>
              <a:spLocks/>
            </p:cNvSpPr>
            <p:nvPr/>
          </p:nvSpPr>
          <p:spPr bwMode="auto">
            <a:xfrm>
              <a:off x="10048876" y="4778375"/>
              <a:ext cx="685800" cy="204788"/>
            </a:xfrm>
            <a:custGeom>
              <a:avLst/>
              <a:gdLst>
                <a:gd name="T0" fmla="*/ 158 w 1064"/>
                <a:gd name="T1" fmla="*/ 0 h 315"/>
                <a:gd name="T2" fmla="*/ 316 w 1064"/>
                <a:gd name="T3" fmla="*/ 158 h 315"/>
                <a:gd name="T4" fmla="*/ 316 w 1064"/>
                <a:gd name="T5" fmla="*/ 161 h 315"/>
                <a:gd name="T6" fmla="*/ 316 w 1064"/>
                <a:gd name="T7" fmla="*/ 163 h 315"/>
                <a:gd name="T8" fmla="*/ 291 w 1064"/>
                <a:gd name="T9" fmla="*/ 188 h 315"/>
                <a:gd name="T10" fmla="*/ 266 w 1064"/>
                <a:gd name="T11" fmla="*/ 164 h 315"/>
                <a:gd name="T12" fmla="*/ 266 w 1064"/>
                <a:gd name="T13" fmla="*/ 163 h 315"/>
                <a:gd name="T14" fmla="*/ 266 w 1064"/>
                <a:gd name="T15" fmla="*/ 163 h 315"/>
                <a:gd name="T16" fmla="*/ 266 w 1064"/>
                <a:gd name="T17" fmla="*/ 162 h 315"/>
                <a:gd name="T18" fmla="*/ 266 w 1064"/>
                <a:gd name="T19" fmla="*/ 157 h 315"/>
                <a:gd name="T20" fmla="*/ 158 w 1064"/>
                <a:gd name="T21" fmla="*/ 49 h 315"/>
                <a:gd name="T22" fmla="*/ 50 w 1064"/>
                <a:gd name="T23" fmla="*/ 157 h 315"/>
                <a:gd name="T24" fmla="*/ 158 w 1064"/>
                <a:gd name="T25" fmla="*/ 265 h 315"/>
                <a:gd name="T26" fmla="*/ 1037 w 1064"/>
                <a:gd name="T27" fmla="*/ 265 h 315"/>
                <a:gd name="T28" fmla="*/ 1039 w 1064"/>
                <a:gd name="T29" fmla="*/ 265 h 315"/>
                <a:gd name="T30" fmla="*/ 1064 w 1064"/>
                <a:gd name="T31" fmla="*/ 290 h 315"/>
                <a:gd name="T32" fmla="*/ 1039 w 1064"/>
                <a:gd name="T33" fmla="*/ 315 h 315"/>
                <a:gd name="T34" fmla="*/ 158 w 1064"/>
                <a:gd name="T35" fmla="*/ 315 h 315"/>
                <a:gd name="T36" fmla="*/ 0 w 1064"/>
                <a:gd name="T37" fmla="*/ 157 h 315"/>
                <a:gd name="T38" fmla="*/ 158 w 1064"/>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4" h="315">
                  <a:moveTo>
                    <a:pt x="158" y="0"/>
                  </a:moveTo>
                  <a:cubicBezTo>
                    <a:pt x="246" y="0"/>
                    <a:pt x="316" y="71"/>
                    <a:pt x="316" y="158"/>
                  </a:cubicBezTo>
                  <a:cubicBezTo>
                    <a:pt x="316" y="161"/>
                    <a:pt x="316" y="161"/>
                    <a:pt x="316" y="161"/>
                  </a:cubicBezTo>
                  <a:cubicBezTo>
                    <a:pt x="316" y="163"/>
                    <a:pt x="316" y="163"/>
                    <a:pt x="316" y="163"/>
                  </a:cubicBezTo>
                  <a:cubicBezTo>
                    <a:pt x="316" y="177"/>
                    <a:pt x="305" y="188"/>
                    <a:pt x="291" y="188"/>
                  </a:cubicBezTo>
                  <a:cubicBezTo>
                    <a:pt x="278" y="188"/>
                    <a:pt x="267" y="177"/>
                    <a:pt x="266" y="164"/>
                  </a:cubicBezTo>
                  <a:cubicBezTo>
                    <a:pt x="266" y="163"/>
                    <a:pt x="266" y="163"/>
                    <a:pt x="266" y="163"/>
                  </a:cubicBezTo>
                  <a:cubicBezTo>
                    <a:pt x="266" y="163"/>
                    <a:pt x="266" y="163"/>
                    <a:pt x="266" y="163"/>
                  </a:cubicBezTo>
                  <a:cubicBezTo>
                    <a:pt x="266" y="162"/>
                    <a:pt x="266" y="162"/>
                    <a:pt x="266" y="162"/>
                  </a:cubicBezTo>
                  <a:cubicBezTo>
                    <a:pt x="266" y="157"/>
                    <a:pt x="266" y="157"/>
                    <a:pt x="266" y="157"/>
                  </a:cubicBezTo>
                  <a:cubicBezTo>
                    <a:pt x="266" y="95"/>
                    <a:pt x="219" y="49"/>
                    <a:pt x="158" y="49"/>
                  </a:cubicBezTo>
                  <a:cubicBezTo>
                    <a:pt x="96" y="49"/>
                    <a:pt x="50" y="96"/>
                    <a:pt x="50" y="157"/>
                  </a:cubicBezTo>
                  <a:cubicBezTo>
                    <a:pt x="50" y="219"/>
                    <a:pt x="97" y="265"/>
                    <a:pt x="158" y="265"/>
                  </a:cubicBezTo>
                  <a:cubicBezTo>
                    <a:pt x="1037" y="265"/>
                    <a:pt x="1037" y="265"/>
                    <a:pt x="1037" y="265"/>
                  </a:cubicBezTo>
                  <a:cubicBezTo>
                    <a:pt x="1039" y="265"/>
                    <a:pt x="1039" y="265"/>
                    <a:pt x="1039" y="265"/>
                  </a:cubicBezTo>
                  <a:cubicBezTo>
                    <a:pt x="1053" y="265"/>
                    <a:pt x="1064" y="276"/>
                    <a:pt x="1064" y="290"/>
                  </a:cubicBezTo>
                  <a:cubicBezTo>
                    <a:pt x="1064" y="304"/>
                    <a:pt x="1053" y="315"/>
                    <a:pt x="1039" y="315"/>
                  </a:cubicBezTo>
                  <a:cubicBezTo>
                    <a:pt x="158" y="315"/>
                    <a:pt x="158" y="315"/>
                    <a:pt x="158" y="315"/>
                  </a:cubicBezTo>
                  <a:cubicBezTo>
                    <a:pt x="70" y="315"/>
                    <a:pt x="0" y="244"/>
                    <a:pt x="0" y="157"/>
                  </a:cubicBezTo>
                  <a:cubicBezTo>
                    <a:pt x="0" y="70"/>
                    <a:pt x="71" y="0"/>
                    <a:pt x="15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05">
              <a:extLst>
                <a:ext uri="{FF2B5EF4-FFF2-40B4-BE49-F238E27FC236}">
                  <a16:creationId xmlns:a16="http://schemas.microsoft.com/office/drawing/2014/main" id="{ACB05613-3385-485F-804A-CCAB1C819E93}"/>
                </a:ext>
              </a:extLst>
            </p:cNvPr>
            <p:cNvSpPr>
              <a:spLocks/>
            </p:cNvSpPr>
            <p:nvPr/>
          </p:nvSpPr>
          <p:spPr bwMode="auto">
            <a:xfrm>
              <a:off x="10269538" y="4773613"/>
              <a:ext cx="392113" cy="153988"/>
            </a:xfrm>
            <a:custGeom>
              <a:avLst/>
              <a:gdLst>
                <a:gd name="T0" fmla="*/ 608 w 608"/>
                <a:gd name="T1" fmla="*/ 214 h 239"/>
                <a:gd name="T2" fmla="*/ 583 w 608"/>
                <a:gd name="T3" fmla="*/ 189 h 239"/>
                <a:gd name="T4" fmla="*/ 120 w 608"/>
                <a:gd name="T5" fmla="*/ 189 h 239"/>
                <a:gd name="T6" fmla="*/ 51 w 608"/>
                <a:gd name="T7" fmla="*/ 119 h 239"/>
                <a:gd name="T8" fmla="*/ 120 w 608"/>
                <a:gd name="T9" fmla="*/ 50 h 239"/>
                <a:gd name="T10" fmla="*/ 190 w 608"/>
                <a:gd name="T11" fmla="*/ 119 h 239"/>
                <a:gd name="T12" fmla="*/ 190 w 608"/>
                <a:gd name="T13" fmla="*/ 126 h 239"/>
                <a:gd name="T14" fmla="*/ 190 w 608"/>
                <a:gd name="T15" fmla="*/ 127 h 239"/>
                <a:gd name="T16" fmla="*/ 215 w 608"/>
                <a:gd name="T17" fmla="*/ 152 h 239"/>
                <a:gd name="T18" fmla="*/ 240 w 608"/>
                <a:gd name="T19" fmla="*/ 127 h 239"/>
                <a:gd name="T20" fmla="*/ 240 w 608"/>
                <a:gd name="T21" fmla="*/ 126 h 239"/>
                <a:gd name="T22" fmla="*/ 240 w 608"/>
                <a:gd name="T23" fmla="*/ 119 h 239"/>
                <a:gd name="T24" fmla="*/ 120 w 608"/>
                <a:gd name="T25" fmla="*/ 0 h 239"/>
                <a:gd name="T26" fmla="*/ 0 w 608"/>
                <a:gd name="T27" fmla="*/ 119 h 239"/>
                <a:gd name="T28" fmla="*/ 120 w 608"/>
                <a:gd name="T29" fmla="*/ 239 h 239"/>
                <a:gd name="T30" fmla="*/ 583 w 608"/>
                <a:gd name="T31" fmla="*/ 239 h 239"/>
                <a:gd name="T32" fmla="*/ 608 w 608"/>
                <a:gd name="T33" fmla="*/ 2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8" h="239">
                  <a:moveTo>
                    <a:pt x="608" y="214"/>
                  </a:moveTo>
                  <a:cubicBezTo>
                    <a:pt x="608" y="200"/>
                    <a:pt x="597" y="189"/>
                    <a:pt x="583" y="189"/>
                  </a:cubicBezTo>
                  <a:cubicBezTo>
                    <a:pt x="120" y="189"/>
                    <a:pt x="120" y="189"/>
                    <a:pt x="120" y="189"/>
                  </a:cubicBezTo>
                  <a:cubicBezTo>
                    <a:pt x="82" y="189"/>
                    <a:pt x="51" y="158"/>
                    <a:pt x="51" y="119"/>
                  </a:cubicBezTo>
                  <a:cubicBezTo>
                    <a:pt x="51" y="81"/>
                    <a:pt x="82" y="50"/>
                    <a:pt x="120" y="50"/>
                  </a:cubicBezTo>
                  <a:cubicBezTo>
                    <a:pt x="159" y="50"/>
                    <a:pt x="190" y="81"/>
                    <a:pt x="190" y="119"/>
                  </a:cubicBezTo>
                  <a:cubicBezTo>
                    <a:pt x="190" y="126"/>
                    <a:pt x="190" y="126"/>
                    <a:pt x="190" y="126"/>
                  </a:cubicBezTo>
                  <a:cubicBezTo>
                    <a:pt x="190" y="127"/>
                    <a:pt x="190" y="127"/>
                    <a:pt x="190" y="127"/>
                  </a:cubicBezTo>
                  <a:cubicBezTo>
                    <a:pt x="190" y="141"/>
                    <a:pt x="201" y="152"/>
                    <a:pt x="215" y="152"/>
                  </a:cubicBezTo>
                  <a:cubicBezTo>
                    <a:pt x="229" y="152"/>
                    <a:pt x="240" y="141"/>
                    <a:pt x="240" y="127"/>
                  </a:cubicBezTo>
                  <a:cubicBezTo>
                    <a:pt x="240" y="126"/>
                    <a:pt x="240" y="126"/>
                    <a:pt x="240" y="126"/>
                  </a:cubicBezTo>
                  <a:cubicBezTo>
                    <a:pt x="240" y="119"/>
                    <a:pt x="240" y="119"/>
                    <a:pt x="240" y="119"/>
                  </a:cubicBezTo>
                  <a:cubicBezTo>
                    <a:pt x="240" y="51"/>
                    <a:pt x="189" y="0"/>
                    <a:pt x="120" y="0"/>
                  </a:cubicBezTo>
                  <a:cubicBezTo>
                    <a:pt x="52" y="0"/>
                    <a:pt x="0" y="51"/>
                    <a:pt x="0" y="119"/>
                  </a:cubicBezTo>
                  <a:cubicBezTo>
                    <a:pt x="0" y="188"/>
                    <a:pt x="52" y="239"/>
                    <a:pt x="120" y="239"/>
                  </a:cubicBezTo>
                  <a:cubicBezTo>
                    <a:pt x="583" y="239"/>
                    <a:pt x="583" y="239"/>
                    <a:pt x="583" y="239"/>
                  </a:cubicBezTo>
                  <a:cubicBezTo>
                    <a:pt x="596" y="239"/>
                    <a:pt x="608" y="228"/>
                    <a:pt x="608" y="21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Rectangle 106">
              <a:extLst>
                <a:ext uri="{FF2B5EF4-FFF2-40B4-BE49-F238E27FC236}">
                  <a16:creationId xmlns:a16="http://schemas.microsoft.com/office/drawing/2014/main" id="{07E49A16-E2BE-4CF9-82E3-AED9D75F82D6}"/>
                </a:ext>
              </a:extLst>
            </p:cNvPr>
            <p:cNvSpPr>
              <a:spLocks noChangeArrowheads="1"/>
            </p:cNvSpPr>
            <p:nvPr/>
          </p:nvSpPr>
          <p:spPr bwMode="auto">
            <a:xfrm rot="10800000">
              <a:off x="9556997" y="4829016"/>
              <a:ext cx="4696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spc="150" normalizeH="0">
                  <a:ln>
                    <a:noFill/>
                  </a:ln>
                  <a:effectLst/>
                  <a:latin typeface="Arial Narrow" panose="020B0606020202030204" pitchFamily="34" charset="0"/>
                </a:rPr>
                <a:t>WIND</a:t>
              </a:r>
              <a:endParaRPr kumimoji="0" lang="en-US" altLang="en-US" sz="1800" b="0" i="0" u="none" strike="noStrike" cap="none" spc="150" normalizeH="0">
                <a:ln>
                  <a:noFill/>
                </a:ln>
                <a:effectLst/>
              </a:endParaRPr>
            </a:p>
          </p:txBody>
        </p:sp>
      </p:grpSp>
      <p:sp>
        <p:nvSpPr>
          <p:cNvPr id="542" name="Rectangle 12">
            <a:extLst>
              <a:ext uri="{FF2B5EF4-FFF2-40B4-BE49-F238E27FC236}">
                <a16:creationId xmlns:a16="http://schemas.microsoft.com/office/drawing/2014/main" id="{7A9487BC-15A7-4377-8496-1708A0F5C161}"/>
              </a:ext>
            </a:extLst>
          </p:cNvPr>
          <p:cNvSpPr>
            <a:spLocks noChangeArrowheads="1"/>
          </p:cNvSpPr>
          <p:nvPr/>
        </p:nvSpPr>
        <p:spPr bwMode="auto">
          <a:xfrm>
            <a:off x="1273736" y="1606550"/>
            <a:ext cx="1160463"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6">
            <a:extLst>
              <a:ext uri="{FF2B5EF4-FFF2-40B4-BE49-F238E27FC236}">
                <a16:creationId xmlns:a16="http://schemas.microsoft.com/office/drawing/2014/main" id="{61984C11-C3E6-4166-9CC8-0B2F8953C107}"/>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moveTo>
                  <a:pt x="1193" y="0"/>
                </a:moveTo>
                <a:lnTo>
                  <a:pt x="0" y="0"/>
                </a:lnTo>
                <a:lnTo>
                  <a:pt x="0" y="232"/>
                </a:lnTo>
                <a:lnTo>
                  <a:pt x="584" y="232"/>
                </a:lnTo>
                <a:lnTo>
                  <a:pt x="608" y="232"/>
                </a:lnTo>
                <a:lnTo>
                  <a:pt x="1193" y="232"/>
                </a:lnTo>
                <a:lnTo>
                  <a:pt x="1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4" name="Group 543">
            <a:extLst>
              <a:ext uri="{FF2B5EF4-FFF2-40B4-BE49-F238E27FC236}">
                <a16:creationId xmlns:a16="http://schemas.microsoft.com/office/drawing/2014/main" id="{F2183AF4-5B21-4754-8E97-A433EAF8B4A7}"/>
              </a:ext>
            </a:extLst>
          </p:cNvPr>
          <p:cNvGrpSpPr/>
          <p:nvPr/>
        </p:nvGrpSpPr>
        <p:grpSpPr>
          <a:xfrm>
            <a:off x="958851" y="3729407"/>
            <a:ext cx="1893888" cy="369888"/>
            <a:chOff x="958851" y="3832068"/>
            <a:chExt cx="1893888" cy="369888"/>
          </a:xfrm>
        </p:grpSpPr>
        <p:sp>
          <p:nvSpPr>
            <p:cNvPr id="545" name="Freeform 19">
              <a:extLst>
                <a:ext uri="{FF2B5EF4-FFF2-40B4-BE49-F238E27FC236}">
                  <a16:creationId xmlns:a16="http://schemas.microsoft.com/office/drawing/2014/main" id="{FD3E1195-0E1B-46B9-A965-AEF915E96AFA}"/>
                </a:ext>
              </a:extLst>
            </p:cNvPr>
            <p:cNvSpPr>
              <a:spLocks noEditPoints="1"/>
            </p:cNvSpPr>
            <p:nvPr/>
          </p:nvSpPr>
          <p:spPr bwMode="auto">
            <a:xfrm>
              <a:off x="958851" y="3832068"/>
              <a:ext cx="1893888" cy="369888"/>
            </a:xfrm>
            <a:custGeom>
              <a:avLst/>
              <a:gdLst>
                <a:gd name="T0" fmla="*/ 1193 w 1193"/>
                <a:gd name="T1" fmla="*/ 233 h 233"/>
                <a:gd name="T2" fmla="*/ 0 w 1193"/>
                <a:gd name="T3" fmla="*/ 233 h 233"/>
                <a:gd name="T4" fmla="*/ 0 w 1193"/>
                <a:gd name="T5" fmla="*/ 0 h 233"/>
                <a:gd name="T6" fmla="*/ 1193 w 1193"/>
                <a:gd name="T7" fmla="*/ 0 h 233"/>
                <a:gd name="T8" fmla="*/ 1193 w 1193"/>
                <a:gd name="T9" fmla="*/ 233 h 233"/>
                <a:gd name="T10" fmla="*/ 24 w 1193"/>
                <a:gd name="T11" fmla="*/ 209 h 233"/>
                <a:gd name="T12" fmla="*/ 1169 w 1193"/>
                <a:gd name="T13" fmla="*/ 209 h 233"/>
                <a:gd name="T14" fmla="*/ 1169 w 1193"/>
                <a:gd name="T15" fmla="*/ 24 h 233"/>
                <a:gd name="T16" fmla="*/ 24 w 1193"/>
                <a:gd name="T17" fmla="*/ 24 h 233"/>
                <a:gd name="T18" fmla="*/ 24 w 1193"/>
                <a:gd name="T19" fmla="*/ 20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3" h="233">
                  <a:moveTo>
                    <a:pt x="1193" y="233"/>
                  </a:moveTo>
                  <a:lnTo>
                    <a:pt x="0" y="233"/>
                  </a:lnTo>
                  <a:lnTo>
                    <a:pt x="0" y="0"/>
                  </a:lnTo>
                  <a:lnTo>
                    <a:pt x="1193" y="0"/>
                  </a:lnTo>
                  <a:lnTo>
                    <a:pt x="1193" y="233"/>
                  </a:lnTo>
                  <a:close/>
                  <a:moveTo>
                    <a:pt x="24" y="209"/>
                  </a:moveTo>
                  <a:lnTo>
                    <a:pt x="1169" y="209"/>
                  </a:lnTo>
                  <a:lnTo>
                    <a:pt x="1169" y="24"/>
                  </a:lnTo>
                  <a:lnTo>
                    <a:pt x="24" y="24"/>
                  </a:lnTo>
                  <a:lnTo>
                    <a:pt x="24" y="20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Rectangle 18">
              <a:extLst>
                <a:ext uri="{FF2B5EF4-FFF2-40B4-BE49-F238E27FC236}">
                  <a16:creationId xmlns:a16="http://schemas.microsoft.com/office/drawing/2014/main" id="{9CEF88F0-FCEB-4138-B676-0A907CE755A6}"/>
                </a:ext>
              </a:extLst>
            </p:cNvPr>
            <p:cNvSpPr>
              <a:spLocks noChangeArrowheads="1"/>
            </p:cNvSpPr>
            <p:nvPr/>
          </p:nvSpPr>
          <p:spPr bwMode="auto">
            <a:xfrm>
              <a:off x="1637293" y="3932000"/>
              <a:ext cx="537005"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latin typeface="Arial" panose="020B0604020202020204" pitchFamily="34" charset="0"/>
                </a:rPr>
                <a:t>Buff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547" name="Group 546">
            <a:extLst>
              <a:ext uri="{FF2B5EF4-FFF2-40B4-BE49-F238E27FC236}">
                <a16:creationId xmlns:a16="http://schemas.microsoft.com/office/drawing/2014/main" id="{CD872440-848A-497C-8DB0-B4598E306AF3}"/>
              </a:ext>
            </a:extLst>
          </p:cNvPr>
          <p:cNvGrpSpPr/>
          <p:nvPr/>
        </p:nvGrpSpPr>
        <p:grpSpPr>
          <a:xfrm>
            <a:off x="960438" y="1476375"/>
            <a:ext cx="1893888" cy="576263"/>
            <a:chOff x="960438" y="1476375"/>
            <a:chExt cx="1893888" cy="576263"/>
          </a:xfrm>
        </p:grpSpPr>
        <p:grpSp>
          <p:nvGrpSpPr>
            <p:cNvPr id="548" name="Group 547">
              <a:extLst>
                <a:ext uri="{FF2B5EF4-FFF2-40B4-BE49-F238E27FC236}">
                  <a16:creationId xmlns:a16="http://schemas.microsoft.com/office/drawing/2014/main" id="{BC7CDA37-1A82-4876-BF17-20B98795E38B}"/>
                </a:ext>
              </a:extLst>
            </p:cNvPr>
            <p:cNvGrpSpPr/>
            <p:nvPr/>
          </p:nvGrpSpPr>
          <p:grpSpPr>
            <a:xfrm>
              <a:off x="960438" y="1476375"/>
              <a:ext cx="1893888" cy="576263"/>
              <a:chOff x="960438" y="1476375"/>
              <a:chExt cx="1893888" cy="576263"/>
            </a:xfrm>
          </p:grpSpPr>
          <p:sp>
            <p:nvSpPr>
              <p:cNvPr id="550" name="Freeform 11">
                <a:extLst>
                  <a:ext uri="{FF2B5EF4-FFF2-40B4-BE49-F238E27FC236}">
                    <a16:creationId xmlns:a16="http://schemas.microsoft.com/office/drawing/2014/main" id="{55572D19-C98B-4A95-B530-9F0932E7139D}"/>
                  </a:ext>
                </a:extLst>
              </p:cNvPr>
              <p:cNvSpPr>
                <a:spLocks/>
              </p:cNvSpPr>
              <p:nvPr/>
            </p:nvSpPr>
            <p:spPr bwMode="auto">
              <a:xfrm>
                <a:off x="1817688" y="1844675"/>
                <a:ext cx="179388" cy="207963"/>
              </a:xfrm>
              <a:custGeom>
                <a:avLst/>
                <a:gdLst>
                  <a:gd name="T0" fmla="*/ 167 w 277"/>
                  <a:gd name="T1" fmla="*/ 0 h 322"/>
                  <a:gd name="T2" fmla="*/ 107 w 277"/>
                  <a:gd name="T3" fmla="*/ 0 h 322"/>
                  <a:gd name="T4" fmla="*/ 107 w 277"/>
                  <a:gd name="T5" fmla="*/ 211 h 322"/>
                  <a:gd name="T6" fmla="*/ 55 w 277"/>
                  <a:gd name="T7" fmla="*/ 150 h 322"/>
                  <a:gd name="T8" fmla="*/ 33 w 277"/>
                  <a:gd name="T9" fmla="*/ 140 h 322"/>
                  <a:gd name="T10" fmla="*/ 13 w 277"/>
                  <a:gd name="T11" fmla="*/ 147 h 322"/>
                  <a:gd name="T12" fmla="*/ 10 w 277"/>
                  <a:gd name="T13" fmla="*/ 189 h 322"/>
                  <a:gd name="T14" fmla="*/ 116 w 277"/>
                  <a:gd name="T15" fmla="*/ 311 h 322"/>
                  <a:gd name="T16" fmla="*/ 138 w 277"/>
                  <a:gd name="T17" fmla="*/ 322 h 322"/>
                  <a:gd name="T18" fmla="*/ 160 w 277"/>
                  <a:gd name="T19" fmla="*/ 311 h 322"/>
                  <a:gd name="T20" fmla="*/ 266 w 277"/>
                  <a:gd name="T21" fmla="*/ 189 h 322"/>
                  <a:gd name="T22" fmla="*/ 263 w 277"/>
                  <a:gd name="T23" fmla="*/ 147 h 322"/>
                  <a:gd name="T24" fmla="*/ 244 w 277"/>
                  <a:gd name="T25" fmla="*/ 140 h 322"/>
                  <a:gd name="T26" fmla="*/ 221 w 277"/>
                  <a:gd name="T27" fmla="*/ 150 h 322"/>
                  <a:gd name="T28" fmla="*/ 167 w 277"/>
                  <a:gd name="T29" fmla="*/ 214 h 322"/>
                  <a:gd name="T30" fmla="*/ 167 w 277"/>
                  <a:gd name="T3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2">
                    <a:moveTo>
                      <a:pt x="167" y="0"/>
                    </a:moveTo>
                    <a:cubicBezTo>
                      <a:pt x="107" y="0"/>
                      <a:pt x="107" y="0"/>
                      <a:pt x="107" y="0"/>
                    </a:cubicBezTo>
                    <a:cubicBezTo>
                      <a:pt x="107" y="211"/>
                      <a:pt x="107" y="211"/>
                      <a:pt x="107" y="211"/>
                    </a:cubicBezTo>
                    <a:cubicBezTo>
                      <a:pt x="55" y="150"/>
                      <a:pt x="55" y="150"/>
                      <a:pt x="55" y="150"/>
                    </a:cubicBezTo>
                    <a:cubicBezTo>
                      <a:pt x="49" y="144"/>
                      <a:pt x="41" y="140"/>
                      <a:pt x="33" y="140"/>
                    </a:cubicBezTo>
                    <a:cubicBezTo>
                      <a:pt x="26" y="140"/>
                      <a:pt x="19" y="142"/>
                      <a:pt x="13" y="147"/>
                    </a:cubicBezTo>
                    <a:cubicBezTo>
                      <a:pt x="1" y="158"/>
                      <a:pt x="0" y="177"/>
                      <a:pt x="10" y="189"/>
                    </a:cubicBezTo>
                    <a:cubicBezTo>
                      <a:pt x="116" y="311"/>
                      <a:pt x="116" y="311"/>
                      <a:pt x="116" y="311"/>
                    </a:cubicBezTo>
                    <a:cubicBezTo>
                      <a:pt x="121" y="318"/>
                      <a:pt x="130" y="322"/>
                      <a:pt x="138" y="322"/>
                    </a:cubicBezTo>
                    <a:cubicBezTo>
                      <a:pt x="147" y="322"/>
                      <a:pt x="155" y="318"/>
                      <a:pt x="160" y="311"/>
                    </a:cubicBezTo>
                    <a:cubicBezTo>
                      <a:pt x="266" y="189"/>
                      <a:pt x="266" y="189"/>
                      <a:pt x="266" y="189"/>
                    </a:cubicBezTo>
                    <a:cubicBezTo>
                      <a:pt x="277" y="177"/>
                      <a:pt x="275" y="158"/>
                      <a:pt x="263" y="147"/>
                    </a:cubicBezTo>
                    <a:cubicBezTo>
                      <a:pt x="257" y="142"/>
                      <a:pt x="251" y="140"/>
                      <a:pt x="244" y="140"/>
                    </a:cubicBezTo>
                    <a:cubicBezTo>
                      <a:pt x="235" y="140"/>
                      <a:pt x="227" y="144"/>
                      <a:pt x="221" y="150"/>
                    </a:cubicBezTo>
                    <a:cubicBezTo>
                      <a:pt x="167" y="214"/>
                      <a:pt x="167" y="214"/>
                      <a:pt x="167" y="214"/>
                    </a:cubicBezTo>
                    <a:cubicBezTo>
                      <a:pt x="167" y="0"/>
                      <a:pt x="167" y="0"/>
                      <a:pt x="167"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51" name="Freeform 15">
                <a:extLst>
                  <a:ext uri="{FF2B5EF4-FFF2-40B4-BE49-F238E27FC236}">
                    <a16:creationId xmlns:a16="http://schemas.microsoft.com/office/drawing/2014/main" id="{A071519B-6B13-4269-B1A2-CC34EC8CDD40}"/>
                  </a:ext>
                </a:extLst>
              </p:cNvPr>
              <p:cNvSpPr>
                <a:spLocks noEditPoints="1"/>
              </p:cNvSpPr>
              <p:nvPr/>
            </p:nvSpPr>
            <p:spPr bwMode="auto">
              <a:xfrm>
                <a:off x="960438" y="1476375"/>
                <a:ext cx="1893888" cy="368300"/>
              </a:xfrm>
              <a:custGeom>
                <a:avLst/>
                <a:gdLst>
                  <a:gd name="T0" fmla="*/ 24 w 1193"/>
                  <a:gd name="T1" fmla="*/ 208 h 232"/>
                  <a:gd name="T2" fmla="*/ 24 w 1193"/>
                  <a:gd name="T3" fmla="*/ 24 h 232"/>
                  <a:gd name="T4" fmla="*/ 1169 w 1193"/>
                  <a:gd name="T5" fmla="*/ 24 h 232"/>
                  <a:gd name="T6" fmla="*/ 1169 w 1193"/>
                  <a:gd name="T7" fmla="*/ 208 h 232"/>
                  <a:gd name="T8" fmla="*/ 24 w 1193"/>
                  <a:gd name="T9" fmla="*/ 208 h 232"/>
                  <a:gd name="T10" fmla="*/ 1193 w 1193"/>
                  <a:gd name="T11" fmla="*/ 0 h 232"/>
                  <a:gd name="T12" fmla="*/ 0 w 1193"/>
                  <a:gd name="T13" fmla="*/ 0 h 232"/>
                  <a:gd name="T14" fmla="*/ 0 w 1193"/>
                  <a:gd name="T15" fmla="*/ 232 h 232"/>
                  <a:gd name="T16" fmla="*/ 584 w 1193"/>
                  <a:gd name="T17" fmla="*/ 232 h 232"/>
                  <a:gd name="T18" fmla="*/ 608 w 1193"/>
                  <a:gd name="T19" fmla="*/ 232 h 232"/>
                  <a:gd name="T20" fmla="*/ 1193 w 1193"/>
                  <a:gd name="T21" fmla="*/ 232 h 232"/>
                  <a:gd name="T22" fmla="*/ 1193 w 1193"/>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3" h="232">
                    <a:moveTo>
                      <a:pt x="24" y="208"/>
                    </a:moveTo>
                    <a:lnTo>
                      <a:pt x="24" y="24"/>
                    </a:lnTo>
                    <a:lnTo>
                      <a:pt x="1169" y="24"/>
                    </a:lnTo>
                    <a:lnTo>
                      <a:pt x="1169" y="208"/>
                    </a:lnTo>
                    <a:lnTo>
                      <a:pt x="24" y="208"/>
                    </a:lnTo>
                    <a:close/>
                    <a:moveTo>
                      <a:pt x="1193" y="0"/>
                    </a:moveTo>
                    <a:lnTo>
                      <a:pt x="0" y="0"/>
                    </a:lnTo>
                    <a:lnTo>
                      <a:pt x="0" y="232"/>
                    </a:lnTo>
                    <a:lnTo>
                      <a:pt x="584" y="232"/>
                    </a:lnTo>
                    <a:lnTo>
                      <a:pt x="608" y="232"/>
                    </a:lnTo>
                    <a:lnTo>
                      <a:pt x="1193" y="232"/>
                    </a:lnTo>
                    <a:lnTo>
                      <a:pt x="119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49" name="Rectangle 14">
              <a:extLst>
                <a:ext uri="{FF2B5EF4-FFF2-40B4-BE49-F238E27FC236}">
                  <a16:creationId xmlns:a16="http://schemas.microsoft.com/office/drawing/2014/main" id="{08C14B3C-890D-4F7E-B719-1BA4C054A38D}"/>
                </a:ext>
              </a:extLst>
            </p:cNvPr>
            <p:cNvSpPr>
              <a:spLocks noChangeArrowheads="1"/>
            </p:cNvSpPr>
            <p:nvPr/>
          </p:nvSpPr>
          <p:spPr bwMode="auto">
            <a:xfrm>
              <a:off x="1316547" y="1574720"/>
              <a:ext cx="11816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200" b="1"/>
                <a:t>W</a:t>
              </a:r>
              <a:r>
                <a:rPr kumimoji="0" lang="en-US" altLang="en-US" sz="1200" b="1" i="0" u="none" strike="noStrike" cap="none" normalizeH="0" baseline="0">
                  <a:ln>
                    <a:noFill/>
                  </a:ln>
                  <a:effectLst/>
                  <a:latin typeface="Arial" panose="020B0604020202020204" pitchFamily="34" charset="0"/>
                </a:rPr>
                <a:t>ind Direction?</a:t>
              </a:r>
              <a:endParaRPr kumimoji="0" lang="en-US" altLang="en-US" sz="1800" b="0" i="0" u="none" strike="noStrike" cap="none" normalizeH="0" baseline="0">
                <a:ln>
                  <a:noFill/>
                </a:ln>
                <a:effectLst/>
                <a:latin typeface="Arial" panose="020B0604020202020204" pitchFamily="34" charset="0"/>
              </a:endParaRPr>
            </a:p>
          </p:txBody>
        </p:sp>
      </p:grpSp>
      <p:sp>
        <p:nvSpPr>
          <p:cNvPr id="553" name="TextBox 552">
            <a:extLst>
              <a:ext uri="{FF2B5EF4-FFF2-40B4-BE49-F238E27FC236}">
                <a16:creationId xmlns:a16="http://schemas.microsoft.com/office/drawing/2014/main" id="{12C29978-2927-47EF-A0BF-876B1320B75E}"/>
              </a:ext>
            </a:extLst>
          </p:cNvPr>
          <p:cNvSpPr txBox="1"/>
          <p:nvPr/>
        </p:nvSpPr>
        <p:spPr>
          <a:xfrm>
            <a:off x="1201971" y="2989115"/>
            <a:ext cx="2037145" cy="369332"/>
          </a:xfrm>
          <a:prstGeom prst="rect">
            <a:avLst/>
          </a:prstGeom>
          <a:noFill/>
        </p:spPr>
        <p:txBody>
          <a:bodyPr wrap="square" rtlCol="0">
            <a:spAutoFit/>
          </a:bodyPr>
          <a:lstStyle/>
          <a:p>
            <a:pPr algn="ctr"/>
            <a:r>
              <a:rPr lang="en-US">
                <a:solidFill>
                  <a:schemeClr val="accent6"/>
                </a:solidFill>
                <a:latin typeface="+mj-lt"/>
              </a:rPr>
              <a:t>SPRAY</a:t>
            </a:r>
          </a:p>
        </p:txBody>
      </p:sp>
      <p:sp>
        <p:nvSpPr>
          <p:cNvPr id="554" name="Rectangle 553">
            <a:extLst>
              <a:ext uri="{FF2B5EF4-FFF2-40B4-BE49-F238E27FC236}">
                <a16:creationId xmlns:a16="http://schemas.microsoft.com/office/drawing/2014/main" id="{21E8F4E8-657B-4021-B70F-19E584E8E633}"/>
              </a:ext>
            </a:extLst>
          </p:cNvPr>
          <p:cNvSpPr/>
          <p:nvPr/>
        </p:nvSpPr>
        <p:spPr>
          <a:xfrm>
            <a:off x="721182" y="1346479"/>
            <a:ext cx="2451798" cy="2284503"/>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951D39B4-0D72-4F23-A5E8-9F6AE904D085}"/>
              </a:ext>
            </a:extLst>
          </p:cNvPr>
          <p:cNvPicPr>
            <a:picLocks noChangeAspect="1"/>
          </p:cNvPicPr>
          <p:nvPr/>
        </p:nvPicPr>
        <p:blipFill>
          <a:blip r:embed="rId3"/>
          <a:stretch>
            <a:fillRect/>
          </a:stretch>
        </p:blipFill>
        <p:spPr>
          <a:xfrm>
            <a:off x="927795" y="6362700"/>
            <a:ext cx="1171575" cy="495300"/>
          </a:xfrm>
          <a:prstGeom prst="rect">
            <a:avLst/>
          </a:prstGeom>
        </p:spPr>
      </p:pic>
      <p:pic>
        <p:nvPicPr>
          <p:cNvPr id="373" name="Picture 372">
            <a:extLst>
              <a:ext uri="{FF2B5EF4-FFF2-40B4-BE49-F238E27FC236}">
                <a16:creationId xmlns:a16="http://schemas.microsoft.com/office/drawing/2014/main" id="{70C0BCBB-91CC-4B4E-8DEE-A21D990379F9}"/>
              </a:ext>
            </a:extLst>
          </p:cNvPr>
          <p:cNvPicPr>
            <a:picLocks noChangeAspect="1"/>
          </p:cNvPicPr>
          <p:nvPr/>
        </p:nvPicPr>
        <p:blipFill>
          <a:blip r:embed="rId4"/>
          <a:stretch>
            <a:fillRect/>
          </a:stretch>
        </p:blipFill>
        <p:spPr>
          <a:xfrm>
            <a:off x="838200" y="6393164"/>
            <a:ext cx="1333500" cy="378995"/>
          </a:xfrm>
          <a:prstGeom prst="rect">
            <a:avLst/>
          </a:prstGeom>
        </p:spPr>
      </p:pic>
      <p:sp>
        <p:nvSpPr>
          <p:cNvPr id="377" name="Rectangle 41">
            <a:extLst>
              <a:ext uri="{FF2B5EF4-FFF2-40B4-BE49-F238E27FC236}">
                <a16:creationId xmlns:a16="http://schemas.microsoft.com/office/drawing/2014/main" id="{1AAE7DBA-E25D-4A44-A6CB-AB0D2F5AD47F}"/>
              </a:ext>
            </a:extLst>
          </p:cNvPr>
          <p:cNvSpPr>
            <a:spLocks noChangeArrowheads="1"/>
          </p:cNvSpPr>
          <p:nvPr/>
        </p:nvSpPr>
        <p:spPr bwMode="auto">
          <a:xfrm>
            <a:off x="6550181" y="3590668"/>
            <a:ext cx="155747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r>
              <a:rPr lang="en-US" altLang="en-US" sz="1400" b="1" kern="0" spc="140">
                <a:solidFill>
                  <a:schemeClr val="bg1"/>
                </a:solidFill>
                <a:latin typeface="Arial Narrow"/>
              </a:rPr>
              <a:t>DICAMBA </a:t>
            </a:r>
            <a:r>
              <a:rPr lang="en-US" altLang="en-US" sz="1400" b="1" kern="0" spc="140" dirty="0">
                <a:solidFill>
                  <a:schemeClr val="bg1"/>
                </a:solidFill>
                <a:latin typeface="Arial Narrow"/>
              </a:rPr>
              <a:t>TOLERANT CROP</a:t>
            </a:r>
          </a:p>
          <a:p>
            <a:pPr algn="ctr" eaLnBrk="1" fontAlgn="auto" hangingPunct="1">
              <a:spcBef>
                <a:spcPts val="0"/>
              </a:spcBef>
              <a:spcAft>
                <a:spcPts val="0"/>
              </a:spcAft>
              <a:defRPr/>
            </a:pPr>
            <a:r>
              <a:rPr lang="en-US" altLang="en-US" sz="1400" b="1" kern="0" spc="140" dirty="0">
                <a:solidFill>
                  <a:schemeClr val="bg1"/>
                </a:solidFill>
                <a:latin typeface="Arial Narrow"/>
              </a:rPr>
              <a:t>APPROVED APPLICATION</a:t>
            </a:r>
          </a:p>
        </p:txBody>
      </p:sp>
      <p:sp>
        <p:nvSpPr>
          <p:cNvPr id="385" name="Rectangle 106">
            <a:extLst>
              <a:ext uri="{FF2B5EF4-FFF2-40B4-BE49-F238E27FC236}">
                <a16:creationId xmlns:a16="http://schemas.microsoft.com/office/drawing/2014/main" id="{3FDE7E58-FD31-48C8-85B8-7DF8F5E80D7B}"/>
              </a:ext>
            </a:extLst>
          </p:cNvPr>
          <p:cNvSpPr>
            <a:spLocks noChangeArrowheads="1"/>
          </p:cNvSpPr>
          <p:nvPr/>
        </p:nvSpPr>
        <p:spPr bwMode="auto">
          <a:xfrm>
            <a:off x="567104" y="6033669"/>
            <a:ext cx="1136028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en-US" sz="1400" b="1" spc="150">
                <a:latin typeface="Arial Narrow" panose="020B0606020202030204" pitchFamily="34" charset="0"/>
              </a:rPr>
              <a:t>*BUFFER COMPOSITION IS 310’ DOWNWIND (MAY BE REDUCED WHEN UTILIZING QUALIFIED DRT) WITH 57’ OMNIDIRECTIONAL. </a:t>
            </a:r>
          </a:p>
        </p:txBody>
      </p:sp>
      <p:grpSp>
        <p:nvGrpSpPr>
          <p:cNvPr id="7" name="Group 6">
            <a:extLst>
              <a:ext uri="{FF2B5EF4-FFF2-40B4-BE49-F238E27FC236}">
                <a16:creationId xmlns:a16="http://schemas.microsoft.com/office/drawing/2014/main" id="{370AFD66-44E3-456D-8B18-011BA90402A3}"/>
              </a:ext>
            </a:extLst>
          </p:cNvPr>
          <p:cNvGrpSpPr/>
          <p:nvPr/>
        </p:nvGrpSpPr>
        <p:grpSpPr>
          <a:xfrm>
            <a:off x="6100008" y="3136900"/>
            <a:ext cx="2400264" cy="2146465"/>
            <a:chOff x="6100008" y="3136900"/>
            <a:chExt cx="2400264" cy="2146465"/>
          </a:xfrm>
        </p:grpSpPr>
        <p:sp>
          <p:nvSpPr>
            <p:cNvPr id="387" name="Rectangle 386">
              <a:extLst>
                <a:ext uri="{FF2B5EF4-FFF2-40B4-BE49-F238E27FC236}">
                  <a16:creationId xmlns:a16="http://schemas.microsoft.com/office/drawing/2014/main" id="{2CE7BF08-9AFB-47BA-9A1C-ACD083226191}"/>
                </a:ext>
              </a:extLst>
            </p:cNvPr>
            <p:cNvSpPr/>
            <p:nvPr/>
          </p:nvSpPr>
          <p:spPr>
            <a:xfrm>
              <a:off x="6100008" y="3136900"/>
              <a:ext cx="200780" cy="2146300"/>
            </a:xfrm>
            <a:prstGeom prst="rect">
              <a:avLst/>
            </a:prstGeom>
            <a:pattFill prst="wdUpDiag">
              <a:fgClr>
                <a:schemeClr val="bg1"/>
              </a:fgClr>
              <a:bgClr>
                <a:schemeClr val="bg1">
                  <a:lumMod val="75000"/>
                </a:schemeClr>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Rectangle 106">
              <a:extLst>
                <a:ext uri="{FF2B5EF4-FFF2-40B4-BE49-F238E27FC236}">
                  <a16:creationId xmlns:a16="http://schemas.microsoft.com/office/drawing/2014/main" id="{E3D8DF04-0CA3-4138-9E0D-575E7372BA44}"/>
                </a:ext>
              </a:extLst>
            </p:cNvPr>
            <p:cNvSpPr>
              <a:spLocks noChangeArrowheads="1"/>
            </p:cNvSpPr>
            <p:nvPr/>
          </p:nvSpPr>
          <p:spPr bwMode="auto">
            <a:xfrm rot="16200000">
              <a:off x="5901775" y="4120404"/>
              <a:ext cx="601126" cy="153888"/>
            </a:xfrm>
            <a:prstGeom prst="rect">
              <a:avLst/>
            </a:prstGeom>
            <a:solidFill>
              <a:schemeClr val="bg1">
                <a:lumMod val="75000"/>
              </a:schemeClr>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spc="150" normalizeH="0">
                  <a:ln>
                    <a:noFill/>
                  </a:ln>
                  <a:effectLst/>
                  <a:latin typeface="Arial Narrow" panose="020B0606020202030204" pitchFamily="34" charset="0"/>
                </a:rPr>
                <a:t>BUFFER*</a:t>
              </a:r>
              <a:endParaRPr kumimoji="0" lang="en-US" altLang="en-US" sz="1100" b="0" i="0" u="none" strike="noStrike" cap="none" spc="150" normalizeH="0">
                <a:ln>
                  <a:noFill/>
                </a:ln>
                <a:effectLst/>
              </a:endParaRPr>
            </a:p>
          </p:txBody>
        </p:sp>
        <p:sp>
          <p:nvSpPr>
            <p:cNvPr id="389" name="Rectangle 388">
              <a:extLst>
                <a:ext uri="{FF2B5EF4-FFF2-40B4-BE49-F238E27FC236}">
                  <a16:creationId xmlns:a16="http://schemas.microsoft.com/office/drawing/2014/main" id="{254939AB-92EB-46A6-9E24-5B6E7AF850BC}"/>
                </a:ext>
              </a:extLst>
            </p:cNvPr>
            <p:cNvSpPr/>
            <p:nvPr/>
          </p:nvSpPr>
          <p:spPr>
            <a:xfrm rot="16200000">
              <a:off x="7331615" y="2156731"/>
              <a:ext cx="186253" cy="2151061"/>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Rectangle 106">
              <a:extLst>
                <a:ext uri="{FF2B5EF4-FFF2-40B4-BE49-F238E27FC236}">
                  <a16:creationId xmlns:a16="http://schemas.microsoft.com/office/drawing/2014/main" id="{7C0692FB-1C4A-4411-BD9D-C3D023F5E8C1}"/>
                </a:ext>
              </a:extLst>
            </p:cNvPr>
            <p:cNvSpPr>
              <a:spLocks noChangeArrowheads="1"/>
            </p:cNvSpPr>
            <p:nvPr/>
          </p:nvSpPr>
          <p:spPr bwMode="auto">
            <a:xfrm>
              <a:off x="6806912" y="3149335"/>
              <a:ext cx="1245534" cy="153888"/>
            </a:xfrm>
            <a:prstGeom prst="rect">
              <a:avLst/>
            </a:prstGeom>
            <a:solidFill>
              <a:schemeClr val="accent6"/>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spc="150" normalizeH="0">
                  <a:ln>
                    <a:noFill/>
                  </a:ln>
                  <a:solidFill>
                    <a:schemeClr val="bg1"/>
                  </a:solidFill>
                  <a:effectLst/>
                  <a:latin typeface="Arial Narrow" panose="020B0606020202030204" pitchFamily="34" charset="0"/>
                </a:rPr>
                <a:t>IN-FIELD BUFFER*</a:t>
              </a:r>
              <a:endParaRPr kumimoji="0" lang="en-US" altLang="en-US" sz="1100" b="0" i="0" u="none" strike="noStrike" cap="none" spc="150" normalizeH="0">
                <a:ln>
                  <a:noFill/>
                </a:ln>
                <a:solidFill>
                  <a:schemeClr val="bg1"/>
                </a:solidFill>
                <a:effectLst/>
              </a:endParaRPr>
            </a:p>
          </p:txBody>
        </p:sp>
        <p:sp>
          <p:nvSpPr>
            <p:cNvPr id="393" name="Rectangle 392">
              <a:extLst>
                <a:ext uri="{FF2B5EF4-FFF2-40B4-BE49-F238E27FC236}">
                  <a16:creationId xmlns:a16="http://schemas.microsoft.com/office/drawing/2014/main" id="{F5FD4426-92E2-4CA4-8AF5-E4EFF5E1B45B}"/>
                </a:ext>
              </a:extLst>
            </p:cNvPr>
            <p:cNvSpPr/>
            <p:nvPr/>
          </p:nvSpPr>
          <p:spPr>
            <a:xfrm>
              <a:off x="8311165" y="3153942"/>
              <a:ext cx="186253" cy="1463727"/>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Rectangle 393">
              <a:extLst>
                <a:ext uri="{FF2B5EF4-FFF2-40B4-BE49-F238E27FC236}">
                  <a16:creationId xmlns:a16="http://schemas.microsoft.com/office/drawing/2014/main" id="{9E9DDDB3-3B5E-4FB5-AAFD-C05648C4C9B2}"/>
                </a:ext>
              </a:extLst>
            </p:cNvPr>
            <p:cNvSpPr/>
            <p:nvPr/>
          </p:nvSpPr>
          <p:spPr>
            <a:xfrm rot="5400000">
              <a:off x="6401090" y="4707059"/>
              <a:ext cx="524846" cy="627766"/>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5" name="Rectangle 394">
              <a:extLst>
                <a:ext uri="{FF2B5EF4-FFF2-40B4-BE49-F238E27FC236}">
                  <a16:creationId xmlns:a16="http://schemas.microsoft.com/office/drawing/2014/main" id="{37C1E46C-FDC7-4ED1-BF6F-0CA6B66F5119}"/>
                </a:ext>
              </a:extLst>
            </p:cNvPr>
            <p:cNvSpPr/>
            <p:nvPr/>
          </p:nvSpPr>
          <p:spPr>
            <a:xfrm rot="3989942">
              <a:off x="7397379" y="3896466"/>
              <a:ext cx="487561" cy="1655404"/>
            </a:xfrm>
            <a:prstGeom prst="rect">
              <a:avLst/>
            </a:prstGeom>
            <a:pattFill prst="wdUpDiag">
              <a:fgClr>
                <a:schemeClr val="bg1"/>
              </a:fgClr>
              <a:bgClr>
                <a:schemeClr val="accent6"/>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1953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74"/>
                                        </p:tgtEl>
                                        <p:attrNameLst>
                                          <p:attrName>style.visibility</p:attrName>
                                        </p:attrNameLst>
                                      </p:cBhvr>
                                      <p:to>
                                        <p:strVal val="visible"/>
                                      </p:to>
                                    </p:set>
                                    <p:animEffect transition="in" filter="fade">
                                      <p:cBhvr>
                                        <p:cTn id="7" dur="500"/>
                                        <p:tgtEl>
                                          <p:spTgt spid="374"/>
                                        </p:tgtEl>
                                      </p:cBhvr>
                                    </p:animEffect>
                                    <p:anim calcmode="lin" valueType="num">
                                      <p:cBhvr>
                                        <p:cTn id="8" dur="500" fill="hold"/>
                                        <p:tgtEl>
                                          <p:spTgt spid="374"/>
                                        </p:tgtEl>
                                        <p:attrNameLst>
                                          <p:attrName>ppt_x</p:attrName>
                                        </p:attrNameLst>
                                      </p:cBhvr>
                                      <p:tavLst>
                                        <p:tav tm="0">
                                          <p:val>
                                            <p:strVal val="#ppt_x"/>
                                          </p:val>
                                        </p:tav>
                                        <p:tav tm="100000">
                                          <p:val>
                                            <p:strVal val="#ppt_x"/>
                                          </p:val>
                                        </p:tav>
                                      </p:tavLst>
                                    </p:anim>
                                    <p:anim calcmode="lin" valueType="num">
                                      <p:cBhvr>
                                        <p:cTn id="9" dur="500" fill="hold"/>
                                        <p:tgtEl>
                                          <p:spTgt spid="37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553"/>
                                        </p:tgtEl>
                                        <p:attrNameLst>
                                          <p:attrName>style.visibility</p:attrName>
                                        </p:attrNameLst>
                                      </p:cBhvr>
                                      <p:to>
                                        <p:strVal val="visible"/>
                                      </p:to>
                                    </p:set>
                                    <p:animEffect transition="in" filter="fade">
                                      <p:cBhvr>
                                        <p:cTn id="13" dur="500"/>
                                        <p:tgtEl>
                                          <p:spTgt spid="55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44"/>
                                        </p:tgtEl>
                                        <p:attrNameLst>
                                          <p:attrName>style.visibility</p:attrName>
                                        </p:attrNameLst>
                                      </p:cBhvr>
                                      <p:to>
                                        <p:strVal val="visible"/>
                                      </p:to>
                                    </p:set>
                                    <p:animEffect transition="in" filter="fade">
                                      <p:cBhvr>
                                        <p:cTn id="18" dur="500"/>
                                        <p:tgtEl>
                                          <p:spTgt spid="54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54"/>
                                        </p:tgtEl>
                                        <p:attrNameLst>
                                          <p:attrName>style.visibility</p:attrName>
                                        </p:attrNameLst>
                                      </p:cBhvr>
                                      <p:to>
                                        <p:strVal val="visible"/>
                                      </p:to>
                                    </p:set>
                                    <p:animEffect transition="in" filter="fade">
                                      <p:cBhvr>
                                        <p:cTn id="21" dur="500"/>
                                        <p:tgtEl>
                                          <p:spTgt spid="554"/>
                                        </p:tgtEl>
                                      </p:cBhvr>
                                    </p:animEffect>
                                  </p:childTnLst>
                                </p:cTn>
                              </p:par>
                              <p:par>
                                <p:cTn id="22" presetID="42" presetClass="entr" presetSubtype="0" fill="hold" grpId="0" nodeType="withEffect">
                                  <p:stCondLst>
                                    <p:cond delay="0"/>
                                  </p:stCondLst>
                                  <p:childTnLst>
                                    <p:set>
                                      <p:cBhvr>
                                        <p:cTn id="23" dur="1" fill="hold">
                                          <p:stCondLst>
                                            <p:cond delay="0"/>
                                          </p:stCondLst>
                                        </p:cTn>
                                        <p:tgtEl>
                                          <p:spTgt spid="385"/>
                                        </p:tgtEl>
                                        <p:attrNameLst>
                                          <p:attrName>style.visibility</p:attrName>
                                        </p:attrNameLst>
                                      </p:cBhvr>
                                      <p:to>
                                        <p:strVal val="visible"/>
                                      </p:to>
                                    </p:set>
                                    <p:animEffect transition="in" filter="fade">
                                      <p:cBhvr>
                                        <p:cTn id="24" dur="1000"/>
                                        <p:tgtEl>
                                          <p:spTgt spid="385"/>
                                        </p:tgtEl>
                                      </p:cBhvr>
                                    </p:animEffect>
                                    <p:anim calcmode="lin" valueType="num">
                                      <p:cBhvr>
                                        <p:cTn id="25" dur="1000" fill="hold"/>
                                        <p:tgtEl>
                                          <p:spTgt spid="385"/>
                                        </p:tgtEl>
                                        <p:attrNameLst>
                                          <p:attrName>ppt_x</p:attrName>
                                        </p:attrNameLst>
                                      </p:cBhvr>
                                      <p:tavLst>
                                        <p:tav tm="0">
                                          <p:val>
                                            <p:strVal val="#ppt_x"/>
                                          </p:val>
                                        </p:tav>
                                        <p:tav tm="100000">
                                          <p:val>
                                            <p:strVal val="#ppt_x"/>
                                          </p:val>
                                        </p:tav>
                                      </p:tavLst>
                                    </p:anim>
                                    <p:anim calcmode="lin" valueType="num">
                                      <p:cBhvr>
                                        <p:cTn id="26" dur="1000" fill="hold"/>
                                        <p:tgtEl>
                                          <p:spTgt spid="385"/>
                                        </p:tgtEl>
                                        <p:attrNameLst>
                                          <p:attrName>ppt_y</p:attrName>
                                        </p:attrNameLst>
                                      </p:cBhvr>
                                      <p:tavLst>
                                        <p:tav tm="0">
                                          <p:val>
                                            <p:strVal val="#ppt_y+.1"/>
                                          </p:val>
                                        </p:tav>
                                        <p:tav tm="100000">
                                          <p:val>
                                            <p:strVal val="#ppt_y"/>
                                          </p:val>
                                        </p:tav>
                                      </p:tavLst>
                                    </p:anim>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3" grpId="0"/>
      <p:bldP spid="554" grpId="0" animBg="1"/>
      <p:bldP spid="38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6D6C19D-8DAB-45F0-A03B-8CAC7818E1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1" y="-28867"/>
            <a:ext cx="12193139" cy="6886866"/>
          </a:xfrm>
          <a:prstGeom prst="rect">
            <a:avLst/>
          </a:prstGeom>
        </p:spPr>
      </p:pic>
      <p:sp>
        <p:nvSpPr>
          <p:cNvPr id="14" name="Rectangle 13">
            <a:extLst>
              <a:ext uri="{FF2B5EF4-FFF2-40B4-BE49-F238E27FC236}">
                <a16:creationId xmlns:a16="http://schemas.microsoft.com/office/drawing/2014/main" id="{BC51D1EC-264E-489E-8497-E3C35660156F}"/>
              </a:ext>
            </a:extLst>
          </p:cNvPr>
          <p:cNvSpPr/>
          <p:nvPr/>
        </p:nvSpPr>
        <p:spPr>
          <a:xfrm>
            <a:off x="-1" y="5502971"/>
            <a:ext cx="12191999" cy="1355029"/>
          </a:xfrm>
          <a:prstGeom prst="rect">
            <a:avLst/>
          </a:prstGeom>
          <a:gradFill>
            <a:gsLst>
              <a:gs pos="0">
                <a:schemeClr val="tx1">
                  <a:alpha val="0"/>
                </a:schemeClr>
              </a:gs>
              <a:gs pos="56000">
                <a:schemeClr val="tx1">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itle 1">
            <a:extLst>
              <a:ext uri="{FF2B5EF4-FFF2-40B4-BE49-F238E27FC236}">
                <a16:creationId xmlns:a16="http://schemas.microsoft.com/office/drawing/2014/main" id="{36EF8C4E-08AC-4773-A6A0-2F895BA4A647}"/>
              </a:ext>
            </a:extLst>
          </p:cNvPr>
          <p:cNvSpPr txBox="1">
            <a:spLocks/>
          </p:cNvSpPr>
          <p:nvPr/>
        </p:nvSpPr>
        <p:spPr>
          <a:xfrm>
            <a:off x="838200" y="228600"/>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WEED resistance </a:t>
            </a:r>
            <a:b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br>
            <a:r>
              <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Management training</a:t>
            </a:r>
          </a:p>
        </p:txBody>
      </p:sp>
      <p:sp>
        <p:nvSpPr>
          <p:cNvPr id="15" name="Rectangle 14">
            <a:extLst>
              <a:ext uri="{FF2B5EF4-FFF2-40B4-BE49-F238E27FC236}">
                <a16:creationId xmlns:a16="http://schemas.microsoft.com/office/drawing/2014/main" id="{8E022FF7-E875-4E37-92C6-08CB9334E2E3}"/>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993EECA2-C541-452E-9AC9-747E78D03258}"/>
              </a:ext>
            </a:extLst>
          </p:cNvPr>
          <p:cNvGrpSpPr/>
          <p:nvPr/>
        </p:nvGrpSpPr>
        <p:grpSpPr>
          <a:xfrm>
            <a:off x="950173" y="6425309"/>
            <a:ext cx="1075910" cy="230941"/>
            <a:chOff x="201074" y="6425309"/>
            <a:chExt cx="1075910" cy="230941"/>
          </a:xfrm>
        </p:grpSpPr>
        <p:sp>
          <p:nvSpPr>
            <p:cNvPr id="18" name="Rectangle 17">
              <a:extLst>
                <a:ext uri="{FF2B5EF4-FFF2-40B4-BE49-F238E27FC236}">
                  <a16:creationId xmlns:a16="http://schemas.microsoft.com/office/drawing/2014/main" id="{907EDCCC-B8B0-4561-B536-6D80D2772042}"/>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20" name="Straight Connector 19">
              <a:extLst>
                <a:ext uri="{FF2B5EF4-FFF2-40B4-BE49-F238E27FC236}">
                  <a16:creationId xmlns:a16="http://schemas.microsoft.com/office/drawing/2014/main" id="{51409B73-89C0-48AE-96D0-C25598323630}"/>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37A6F3AE-B8DA-4017-9F3E-E0C1C5947094}"/>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27" name="Title 1">
              <a:extLst>
                <a:ext uri="{FF2B5EF4-FFF2-40B4-BE49-F238E27FC236}">
                  <a16:creationId xmlns:a16="http://schemas.microsoft.com/office/drawing/2014/main" id="{F8D63881-F90E-4941-B18A-E3C6713C799D}"/>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grpSp>
        <p:nvGrpSpPr>
          <p:cNvPr id="28" name="Group 27">
            <a:extLst>
              <a:ext uri="{FF2B5EF4-FFF2-40B4-BE49-F238E27FC236}">
                <a16:creationId xmlns:a16="http://schemas.microsoft.com/office/drawing/2014/main" id="{6E011101-431A-421A-8638-D55F6A512830}"/>
              </a:ext>
            </a:extLst>
          </p:cNvPr>
          <p:cNvGrpSpPr/>
          <p:nvPr/>
        </p:nvGrpSpPr>
        <p:grpSpPr>
          <a:xfrm>
            <a:off x="950173" y="6425309"/>
            <a:ext cx="1075910" cy="230941"/>
            <a:chOff x="201074" y="6425309"/>
            <a:chExt cx="1075910" cy="230941"/>
          </a:xfrm>
        </p:grpSpPr>
        <p:sp>
          <p:nvSpPr>
            <p:cNvPr id="29" name="Rectangle 28">
              <a:extLst>
                <a:ext uri="{FF2B5EF4-FFF2-40B4-BE49-F238E27FC236}">
                  <a16:creationId xmlns:a16="http://schemas.microsoft.com/office/drawing/2014/main" id="{2A598D5A-129F-45CC-B082-9A0D2FE783DB}"/>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0" name="Straight Connector 29">
              <a:extLst>
                <a:ext uri="{FF2B5EF4-FFF2-40B4-BE49-F238E27FC236}">
                  <a16:creationId xmlns:a16="http://schemas.microsoft.com/office/drawing/2014/main" id="{0126BC43-585B-4DD0-BF8E-76CFBB79E25B}"/>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7116D1D2-C747-4706-AA1E-8CF2551E8C56}"/>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32" name="Title 1">
              <a:extLst>
                <a:ext uri="{FF2B5EF4-FFF2-40B4-BE49-F238E27FC236}">
                  <a16:creationId xmlns:a16="http://schemas.microsoft.com/office/drawing/2014/main" id="{1500D8CB-7476-48F1-8159-36E9AE90DEBC}"/>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4" name="Footer Placeholder 3">
            <a:extLst>
              <a:ext uri="{FF2B5EF4-FFF2-40B4-BE49-F238E27FC236}">
                <a16:creationId xmlns:a16="http://schemas.microsoft.com/office/drawing/2014/main" id="{BDA08D11-9D68-4868-9728-5AE8F6C86543}"/>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24E82D16-663B-484A-8BD1-F6350F0F959C}"/>
              </a:ext>
            </a:extLst>
          </p:cNvPr>
          <p:cNvSpPr>
            <a:spLocks noGrp="1"/>
          </p:cNvSpPr>
          <p:nvPr>
            <p:ph type="sldNum" sz="quarter" idx="16"/>
          </p:nvPr>
        </p:nvSpPr>
        <p:spPr/>
        <p:txBody>
          <a:bodyPr/>
          <a:lstStyle/>
          <a:p>
            <a:fld id="{5382645D-9DD6-408C-B0EA-C65795F9B1DE}" type="slidenum">
              <a:rPr lang="en-US" smtClean="0"/>
              <a:pPr/>
              <a:t>44</a:t>
            </a:fld>
            <a:endParaRPr lang="en-US"/>
          </a:p>
        </p:txBody>
      </p:sp>
      <p:pic>
        <p:nvPicPr>
          <p:cNvPr id="21" name="Picture 20">
            <a:extLst>
              <a:ext uri="{FF2B5EF4-FFF2-40B4-BE49-F238E27FC236}">
                <a16:creationId xmlns:a16="http://schemas.microsoft.com/office/drawing/2014/main" id="{58C02012-6143-42A4-91C5-EB2D2190FDAC}"/>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10191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09714038-29C8-4E61-899B-B21AF0EE87E8}"/>
              </a:ext>
            </a:extLst>
          </p:cNvPr>
          <p:cNvGrpSpPr/>
          <p:nvPr/>
        </p:nvGrpSpPr>
        <p:grpSpPr>
          <a:xfrm>
            <a:off x="776087" y="1248162"/>
            <a:ext cx="5319913" cy="4314218"/>
            <a:chOff x="776087" y="1248162"/>
            <a:chExt cx="5319913" cy="4314218"/>
          </a:xfrm>
        </p:grpSpPr>
        <p:pic>
          <p:nvPicPr>
            <p:cNvPr id="19" name="Picture 18">
              <a:extLst>
                <a:ext uri="{FF2B5EF4-FFF2-40B4-BE49-F238E27FC236}">
                  <a16:creationId xmlns:a16="http://schemas.microsoft.com/office/drawing/2014/main" id="{AE478D11-A50A-46D6-894C-63787CB9A78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32691" y="1333499"/>
              <a:ext cx="5187110" cy="4228881"/>
            </a:xfrm>
            <a:prstGeom prst="rect">
              <a:avLst/>
            </a:prstGeom>
          </p:spPr>
        </p:pic>
        <p:sp>
          <p:nvSpPr>
            <p:cNvPr id="20" name="Freeform: Shape 19">
              <a:extLst>
                <a:ext uri="{FF2B5EF4-FFF2-40B4-BE49-F238E27FC236}">
                  <a16:creationId xmlns:a16="http://schemas.microsoft.com/office/drawing/2014/main" id="{C16D90D7-C52B-4F4D-A571-5A707F9E65F4}"/>
                </a:ext>
              </a:extLst>
            </p:cNvPr>
            <p:cNvSpPr/>
            <p:nvPr/>
          </p:nvSpPr>
          <p:spPr>
            <a:xfrm>
              <a:off x="776087" y="1248162"/>
              <a:ext cx="5319913" cy="580638"/>
            </a:xfrm>
            <a:custGeom>
              <a:avLst/>
              <a:gdLst>
                <a:gd name="connsiteX0" fmla="*/ 4060902 w 5319913"/>
                <a:gd name="connsiteY0" fmla="*/ 554512 h 580638"/>
                <a:gd name="connsiteX1" fmla="*/ 4079564 w 5319913"/>
                <a:gd name="connsiteY1" fmla="*/ 565709 h 580638"/>
                <a:gd name="connsiteX2" fmla="*/ 4090760 w 5319913"/>
                <a:gd name="connsiteY2" fmla="*/ 573174 h 580638"/>
                <a:gd name="connsiteX3" fmla="*/ 4093249 w 5319913"/>
                <a:gd name="connsiteY3" fmla="*/ 580638 h 580638"/>
                <a:gd name="connsiteX4" fmla="*/ 4002425 w 5319913"/>
                <a:gd name="connsiteY4" fmla="*/ 580638 h 580638"/>
                <a:gd name="connsiteX5" fmla="*/ 4007767 w 5319913"/>
                <a:gd name="connsiteY5" fmla="*/ 576627 h 580638"/>
                <a:gd name="connsiteX6" fmla="*/ 4016115 w 5319913"/>
                <a:gd name="connsiteY6" fmla="*/ 569441 h 580638"/>
                <a:gd name="connsiteX7" fmla="*/ 4027312 w 5319913"/>
                <a:gd name="connsiteY7" fmla="*/ 565709 h 580638"/>
                <a:gd name="connsiteX8" fmla="*/ 4034777 w 5319913"/>
                <a:gd name="connsiteY8" fmla="*/ 558245 h 580638"/>
                <a:gd name="connsiteX9" fmla="*/ 4060902 w 5319913"/>
                <a:gd name="connsiteY9" fmla="*/ 554512 h 580638"/>
                <a:gd name="connsiteX10" fmla="*/ 0 w 5319913"/>
                <a:gd name="connsiteY10" fmla="*/ 0 h 580638"/>
                <a:gd name="connsiteX11" fmla="*/ 5319913 w 5319913"/>
                <a:gd name="connsiteY11" fmla="*/ 0 h 580638"/>
                <a:gd name="connsiteX12" fmla="*/ 5319913 w 5319913"/>
                <a:gd name="connsiteY12" fmla="*/ 580638 h 580638"/>
                <a:gd name="connsiteX13" fmla="*/ 4752300 w 5319913"/>
                <a:gd name="connsiteY13" fmla="*/ 580638 h 580638"/>
                <a:gd name="connsiteX14" fmla="*/ 4747635 w 5319913"/>
                <a:gd name="connsiteY14" fmla="*/ 576906 h 580638"/>
                <a:gd name="connsiteX15" fmla="*/ 4728974 w 5319913"/>
                <a:gd name="connsiteY15" fmla="*/ 565709 h 580638"/>
                <a:gd name="connsiteX16" fmla="*/ 4807351 w 5319913"/>
                <a:gd name="connsiteY16" fmla="*/ 561977 h 580638"/>
                <a:gd name="connsiteX17" fmla="*/ 4852138 w 5319913"/>
                <a:gd name="connsiteY17" fmla="*/ 554512 h 580638"/>
                <a:gd name="connsiteX18" fmla="*/ 4930515 w 5319913"/>
                <a:gd name="connsiteY18" fmla="*/ 547048 h 580638"/>
                <a:gd name="connsiteX19" fmla="*/ 4952909 w 5319913"/>
                <a:gd name="connsiteY19" fmla="*/ 543316 h 580638"/>
                <a:gd name="connsiteX20" fmla="*/ 5016357 w 5319913"/>
                <a:gd name="connsiteY20" fmla="*/ 535851 h 580638"/>
                <a:gd name="connsiteX21" fmla="*/ 5031286 w 5319913"/>
                <a:gd name="connsiteY21" fmla="*/ 532119 h 580638"/>
                <a:gd name="connsiteX22" fmla="*/ 5061144 w 5319913"/>
                <a:gd name="connsiteY22" fmla="*/ 528387 h 580638"/>
                <a:gd name="connsiteX23" fmla="*/ 5072341 w 5319913"/>
                <a:gd name="connsiteY23" fmla="*/ 524654 h 580638"/>
                <a:gd name="connsiteX24" fmla="*/ 5105931 w 5319913"/>
                <a:gd name="connsiteY24" fmla="*/ 513458 h 580638"/>
                <a:gd name="connsiteX25" fmla="*/ 5143253 w 5319913"/>
                <a:gd name="connsiteY25" fmla="*/ 502261 h 580638"/>
                <a:gd name="connsiteX26" fmla="*/ 5154450 w 5319913"/>
                <a:gd name="connsiteY26" fmla="*/ 498529 h 580638"/>
                <a:gd name="connsiteX27" fmla="*/ 5176844 w 5319913"/>
                <a:gd name="connsiteY27" fmla="*/ 491064 h 580638"/>
                <a:gd name="connsiteX28" fmla="*/ 5161915 w 5319913"/>
                <a:gd name="connsiteY28" fmla="*/ 472403 h 580638"/>
                <a:gd name="connsiteX29" fmla="*/ 5158182 w 5319913"/>
                <a:gd name="connsiteY29" fmla="*/ 461206 h 580638"/>
                <a:gd name="connsiteX30" fmla="*/ 5135789 w 5319913"/>
                <a:gd name="connsiteY30" fmla="*/ 446277 h 580638"/>
                <a:gd name="connsiteX31" fmla="*/ 5128324 w 5319913"/>
                <a:gd name="connsiteY31" fmla="*/ 438813 h 580638"/>
                <a:gd name="connsiteX32" fmla="*/ 5105931 w 5319913"/>
                <a:gd name="connsiteY32" fmla="*/ 431348 h 580638"/>
                <a:gd name="connsiteX33" fmla="*/ 5083537 w 5319913"/>
                <a:gd name="connsiteY33" fmla="*/ 420151 h 580638"/>
                <a:gd name="connsiteX34" fmla="*/ 5061144 w 5319913"/>
                <a:gd name="connsiteY34" fmla="*/ 412687 h 580638"/>
                <a:gd name="connsiteX35" fmla="*/ 5035018 w 5319913"/>
                <a:gd name="connsiteY35" fmla="*/ 408955 h 580638"/>
                <a:gd name="connsiteX36" fmla="*/ 5023822 w 5319913"/>
                <a:gd name="connsiteY36" fmla="*/ 405222 h 580638"/>
                <a:gd name="connsiteX37" fmla="*/ 5001428 w 5319913"/>
                <a:gd name="connsiteY37" fmla="*/ 397758 h 580638"/>
                <a:gd name="connsiteX38" fmla="*/ 4990231 w 5319913"/>
                <a:gd name="connsiteY38" fmla="*/ 390294 h 580638"/>
                <a:gd name="connsiteX39" fmla="*/ 4990231 w 5319913"/>
                <a:gd name="connsiteY39" fmla="*/ 338042 h 580638"/>
                <a:gd name="connsiteX40" fmla="*/ 4993964 w 5319913"/>
                <a:gd name="connsiteY40" fmla="*/ 300720 h 580638"/>
                <a:gd name="connsiteX41" fmla="*/ 4997696 w 5319913"/>
                <a:gd name="connsiteY41" fmla="*/ 285791 h 580638"/>
                <a:gd name="connsiteX42" fmla="*/ 5005160 w 5319913"/>
                <a:gd name="connsiteY42" fmla="*/ 274594 h 580638"/>
                <a:gd name="connsiteX43" fmla="*/ 4997696 w 5319913"/>
                <a:gd name="connsiteY43" fmla="*/ 267129 h 580638"/>
                <a:gd name="connsiteX44" fmla="*/ 4982767 w 5319913"/>
                <a:gd name="connsiteY44" fmla="*/ 263397 h 580638"/>
                <a:gd name="connsiteX45" fmla="*/ 4971570 w 5319913"/>
                <a:gd name="connsiteY45" fmla="*/ 259665 h 580638"/>
                <a:gd name="connsiteX46" fmla="*/ 4949177 w 5319913"/>
                <a:gd name="connsiteY46" fmla="*/ 255933 h 580638"/>
                <a:gd name="connsiteX47" fmla="*/ 4777493 w 5319913"/>
                <a:gd name="connsiteY47" fmla="*/ 255933 h 580638"/>
                <a:gd name="connsiteX48" fmla="*/ 4702849 w 5319913"/>
                <a:gd name="connsiteY48" fmla="*/ 267129 h 580638"/>
                <a:gd name="connsiteX49" fmla="*/ 4691652 w 5319913"/>
                <a:gd name="connsiteY49" fmla="*/ 274594 h 580638"/>
                <a:gd name="connsiteX50" fmla="*/ 4669258 w 5319913"/>
                <a:gd name="connsiteY50" fmla="*/ 285791 h 580638"/>
                <a:gd name="connsiteX51" fmla="*/ 4665526 w 5319913"/>
                <a:gd name="connsiteY51" fmla="*/ 296987 h 580638"/>
                <a:gd name="connsiteX52" fmla="*/ 4654329 w 5319913"/>
                <a:gd name="connsiteY52" fmla="*/ 315649 h 580638"/>
                <a:gd name="connsiteX53" fmla="*/ 4643133 w 5319913"/>
                <a:gd name="connsiteY53" fmla="*/ 338042 h 580638"/>
                <a:gd name="connsiteX54" fmla="*/ 4635668 w 5319913"/>
                <a:gd name="connsiteY54" fmla="*/ 360436 h 580638"/>
                <a:gd name="connsiteX55" fmla="*/ 4631936 w 5319913"/>
                <a:gd name="connsiteY55" fmla="*/ 464938 h 580638"/>
                <a:gd name="connsiteX56" fmla="*/ 4639400 w 5319913"/>
                <a:gd name="connsiteY56" fmla="*/ 517190 h 580638"/>
                <a:gd name="connsiteX57" fmla="*/ 4624471 w 5319913"/>
                <a:gd name="connsiteY57" fmla="*/ 502261 h 580638"/>
                <a:gd name="connsiteX58" fmla="*/ 4620739 w 5319913"/>
                <a:gd name="connsiteY58" fmla="*/ 491064 h 580638"/>
                <a:gd name="connsiteX59" fmla="*/ 4613275 w 5319913"/>
                <a:gd name="connsiteY59" fmla="*/ 479867 h 580638"/>
                <a:gd name="connsiteX60" fmla="*/ 4605810 w 5319913"/>
                <a:gd name="connsiteY60" fmla="*/ 468671 h 580638"/>
                <a:gd name="connsiteX61" fmla="*/ 4590881 w 5319913"/>
                <a:gd name="connsiteY61" fmla="*/ 446277 h 580638"/>
                <a:gd name="connsiteX62" fmla="*/ 4579684 w 5319913"/>
                <a:gd name="connsiteY62" fmla="*/ 442545 h 580638"/>
                <a:gd name="connsiteX63" fmla="*/ 4557291 w 5319913"/>
                <a:gd name="connsiteY63" fmla="*/ 438813 h 580638"/>
                <a:gd name="connsiteX64" fmla="*/ 4542362 w 5319913"/>
                <a:gd name="connsiteY64" fmla="*/ 453742 h 580638"/>
                <a:gd name="connsiteX65" fmla="*/ 4534897 w 5319913"/>
                <a:gd name="connsiteY65" fmla="*/ 476135 h 580638"/>
                <a:gd name="connsiteX66" fmla="*/ 4531165 w 5319913"/>
                <a:gd name="connsiteY66" fmla="*/ 513458 h 580638"/>
                <a:gd name="connsiteX67" fmla="*/ 4534897 w 5319913"/>
                <a:gd name="connsiteY67" fmla="*/ 524654 h 580638"/>
                <a:gd name="connsiteX68" fmla="*/ 4538630 w 5319913"/>
                <a:gd name="connsiteY68" fmla="*/ 539583 h 580638"/>
                <a:gd name="connsiteX69" fmla="*/ 4553559 w 5319913"/>
                <a:gd name="connsiteY69" fmla="*/ 569441 h 580638"/>
                <a:gd name="connsiteX70" fmla="*/ 4561023 w 5319913"/>
                <a:gd name="connsiteY70" fmla="*/ 580638 h 580638"/>
                <a:gd name="connsiteX71" fmla="*/ 4139280 w 5319913"/>
                <a:gd name="connsiteY71" fmla="*/ 580638 h 580638"/>
                <a:gd name="connsiteX72" fmla="*/ 4135547 w 5319913"/>
                <a:gd name="connsiteY72" fmla="*/ 569441 h 580638"/>
                <a:gd name="connsiteX73" fmla="*/ 4128083 w 5319913"/>
                <a:gd name="connsiteY73" fmla="*/ 547048 h 580638"/>
                <a:gd name="connsiteX74" fmla="*/ 4120618 w 5319913"/>
                <a:gd name="connsiteY74" fmla="*/ 535851 h 580638"/>
                <a:gd name="connsiteX75" fmla="*/ 4116886 w 5319913"/>
                <a:gd name="connsiteY75" fmla="*/ 513458 h 580638"/>
                <a:gd name="connsiteX76" fmla="*/ 4120618 w 5319913"/>
                <a:gd name="connsiteY76" fmla="*/ 502261 h 580638"/>
                <a:gd name="connsiteX77" fmla="*/ 4131815 w 5319913"/>
                <a:gd name="connsiteY77" fmla="*/ 479867 h 580638"/>
                <a:gd name="connsiteX78" fmla="*/ 4143012 w 5319913"/>
                <a:gd name="connsiteY78" fmla="*/ 461206 h 580638"/>
                <a:gd name="connsiteX79" fmla="*/ 4150476 w 5319913"/>
                <a:gd name="connsiteY79" fmla="*/ 450009 h 580638"/>
                <a:gd name="connsiteX80" fmla="*/ 4154209 w 5319913"/>
                <a:gd name="connsiteY80" fmla="*/ 438813 h 580638"/>
                <a:gd name="connsiteX81" fmla="*/ 4161673 w 5319913"/>
                <a:gd name="connsiteY81" fmla="*/ 416419 h 580638"/>
                <a:gd name="connsiteX82" fmla="*/ 4169137 w 5319913"/>
                <a:gd name="connsiteY82" fmla="*/ 405222 h 580638"/>
                <a:gd name="connsiteX83" fmla="*/ 4172870 w 5319913"/>
                <a:gd name="connsiteY83" fmla="*/ 394026 h 580638"/>
                <a:gd name="connsiteX84" fmla="*/ 4187799 w 5319913"/>
                <a:gd name="connsiteY84" fmla="*/ 367900 h 580638"/>
                <a:gd name="connsiteX85" fmla="*/ 4191531 w 5319913"/>
                <a:gd name="connsiteY85" fmla="*/ 356703 h 580638"/>
                <a:gd name="connsiteX86" fmla="*/ 4198995 w 5319913"/>
                <a:gd name="connsiteY86" fmla="*/ 345507 h 580638"/>
                <a:gd name="connsiteX87" fmla="*/ 4202728 w 5319913"/>
                <a:gd name="connsiteY87" fmla="*/ 334310 h 580638"/>
                <a:gd name="connsiteX88" fmla="*/ 4210192 w 5319913"/>
                <a:gd name="connsiteY88" fmla="*/ 319381 h 580638"/>
                <a:gd name="connsiteX89" fmla="*/ 4225121 w 5319913"/>
                <a:gd name="connsiteY89" fmla="*/ 300720 h 580638"/>
                <a:gd name="connsiteX90" fmla="*/ 4228853 w 5319913"/>
                <a:gd name="connsiteY90" fmla="*/ 289523 h 580638"/>
                <a:gd name="connsiteX91" fmla="*/ 4236318 w 5319913"/>
                <a:gd name="connsiteY91" fmla="*/ 278326 h 580638"/>
                <a:gd name="connsiteX92" fmla="*/ 4240050 w 5319913"/>
                <a:gd name="connsiteY92" fmla="*/ 267129 h 580638"/>
                <a:gd name="connsiteX93" fmla="*/ 4247515 w 5319913"/>
                <a:gd name="connsiteY93" fmla="*/ 244736 h 580638"/>
                <a:gd name="connsiteX94" fmla="*/ 4258711 w 5319913"/>
                <a:gd name="connsiteY94" fmla="*/ 218610 h 580638"/>
                <a:gd name="connsiteX95" fmla="*/ 4269908 w 5319913"/>
                <a:gd name="connsiteY95" fmla="*/ 207414 h 580638"/>
                <a:gd name="connsiteX96" fmla="*/ 4273640 w 5319913"/>
                <a:gd name="connsiteY96" fmla="*/ 196217 h 580638"/>
                <a:gd name="connsiteX97" fmla="*/ 4273640 w 5319913"/>
                <a:gd name="connsiteY97" fmla="*/ 151430 h 580638"/>
                <a:gd name="connsiteX98" fmla="*/ 4266176 w 5319913"/>
                <a:gd name="connsiteY98" fmla="*/ 143965 h 580638"/>
                <a:gd name="connsiteX99" fmla="*/ 4251247 w 5319913"/>
                <a:gd name="connsiteY99" fmla="*/ 136501 h 580638"/>
                <a:gd name="connsiteX100" fmla="*/ 4243782 w 5319913"/>
                <a:gd name="connsiteY100" fmla="*/ 129036 h 580638"/>
                <a:gd name="connsiteX101" fmla="*/ 4202728 w 5319913"/>
                <a:gd name="connsiteY101" fmla="*/ 121572 h 580638"/>
                <a:gd name="connsiteX102" fmla="*/ 4180334 w 5319913"/>
                <a:gd name="connsiteY102" fmla="*/ 129036 h 580638"/>
                <a:gd name="connsiteX103" fmla="*/ 4169137 w 5319913"/>
                <a:gd name="connsiteY103" fmla="*/ 136501 h 580638"/>
                <a:gd name="connsiteX104" fmla="*/ 4150476 w 5319913"/>
                <a:gd name="connsiteY104" fmla="*/ 147698 h 580638"/>
                <a:gd name="connsiteX105" fmla="*/ 4139280 w 5319913"/>
                <a:gd name="connsiteY105" fmla="*/ 151430 h 580638"/>
                <a:gd name="connsiteX106" fmla="*/ 4128083 w 5319913"/>
                <a:gd name="connsiteY106" fmla="*/ 158894 h 580638"/>
                <a:gd name="connsiteX107" fmla="*/ 4027312 w 5319913"/>
                <a:gd name="connsiteY107" fmla="*/ 166359 h 580638"/>
                <a:gd name="connsiteX108" fmla="*/ 4012383 w 5319913"/>
                <a:gd name="connsiteY108" fmla="*/ 170091 h 580638"/>
                <a:gd name="connsiteX109" fmla="*/ 4001186 w 5319913"/>
                <a:gd name="connsiteY109" fmla="*/ 177556 h 580638"/>
                <a:gd name="connsiteX110" fmla="*/ 3989990 w 5319913"/>
                <a:gd name="connsiteY110" fmla="*/ 185020 h 580638"/>
                <a:gd name="connsiteX111" fmla="*/ 3967596 w 5319913"/>
                <a:gd name="connsiteY111" fmla="*/ 199949 h 580638"/>
                <a:gd name="connsiteX112" fmla="*/ 3960132 w 5319913"/>
                <a:gd name="connsiteY112" fmla="*/ 207414 h 580638"/>
                <a:gd name="connsiteX113" fmla="*/ 3948935 w 5319913"/>
                <a:gd name="connsiteY113" fmla="*/ 211146 h 580638"/>
                <a:gd name="connsiteX114" fmla="*/ 3922809 w 5319913"/>
                <a:gd name="connsiteY114" fmla="*/ 233539 h 580638"/>
                <a:gd name="connsiteX115" fmla="*/ 3948935 w 5319913"/>
                <a:gd name="connsiteY115" fmla="*/ 259665 h 580638"/>
                <a:gd name="connsiteX116" fmla="*/ 3971329 w 5319913"/>
                <a:gd name="connsiteY116" fmla="*/ 267129 h 580638"/>
                <a:gd name="connsiteX117" fmla="*/ 4004919 w 5319913"/>
                <a:gd name="connsiteY117" fmla="*/ 278326 h 580638"/>
                <a:gd name="connsiteX118" fmla="*/ 3997454 w 5319913"/>
                <a:gd name="connsiteY118" fmla="*/ 300720 h 580638"/>
                <a:gd name="connsiteX119" fmla="*/ 3993722 w 5319913"/>
                <a:gd name="connsiteY119" fmla="*/ 315649 h 580638"/>
                <a:gd name="connsiteX120" fmla="*/ 3967596 w 5319913"/>
                <a:gd name="connsiteY120" fmla="*/ 326845 h 580638"/>
                <a:gd name="connsiteX121" fmla="*/ 3941471 w 5319913"/>
                <a:gd name="connsiteY121" fmla="*/ 334310 h 580638"/>
                <a:gd name="connsiteX122" fmla="*/ 3926542 w 5319913"/>
                <a:gd name="connsiteY122" fmla="*/ 315649 h 580638"/>
                <a:gd name="connsiteX123" fmla="*/ 3922809 w 5319913"/>
                <a:gd name="connsiteY123" fmla="*/ 304452 h 580638"/>
                <a:gd name="connsiteX124" fmla="*/ 3915345 w 5319913"/>
                <a:gd name="connsiteY124" fmla="*/ 296987 h 580638"/>
                <a:gd name="connsiteX125" fmla="*/ 3892951 w 5319913"/>
                <a:gd name="connsiteY125" fmla="*/ 274594 h 580638"/>
                <a:gd name="connsiteX126" fmla="*/ 3866826 w 5319913"/>
                <a:gd name="connsiteY126" fmla="*/ 252200 h 580638"/>
                <a:gd name="connsiteX127" fmla="*/ 3859361 w 5319913"/>
                <a:gd name="connsiteY127" fmla="*/ 244736 h 580638"/>
                <a:gd name="connsiteX128" fmla="*/ 3848164 w 5319913"/>
                <a:gd name="connsiteY128" fmla="*/ 241004 h 580638"/>
                <a:gd name="connsiteX129" fmla="*/ 3836968 w 5319913"/>
                <a:gd name="connsiteY129" fmla="*/ 233539 h 580638"/>
                <a:gd name="connsiteX130" fmla="*/ 3795913 w 5319913"/>
                <a:gd name="connsiteY130" fmla="*/ 222342 h 580638"/>
                <a:gd name="connsiteX131" fmla="*/ 3736197 w 5319913"/>
                <a:gd name="connsiteY131" fmla="*/ 214878 h 580638"/>
                <a:gd name="connsiteX132" fmla="*/ 3721268 w 5319913"/>
                <a:gd name="connsiteY132" fmla="*/ 211146 h 580638"/>
                <a:gd name="connsiteX133" fmla="*/ 3691410 w 5319913"/>
                <a:gd name="connsiteY133" fmla="*/ 207414 h 580638"/>
                <a:gd name="connsiteX134" fmla="*/ 3635426 w 5319913"/>
                <a:gd name="connsiteY134" fmla="*/ 199949 h 580638"/>
                <a:gd name="connsiteX135" fmla="*/ 3557049 w 5319913"/>
                <a:gd name="connsiteY135" fmla="*/ 196217 h 580638"/>
                <a:gd name="connsiteX136" fmla="*/ 3508530 w 5319913"/>
                <a:gd name="connsiteY136" fmla="*/ 188752 h 580638"/>
                <a:gd name="connsiteX137" fmla="*/ 3497333 w 5319913"/>
                <a:gd name="connsiteY137" fmla="*/ 185020 h 580638"/>
                <a:gd name="connsiteX138" fmla="*/ 3463743 w 5319913"/>
                <a:gd name="connsiteY138" fmla="*/ 173823 h 580638"/>
                <a:gd name="connsiteX139" fmla="*/ 3441350 w 5319913"/>
                <a:gd name="connsiteY139" fmla="*/ 166359 h 580638"/>
                <a:gd name="connsiteX140" fmla="*/ 3396563 w 5319913"/>
                <a:gd name="connsiteY140" fmla="*/ 170091 h 580638"/>
                <a:gd name="connsiteX141" fmla="*/ 3404027 w 5319913"/>
                <a:gd name="connsiteY141" fmla="*/ 177556 h 580638"/>
                <a:gd name="connsiteX142" fmla="*/ 3418956 w 5319913"/>
                <a:gd name="connsiteY142" fmla="*/ 192485 h 580638"/>
                <a:gd name="connsiteX143" fmla="*/ 3441350 w 5319913"/>
                <a:gd name="connsiteY143" fmla="*/ 203681 h 580638"/>
                <a:gd name="connsiteX144" fmla="*/ 3482404 w 5319913"/>
                <a:gd name="connsiteY144" fmla="*/ 237271 h 580638"/>
                <a:gd name="connsiteX145" fmla="*/ 3508530 w 5319913"/>
                <a:gd name="connsiteY145" fmla="*/ 255933 h 580638"/>
                <a:gd name="connsiteX146" fmla="*/ 3523459 w 5319913"/>
                <a:gd name="connsiteY146" fmla="*/ 263397 h 580638"/>
                <a:gd name="connsiteX147" fmla="*/ 3534656 w 5319913"/>
                <a:gd name="connsiteY147" fmla="*/ 267129 h 580638"/>
                <a:gd name="connsiteX148" fmla="*/ 3545853 w 5319913"/>
                <a:gd name="connsiteY148" fmla="*/ 270862 h 580638"/>
                <a:gd name="connsiteX149" fmla="*/ 3579443 w 5319913"/>
                <a:gd name="connsiteY149" fmla="*/ 282058 h 580638"/>
                <a:gd name="connsiteX150" fmla="*/ 3609301 w 5319913"/>
                <a:gd name="connsiteY150" fmla="*/ 296987 h 580638"/>
                <a:gd name="connsiteX151" fmla="*/ 3627962 w 5319913"/>
                <a:gd name="connsiteY151" fmla="*/ 308184 h 580638"/>
                <a:gd name="connsiteX152" fmla="*/ 3639159 w 5319913"/>
                <a:gd name="connsiteY152" fmla="*/ 311916 h 580638"/>
                <a:gd name="connsiteX153" fmla="*/ 3650355 w 5319913"/>
                <a:gd name="connsiteY153" fmla="*/ 315649 h 580638"/>
                <a:gd name="connsiteX154" fmla="*/ 3683946 w 5319913"/>
                <a:gd name="connsiteY154" fmla="*/ 326845 h 580638"/>
                <a:gd name="connsiteX155" fmla="*/ 3725000 w 5319913"/>
                <a:gd name="connsiteY155" fmla="*/ 338042 h 580638"/>
                <a:gd name="connsiteX156" fmla="*/ 3736197 w 5319913"/>
                <a:gd name="connsiteY156" fmla="*/ 341774 h 580638"/>
                <a:gd name="connsiteX157" fmla="*/ 3769787 w 5319913"/>
                <a:gd name="connsiteY157" fmla="*/ 352971 h 580638"/>
                <a:gd name="connsiteX158" fmla="*/ 3803377 w 5319913"/>
                <a:gd name="connsiteY158" fmla="*/ 364168 h 580638"/>
                <a:gd name="connsiteX159" fmla="*/ 3810842 w 5319913"/>
                <a:gd name="connsiteY159" fmla="*/ 371632 h 580638"/>
                <a:gd name="connsiteX160" fmla="*/ 3803377 w 5319913"/>
                <a:gd name="connsiteY160" fmla="*/ 379097 h 580638"/>
                <a:gd name="connsiteX161" fmla="*/ 3784716 w 5319913"/>
                <a:gd name="connsiteY161" fmla="*/ 390294 h 580638"/>
                <a:gd name="connsiteX162" fmla="*/ 3773520 w 5319913"/>
                <a:gd name="connsiteY162" fmla="*/ 394026 h 580638"/>
                <a:gd name="connsiteX163" fmla="*/ 3739929 w 5319913"/>
                <a:gd name="connsiteY163" fmla="*/ 408955 h 580638"/>
                <a:gd name="connsiteX164" fmla="*/ 3717536 w 5319913"/>
                <a:gd name="connsiteY164" fmla="*/ 416419 h 580638"/>
                <a:gd name="connsiteX165" fmla="*/ 3672749 w 5319913"/>
                <a:gd name="connsiteY165" fmla="*/ 423884 h 580638"/>
                <a:gd name="connsiteX166" fmla="*/ 3657820 w 5319913"/>
                <a:gd name="connsiteY166" fmla="*/ 427616 h 580638"/>
                <a:gd name="connsiteX167" fmla="*/ 3758591 w 5319913"/>
                <a:gd name="connsiteY167" fmla="*/ 431348 h 580638"/>
                <a:gd name="connsiteX168" fmla="*/ 3836968 w 5319913"/>
                <a:gd name="connsiteY168" fmla="*/ 435080 h 580638"/>
                <a:gd name="connsiteX169" fmla="*/ 3907880 w 5319913"/>
                <a:gd name="connsiteY169" fmla="*/ 446277 h 580638"/>
                <a:gd name="connsiteX170" fmla="*/ 3922809 w 5319913"/>
                <a:gd name="connsiteY170" fmla="*/ 453742 h 580638"/>
                <a:gd name="connsiteX171" fmla="*/ 3934006 w 5319913"/>
                <a:gd name="connsiteY171" fmla="*/ 461206 h 580638"/>
                <a:gd name="connsiteX172" fmla="*/ 3926542 w 5319913"/>
                <a:gd name="connsiteY172" fmla="*/ 468671 h 580638"/>
                <a:gd name="connsiteX173" fmla="*/ 3911613 w 5319913"/>
                <a:gd name="connsiteY173" fmla="*/ 483600 h 580638"/>
                <a:gd name="connsiteX174" fmla="*/ 3896684 w 5319913"/>
                <a:gd name="connsiteY174" fmla="*/ 498529 h 580638"/>
                <a:gd name="connsiteX175" fmla="*/ 3885487 w 5319913"/>
                <a:gd name="connsiteY175" fmla="*/ 505993 h 580638"/>
                <a:gd name="connsiteX176" fmla="*/ 3881755 w 5319913"/>
                <a:gd name="connsiteY176" fmla="*/ 520922 h 580638"/>
                <a:gd name="connsiteX177" fmla="*/ 3859361 w 5319913"/>
                <a:gd name="connsiteY177" fmla="*/ 550780 h 580638"/>
                <a:gd name="connsiteX178" fmla="*/ 3844432 w 5319913"/>
                <a:gd name="connsiteY178" fmla="*/ 565709 h 580638"/>
                <a:gd name="connsiteX179" fmla="*/ 3840700 w 5319913"/>
                <a:gd name="connsiteY179" fmla="*/ 576906 h 580638"/>
                <a:gd name="connsiteX180" fmla="*/ 3836968 w 5319913"/>
                <a:gd name="connsiteY180" fmla="*/ 580638 h 580638"/>
                <a:gd name="connsiteX181" fmla="*/ 1656093 w 5319913"/>
                <a:gd name="connsiteY181" fmla="*/ 580638 h 580638"/>
                <a:gd name="connsiteX182" fmla="*/ 1653604 w 5319913"/>
                <a:gd name="connsiteY182" fmla="*/ 573174 h 580638"/>
                <a:gd name="connsiteX183" fmla="*/ 1638675 w 5319913"/>
                <a:gd name="connsiteY183" fmla="*/ 558245 h 580638"/>
                <a:gd name="connsiteX184" fmla="*/ 1627479 w 5319913"/>
                <a:gd name="connsiteY184" fmla="*/ 535851 h 580638"/>
                <a:gd name="connsiteX185" fmla="*/ 1620014 w 5319913"/>
                <a:gd name="connsiteY185" fmla="*/ 528387 h 580638"/>
                <a:gd name="connsiteX186" fmla="*/ 1605085 w 5319913"/>
                <a:gd name="connsiteY186" fmla="*/ 509725 h 580638"/>
                <a:gd name="connsiteX187" fmla="*/ 1593889 w 5319913"/>
                <a:gd name="connsiteY187" fmla="*/ 505993 h 580638"/>
                <a:gd name="connsiteX188" fmla="*/ 1586424 w 5319913"/>
                <a:gd name="connsiteY188" fmla="*/ 498529 h 580638"/>
                <a:gd name="connsiteX189" fmla="*/ 1564031 w 5319913"/>
                <a:gd name="connsiteY189" fmla="*/ 472403 h 580638"/>
                <a:gd name="connsiteX190" fmla="*/ 1552834 w 5319913"/>
                <a:gd name="connsiteY190" fmla="*/ 464938 h 580638"/>
                <a:gd name="connsiteX191" fmla="*/ 1545369 w 5319913"/>
                <a:gd name="connsiteY191" fmla="*/ 457474 h 580638"/>
                <a:gd name="connsiteX192" fmla="*/ 1530440 w 5319913"/>
                <a:gd name="connsiteY192" fmla="*/ 442545 h 580638"/>
                <a:gd name="connsiteX193" fmla="*/ 1511779 w 5319913"/>
                <a:gd name="connsiteY193" fmla="*/ 427616 h 580638"/>
                <a:gd name="connsiteX194" fmla="*/ 1489386 w 5319913"/>
                <a:gd name="connsiteY194" fmla="*/ 420151 h 580638"/>
                <a:gd name="connsiteX195" fmla="*/ 1478189 w 5319913"/>
                <a:gd name="connsiteY195" fmla="*/ 412687 h 580638"/>
                <a:gd name="connsiteX196" fmla="*/ 1459528 w 5319913"/>
                <a:gd name="connsiteY196" fmla="*/ 408955 h 580638"/>
                <a:gd name="connsiteX197" fmla="*/ 1444599 w 5319913"/>
                <a:gd name="connsiteY197" fmla="*/ 405222 h 580638"/>
                <a:gd name="connsiteX198" fmla="*/ 1377418 w 5319913"/>
                <a:gd name="connsiteY198" fmla="*/ 401490 h 580638"/>
                <a:gd name="connsiteX199" fmla="*/ 1366222 w 5319913"/>
                <a:gd name="connsiteY199" fmla="*/ 405222 h 580638"/>
                <a:gd name="connsiteX200" fmla="*/ 1317702 w 5319913"/>
                <a:gd name="connsiteY200" fmla="*/ 408955 h 580638"/>
                <a:gd name="connsiteX201" fmla="*/ 1265451 w 5319913"/>
                <a:gd name="connsiteY201" fmla="*/ 416419 h 580638"/>
                <a:gd name="connsiteX202" fmla="*/ 1243057 w 5319913"/>
                <a:gd name="connsiteY202" fmla="*/ 423884 h 580638"/>
                <a:gd name="connsiteX203" fmla="*/ 1224396 w 5319913"/>
                <a:gd name="connsiteY203" fmla="*/ 438813 h 580638"/>
                <a:gd name="connsiteX204" fmla="*/ 1202003 w 5319913"/>
                <a:gd name="connsiteY204" fmla="*/ 453742 h 580638"/>
                <a:gd name="connsiteX205" fmla="*/ 1190806 w 5319913"/>
                <a:gd name="connsiteY205" fmla="*/ 457474 h 580638"/>
                <a:gd name="connsiteX206" fmla="*/ 1175877 w 5319913"/>
                <a:gd name="connsiteY206" fmla="*/ 461206 h 580638"/>
                <a:gd name="connsiteX207" fmla="*/ 1164680 w 5319913"/>
                <a:gd name="connsiteY207" fmla="*/ 468671 h 580638"/>
                <a:gd name="connsiteX208" fmla="*/ 1153484 w 5319913"/>
                <a:gd name="connsiteY208" fmla="*/ 472403 h 580638"/>
                <a:gd name="connsiteX209" fmla="*/ 1119893 w 5319913"/>
                <a:gd name="connsiteY209" fmla="*/ 479867 h 580638"/>
                <a:gd name="connsiteX210" fmla="*/ 1097500 w 5319913"/>
                <a:gd name="connsiteY210" fmla="*/ 472403 h 580638"/>
                <a:gd name="connsiteX211" fmla="*/ 1086303 w 5319913"/>
                <a:gd name="connsiteY211" fmla="*/ 464938 h 580638"/>
                <a:gd name="connsiteX212" fmla="*/ 1097500 w 5319913"/>
                <a:gd name="connsiteY212" fmla="*/ 446277 h 580638"/>
                <a:gd name="connsiteX213" fmla="*/ 1086303 w 5319913"/>
                <a:gd name="connsiteY213" fmla="*/ 438813 h 580638"/>
                <a:gd name="connsiteX214" fmla="*/ 1060177 w 5319913"/>
                <a:gd name="connsiteY214" fmla="*/ 427616 h 580638"/>
                <a:gd name="connsiteX215" fmla="*/ 1037784 w 5319913"/>
                <a:gd name="connsiteY215" fmla="*/ 420151 h 580638"/>
                <a:gd name="connsiteX216" fmla="*/ 1011658 w 5319913"/>
                <a:gd name="connsiteY216" fmla="*/ 416419 h 580638"/>
                <a:gd name="connsiteX217" fmla="*/ 978068 w 5319913"/>
                <a:gd name="connsiteY217" fmla="*/ 423884 h 580638"/>
                <a:gd name="connsiteX218" fmla="*/ 899691 w 5319913"/>
                <a:gd name="connsiteY218" fmla="*/ 427616 h 580638"/>
                <a:gd name="connsiteX219" fmla="*/ 851172 w 5319913"/>
                <a:gd name="connsiteY219" fmla="*/ 431348 h 580638"/>
                <a:gd name="connsiteX220" fmla="*/ 843707 w 5319913"/>
                <a:gd name="connsiteY220" fmla="*/ 438813 h 580638"/>
                <a:gd name="connsiteX221" fmla="*/ 832511 w 5319913"/>
                <a:gd name="connsiteY221" fmla="*/ 442545 h 580638"/>
                <a:gd name="connsiteX222" fmla="*/ 810117 w 5319913"/>
                <a:gd name="connsiteY222" fmla="*/ 450009 h 580638"/>
                <a:gd name="connsiteX223" fmla="*/ 802653 w 5319913"/>
                <a:gd name="connsiteY223" fmla="*/ 457474 h 580638"/>
                <a:gd name="connsiteX224" fmla="*/ 791456 w 5319913"/>
                <a:gd name="connsiteY224" fmla="*/ 464938 h 580638"/>
                <a:gd name="connsiteX225" fmla="*/ 783991 w 5319913"/>
                <a:gd name="connsiteY225" fmla="*/ 472403 h 580638"/>
                <a:gd name="connsiteX226" fmla="*/ 765330 w 5319913"/>
                <a:gd name="connsiteY226" fmla="*/ 487332 h 580638"/>
                <a:gd name="connsiteX227" fmla="*/ 742937 w 5319913"/>
                <a:gd name="connsiteY227" fmla="*/ 494796 h 580638"/>
                <a:gd name="connsiteX228" fmla="*/ 713079 w 5319913"/>
                <a:gd name="connsiteY228" fmla="*/ 502261 h 580638"/>
                <a:gd name="connsiteX229" fmla="*/ 683221 w 5319913"/>
                <a:gd name="connsiteY229" fmla="*/ 517190 h 580638"/>
                <a:gd name="connsiteX230" fmla="*/ 672024 w 5319913"/>
                <a:gd name="connsiteY230" fmla="*/ 524654 h 580638"/>
                <a:gd name="connsiteX231" fmla="*/ 668292 w 5319913"/>
                <a:gd name="connsiteY231" fmla="*/ 535851 h 580638"/>
                <a:gd name="connsiteX232" fmla="*/ 660827 w 5319913"/>
                <a:gd name="connsiteY232" fmla="*/ 543316 h 580638"/>
                <a:gd name="connsiteX233" fmla="*/ 653363 w 5319913"/>
                <a:gd name="connsiteY233" fmla="*/ 554512 h 580638"/>
                <a:gd name="connsiteX234" fmla="*/ 604844 w 5319913"/>
                <a:gd name="connsiteY234" fmla="*/ 561977 h 580638"/>
                <a:gd name="connsiteX235" fmla="*/ 593647 w 5319913"/>
                <a:gd name="connsiteY235" fmla="*/ 565709 h 580638"/>
                <a:gd name="connsiteX236" fmla="*/ 586182 w 5319913"/>
                <a:gd name="connsiteY236" fmla="*/ 558245 h 580638"/>
                <a:gd name="connsiteX237" fmla="*/ 574986 w 5319913"/>
                <a:gd name="connsiteY237" fmla="*/ 554512 h 580638"/>
                <a:gd name="connsiteX238" fmla="*/ 563789 w 5319913"/>
                <a:gd name="connsiteY238" fmla="*/ 550780 h 580638"/>
                <a:gd name="connsiteX239" fmla="*/ 519002 w 5319913"/>
                <a:gd name="connsiteY239" fmla="*/ 535851 h 580638"/>
                <a:gd name="connsiteX240" fmla="*/ 496609 w 5319913"/>
                <a:gd name="connsiteY240" fmla="*/ 528387 h 580638"/>
                <a:gd name="connsiteX241" fmla="*/ 481680 w 5319913"/>
                <a:gd name="connsiteY241" fmla="*/ 524654 h 580638"/>
                <a:gd name="connsiteX242" fmla="*/ 470483 w 5319913"/>
                <a:gd name="connsiteY242" fmla="*/ 517190 h 580638"/>
                <a:gd name="connsiteX243" fmla="*/ 459286 w 5319913"/>
                <a:gd name="connsiteY243" fmla="*/ 513458 h 580638"/>
                <a:gd name="connsiteX244" fmla="*/ 407035 w 5319913"/>
                <a:gd name="connsiteY244" fmla="*/ 498529 h 580638"/>
                <a:gd name="connsiteX245" fmla="*/ 380909 w 5319913"/>
                <a:gd name="connsiteY245" fmla="*/ 494796 h 580638"/>
                <a:gd name="connsiteX246" fmla="*/ 351051 w 5319913"/>
                <a:gd name="connsiteY246" fmla="*/ 491064 h 580638"/>
                <a:gd name="connsiteX247" fmla="*/ 343586 w 5319913"/>
                <a:gd name="connsiteY247" fmla="*/ 483600 h 580638"/>
                <a:gd name="connsiteX248" fmla="*/ 354783 w 5319913"/>
                <a:gd name="connsiteY248" fmla="*/ 461206 h 580638"/>
                <a:gd name="connsiteX249" fmla="*/ 365980 w 5319913"/>
                <a:gd name="connsiteY249" fmla="*/ 457474 h 580638"/>
                <a:gd name="connsiteX250" fmla="*/ 377177 w 5319913"/>
                <a:gd name="connsiteY250" fmla="*/ 453742 h 580638"/>
                <a:gd name="connsiteX251" fmla="*/ 399570 w 5319913"/>
                <a:gd name="connsiteY251" fmla="*/ 446277 h 580638"/>
                <a:gd name="connsiteX252" fmla="*/ 421964 w 5319913"/>
                <a:gd name="connsiteY252" fmla="*/ 438813 h 580638"/>
                <a:gd name="connsiteX253" fmla="*/ 433160 w 5319913"/>
                <a:gd name="connsiteY253" fmla="*/ 431348 h 580638"/>
                <a:gd name="connsiteX254" fmla="*/ 444357 w 5319913"/>
                <a:gd name="connsiteY254" fmla="*/ 427616 h 580638"/>
                <a:gd name="connsiteX255" fmla="*/ 477947 w 5319913"/>
                <a:gd name="connsiteY255" fmla="*/ 412687 h 580638"/>
                <a:gd name="connsiteX256" fmla="*/ 492876 w 5319913"/>
                <a:gd name="connsiteY256" fmla="*/ 408955 h 580638"/>
                <a:gd name="connsiteX257" fmla="*/ 507805 w 5319913"/>
                <a:gd name="connsiteY257" fmla="*/ 397758 h 580638"/>
                <a:gd name="connsiteX258" fmla="*/ 526466 w 5319913"/>
                <a:gd name="connsiteY258" fmla="*/ 379097 h 580638"/>
                <a:gd name="connsiteX259" fmla="*/ 545128 w 5319913"/>
                <a:gd name="connsiteY259" fmla="*/ 349239 h 580638"/>
                <a:gd name="connsiteX260" fmla="*/ 541395 w 5319913"/>
                <a:gd name="connsiteY260" fmla="*/ 267129 h 580638"/>
                <a:gd name="connsiteX261" fmla="*/ 444357 w 5319913"/>
                <a:gd name="connsiteY261" fmla="*/ 263397 h 580638"/>
                <a:gd name="connsiteX262" fmla="*/ 433160 w 5319913"/>
                <a:gd name="connsiteY262" fmla="*/ 267129 h 580638"/>
                <a:gd name="connsiteX263" fmla="*/ 421964 w 5319913"/>
                <a:gd name="connsiteY263" fmla="*/ 274594 h 580638"/>
                <a:gd name="connsiteX264" fmla="*/ 399570 w 5319913"/>
                <a:gd name="connsiteY264" fmla="*/ 282058 h 580638"/>
                <a:gd name="connsiteX265" fmla="*/ 377177 w 5319913"/>
                <a:gd name="connsiteY265" fmla="*/ 296987 h 580638"/>
                <a:gd name="connsiteX266" fmla="*/ 339854 w 5319913"/>
                <a:gd name="connsiteY266" fmla="*/ 308184 h 580638"/>
                <a:gd name="connsiteX267" fmla="*/ 309996 w 5319913"/>
                <a:gd name="connsiteY267" fmla="*/ 330578 h 580638"/>
                <a:gd name="connsiteX268" fmla="*/ 280138 w 5319913"/>
                <a:gd name="connsiteY268" fmla="*/ 352971 h 580638"/>
                <a:gd name="connsiteX269" fmla="*/ 268942 w 5319913"/>
                <a:gd name="connsiteY269" fmla="*/ 356703 h 580638"/>
                <a:gd name="connsiteX270" fmla="*/ 242816 w 5319913"/>
                <a:gd name="connsiteY270" fmla="*/ 379097 h 580638"/>
                <a:gd name="connsiteX271" fmla="*/ 212958 w 5319913"/>
                <a:gd name="connsiteY271" fmla="*/ 405222 h 580638"/>
                <a:gd name="connsiteX272" fmla="*/ 198029 w 5319913"/>
                <a:gd name="connsiteY272" fmla="*/ 420151 h 580638"/>
                <a:gd name="connsiteX273" fmla="*/ 168171 w 5319913"/>
                <a:gd name="connsiteY273" fmla="*/ 438813 h 580638"/>
                <a:gd name="connsiteX274" fmla="*/ 171903 w 5319913"/>
                <a:gd name="connsiteY274" fmla="*/ 450009 h 580638"/>
                <a:gd name="connsiteX275" fmla="*/ 186832 w 5319913"/>
                <a:gd name="connsiteY275" fmla="*/ 472403 h 580638"/>
                <a:gd name="connsiteX276" fmla="*/ 205493 w 5319913"/>
                <a:gd name="connsiteY276" fmla="*/ 498529 h 580638"/>
                <a:gd name="connsiteX277" fmla="*/ 220422 w 5319913"/>
                <a:gd name="connsiteY277" fmla="*/ 517190 h 580638"/>
                <a:gd name="connsiteX278" fmla="*/ 209226 w 5319913"/>
                <a:gd name="connsiteY278" fmla="*/ 524654 h 580638"/>
                <a:gd name="connsiteX279" fmla="*/ 201761 w 5319913"/>
                <a:gd name="connsiteY279" fmla="*/ 532119 h 580638"/>
                <a:gd name="connsiteX280" fmla="*/ 190564 w 5319913"/>
                <a:gd name="connsiteY280" fmla="*/ 535851 h 580638"/>
                <a:gd name="connsiteX281" fmla="*/ 164439 w 5319913"/>
                <a:gd name="connsiteY281" fmla="*/ 558245 h 580638"/>
                <a:gd name="connsiteX282" fmla="*/ 156974 w 5319913"/>
                <a:gd name="connsiteY282" fmla="*/ 580638 h 580638"/>
                <a:gd name="connsiteX283" fmla="*/ 0 w 5319913"/>
                <a:gd name="connsiteY283" fmla="*/ 580638 h 58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5319913" h="580638">
                  <a:moveTo>
                    <a:pt x="4060902" y="554512"/>
                  </a:moveTo>
                  <a:cubicBezTo>
                    <a:pt x="4080344" y="560994"/>
                    <a:pt x="4064928" y="554000"/>
                    <a:pt x="4079564" y="565709"/>
                  </a:cubicBezTo>
                  <a:cubicBezTo>
                    <a:pt x="4083067" y="568511"/>
                    <a:pt x="4087958" y="569671"/>
                    <a:pt x="4090760" y="573174"/>
                  </a:cubicBezTo>
                  <a:lnTo>
                    <a:pt x="4093249" y="580638"/>
                  </a:lnTo>
                  <a:lnTo>
                    <a:pt x="4002425" y="580638"/>
                  </a:lnTo>
                  <a:lnTo>
                    <a:pt x="4007767" y="576627"/>
                  </a:lnTo>
                  <a:cubicBezTo>
                    <a:pt x="4012102" y="574004"/>
                    <a:pt x="4002599" y="582959"/>
                    <a:pt x="4016115" y="569441"/>
                  </a:cubicBezTo>
                  <a:cubicBezTo>
                    <a:pt x="4019847" y="568197"/>
                    <a:pt x="4023938" y="567733"/>
                    <a:pt x="4027312" y="565709"/>
                  </a:cubicBezTo>
                  <a:cubicBezTo>
                    <a:pt x="4030329" y="563899"/>
                    <a:pt x="4031439" y="559358"/>
                    <a:pt x="4034777" y="558245"/>
                  </a:cubicBezTo>
                  <a:cubicBezTo>
                    <a:pt x="4043122" y="555463"/>
                    <a:pt x="4052194" y="555756"/>
                    <a:pt x="4060902" y="554512"/>
                  </a:cubicBezTo>
                  <a:close/>
                  <a:moveTo>
                    <a:pt x="0" y="0"/>
                  </a:moveTo>
                  <a:lnTo>
                    <a:pt x="5319913" y="0"/>
                  </a:lnTo>
                  <a:lnTo>
                    <a:pt x="5319913" y="580638"/>
                  </a:lnTo>
                  <a:lnTo>
                    <a:pt x="4752300" y="580638"/>
                  </a:lnTo>
                  <a:lnTo>
                    <a:pt x="4747635" y="576906"/>
                  </a:lnTo>
                  <a:cubicBezTo>
                    <a:pt x="4728257" y="567217"/>
                    <a:pt x="4743554" y="580289"/>
                    <a:pt x="4728974" y="565709"/>
                  </a:cubicBezTo>
                  <a:cubicBezTo>
                    <a:pt x="4755100" y="564465"/>
                    <a:pt x="4781254" y="563717"/>
                    <a:pt x="4807351" y="561977"/>
                  </a:cubicBezTo>
                  <a:cubicBezTo>
                    <a:pt x="4838605" y="559894"/>
                    <a:pt x="4832436" y="561081"/>
                    <a:pt x="4852138" y="554512"/>
                  </a:cubicBezTo>
                  <a:cubicBezTo>
                    <a:pt x="4852138" y="554512"/>
                    <a:pt x="4904432" y="549946"/>
                    <a:pt x="4930515" y="547048"/>
                  </a:cubicBezTo>
                  <a:cubicBezTo>
                    <a:pt x="4938036" y="546212"/>
                    <a:pt x="4945408" y="544316"/>
                    <a:pt x="4952909" y="543316"/>
                  </a:cubicBezTo>
                  <a:cubicBezTo>
                    <a:pt x="4967860" y="541322"/>
                    <a:pt x="5000790" y="538445"/>
                    <a:pt x="5016357" y="535851"/>
                  </a:cubicBezTo>
                  <a:cubicBezTo>
                    <a:pt x="5021417" y="535008"/>
                    <a:pt x="5026226" y="532962"/>
                    <a:pt x="5031286" y="532119"/>
                  </a:cubicBezTo>
                  <a:cubicBezTo>
                    <a:pt x="5041180" y="530470"/>
                    <a:pt x="5051191" y="529631"/>
                    <a:pt x="5061144" y="528387"/>
                  </a:cubicBezTo>
                  <a:cubicBezTo>
                    <a:pt x="5065048" y="527899"/>
                    <a:pt x="5068609" y="525898"/>
                    <a:pt x="5072341" y="524654"/>
                  </a:cubicBezTo>
                  <a:lnTo>
                    <a:pt x="5105931" y="513458"/>
                  </a:lnTo>
                  <a:cubicBezTo>
                    <a:pt x="5133197" y="504369"/>
                    <a:pt x="5120686" y="507902"/>
                    <a:pt x="5143253" y="502261"/>
                  </a:cubicBezTo>
                  <a:cubicBezTo>
                    <a:pt x="5147070" y="501307"/>
                    <a:pt x="5150718" y="499773"/>
                    <a:pt x="5154450" y="498529"/>
                  </a:cubicBezTo>
                  <a:lnTo>
                    <a:pt x="5176844" y="491064"/>
                  </a:lnTo>
                  <a:cubicBezTo>
                    <a:pt x="5169899" y="484120"/>
                    <a:pt x="5166625" y="481823"/>
                    <a:pt x="5161915" y="472403"/>
                  </a:cubicBezTo>
                  <a:cubicBezTo>
                    <a:pt x="5160156" y="468884"/>
                    <a:pt x="5159426" y="464938"/>
                    <a:pt x="5158182" y="461206"/>
                  </a:cubicBezTo>
                  <a:cubicBezTo>
                    <a:pt x="5158182" y="461206"/>
                    <a:pt x="5142966" y="451660"/>
                    <a:pt x="5135789" y="446277"/>
                  </a:cubicBezTo>
                  <a:cubicBezTo>
                    <a:pt x="5132974" y="444166"/>
                    <a:pt x="5130812" y="441301"/>
                    <a:pt x="5128324" y="438813"/>
                  </a:cubicBezTo>
                  <a:cubicBezTo>
                    <a:pt x="5128324" y="438813"/>
                    <a:pt x="5113467" y="433609"/>
                    <a:pt x="5105931" y="431348"/>
                  </a:cubicBezTo>
                  <a:cubicBezTo>
                    <a:pt x="5086277" y="425452"/>
                    <a:pt x="5095528" y="432142"/>
                    <a:pt x="5083537" y="420151"/>
                  </a:cubicBezTo>
                  <a:cubicBezTo>
                    <a:pt x="5077973" y="414587"/>
                    <a:pt x="5068608" y="415175"/>
                    <a:pt x="5061144" y="412687"/>
                  </a:cubicBezTo>
                  <a:lnTo>
                    <a:pt x="5035018" y="408955"/>
                  </a:lnTo>
                  <a:cubicBezTo>
                    <a:pt x="5031124" y="408399"/>
                    <a:pt x="5027554" y="406466"/>
                    <a:pt x="5023822" y="405222"/>
                  </a:cubicBezTo>
                  <a:cubicBezTo>
                    <a:pt x="5016357" y="402734"/>
                    <a:pt x="5008618" y="400953"/>
                    <a:pt x="5001428" y="397758"/>
                  </a:cubicBezTo>
                  <a:cubicBezTo>
                    <a:pt x="4997329" y="395936"/>
                    <a:pt x="4992053" y="394393"/>
                    <a:pt x="4990231" y="390294"/>
                  </a:cubicBezTo>
                  <a:cubicBezTo>
                    <a:pt x="4982362" y="372589"/>
                    <a:pt x="4988148" y="355747"/>
                    <a:pt x="4990231" y="338042"/>
                  </a:cubicBezTo>
                  <a:cubicBezTo>
                    <a:pt x="4991692" y="325625"/>
                    <a:pt x="4992720" y="313161"/>
                    <a:pt x="4993964" y="300720"/>
                  </a:cubicBezTo>
                  <a:cubicBezTo>
                    <a:pt x="4995208" y="295744"/>
                    <a:pt x="4995676" y="290506"/>
                    <a:pt x="4997696" y="285791"/>
                  </a:cubicBezTo>
                  <a:cubicBezTo>
                    <a:pt x="4999463" y="281668"/>
                    <a:pt x="5005160" y="279080"/>
                    <a:pt x="5005160" y="274594"/>
                  </a:cubicBezTo>
                  <a:cubicBezTo>
                    <a:pt x="5005160" y="271075"/>
                    <a:pt x="5000184" y="269617"/>
                    <a:pt x="4997696" y="267129"/>
                  </a:cubicBezTo>
                  <a:cubicBezTo>
                    <a:pt x="4992720" y="265885"/>
                    <a:pt x="4987699" y="264806"/>
                    <a:pt x="4982767" y="263397"/>
                  </a:cubicBezTo>
                  <a:cubicBezTo>
                    <a:pt x="4978984" y="262316"/>
                    <a:pt x="4975411" y="260518"/>
                    <a:pt x="4971570" y="259665"/>
                  </a:cubicBezTo>
                  <a:cubicBezTo>
                    <a:pt x="4964183" y="258024"/>
                    <a:pt x="4956738" y="256248"/>
                    <a:pt x="4949177" y="255933"/>
                  </a:cubicBezTo>
                  <a:cubicBezTo>
                    <a:pt x="4797202" y="249600"/>
                    <a:pt x="4842155" y="239764"/>
                    <a:pt x="4777493" y="255933"/>
                  </a:cubicBezTo>
                  <a:cubicBezTo>
                    <a:pt x="4743151" y="258386"/>
                    <a:pt x="4730201" y="254972"/>
                    <a:pt x="4702849" y="267129"/>
                  </a:cubicBezTo>
                  <a:cubicBezTo>
                    <a:pt x="4698750" y="268951"/>
                    <a:pt x="4695384" y="272106"/>
                    <a:pt x="4691652" y="274594"/>
                  </a:cubicBezTo>
                  <a:cubicBezTo>
                    <a:pt x="4684275" y="277053"/>
                    <a:pt x="4674521" y="279213"/>
                    <a:pt x="4669258" y="285791"/>
                  </a:cubicBezTo>
                  <a:cubicBezTo>
                    <a:pt x="4666801" y="288863"/>
                    <a:pt x="4666770" y="293255"/>
                    <a:pt x="4665526" y="296987"/>
                  </a:cubicBezTo>
                  <a:cubicBezTo>
                    <a:pt x="4650947" y="311568"/>
                    <a:pt x="4664020" y="296268"/>
                    <a:pt x="4654329" y="315649"/>
                  </a:cubicBezTo>
                  <a:cubicBezTo>
                    <a:pt x="4639859" y="344587"/>
                    <a:pt x="4652514" y="309899"/>
                    <a:pt x="4643133" y="338042"/>
                  </a:cubicBezTo>
                  <a:cubicBezTo>
                    <a:pt x="4640645" y="345507"/>
                    <a:pt x="4636360" y="352598"/>
                    <a:pt x="4635668" y="360436"/>
                  </a:cubicBezTo>
                  <a:cubicBezTo>
                    <a:pt x="4632604" y="395157"/>
                    <a:pt x="4631936" y="430082"/>
                    <a:pt x="4631936" y="464938"/>
                  </a:cubicBezTo>
                  <a:cubicBezTo>
                    <a:pt x="4631936" y="474279"/>
                    <a:pt x="4637543" y="506048"/>
                    <a:pt x="4639400" y="517190"/>
                  </a:cubicBezTo>
                  <a:cubicBezTo>
                    <a:pt x="4639400" y="517190"/>
                    <a:pt x="4628561" y="507988"/>
                    <a:pt x="4624471" y="502261"/>
                  </a:cubicBezTo>
                  <a:cubicBezTo>
                    <a:pt x="4622184" y="499060"/>
                    <a:pt x="4621983" y="494796"/>
                    <a:pt x="4620739" y="491064"/>
                  </a:cubicBezTo>
                  <a:cubicBezTo>
                    <a:pt x="4619321" y="486809"/>
                    <a:pt x="4615763" y="483599"/>
                    <a:pt x="4613275" y="479867"/>
                  </a:cubicBezTo>
                  <a:lnTo>
                    <a:pt x="4605810" y="468671"/>
                  </a:lnTo>
                  <a:cubicBezTo>
                    <a:pt x="4600833" y="461206"/>
                    <a:pt x="4597225" y="452621"/>
                    <a:pt x="4590881" y="446277"/>
                  </a:cubicBezTo>
                  <a:cubicBezTo>
                    <a:pt x="4588099" y="443495"/>
                    <a:pt x="4583525" y="443398"/>
                    <a:pt x="4579684" y="442545"/>
                  </a:cubicBezTo>
                  <a:cubicBezTo>
                    <a:pt x="4572297" y="440904"/>
                    <a:pt x="4564755" y="440057"/>
                    <a:pt x="4557291" y="438813"/>
                  </a:cubicBezTo>
                  <a:lnTo>
                    <a:pt x="4542362" y="453742"/>
                  </a:lnTo>
                  <a:cubicBezTo>
                    <a:pt x="4536798" y="459306"/>
                    <a:pt x="4536347" y="468402"/>
                    <a:pt x="4534897" y="476135"/>
                  </a:cubicBezTo>
                  <a:cubicBezTo>
                    <a:pt x="4532593" y="488424"/>
                    <a:pt x="4531165" y="500955"/>
                    <a:pt x="4531165" y="513458"/>
                  </a:cubicBezTo>
                  <a:cubicBezTo>
                    <a:pt x="4531165" y="517392"/>
                    <a:pt x="4533816" y="520872"/>
                    <a:pt x="4534897" y="524654"/>
                  </a:cubicBezTo>
                  <a:cubicBezTo>
                    <a:pt x="4536306" y="529586"/>
                    <a:pt x="4537386" y="534607"/>
                    <a:pt x="4538630" y="539583"/>
                  </a:cubicBezTo>
                  <a:cubicBezTo>
                    <a:pt x="4551657" y="552612"/>
                    <a:pt x="4544981" y="543710"/>
                    <a:pt x="4553559" y="569441"/>
                  </a:cubicBezTo>
                  <a:cubicBezTo>
                    <a:pt x="4554978" y="573696"/>
                    <a:pt x="4558535" y="576906"/>
                    <a:pt x="4561023" y="580638"/>
                  </a:cubicBezTo>
                  <a:lnTo>
                    <a:pt x="4139280" y="580638"/>
                  </a:lnTo>
                  <a:lnTo>
                    <a:pt x="4135547" y="569441"/>
                  </a:lnTo>
                  <a:cubicBezTo>
                    <a:pt x="4133059" y="561977"/>
                    <a:pt x="4131279" y="554238"/>
                    <a:pt x="4128083" y="547048"/>
                  </a:cubicBezTo>
                  <a:cubicBezTo>
                    <a:pt x="4126261" y="542949"/>
                    <a:pt x="4122037" y="540107"/>
                    <a:pt x="4120618" y="535851"/>
                  </a:cubicBezTo>
                  <a:cubicBezTo>
                    <a:pt x="4118225" y="528672"/>
                    <a:pt x="4118130" y="520922"/>
                    <a:pt x="4116886" y="513458"/>
                  </a:cubicBezTo>
                  <a:cubicBezTo>
                    <a:pt x="4118130" y="509726"/>
                    <a:pt x="4118859" y="505780"/>
                    <a:pt x="4120618" y="502261"/>
                  </a:cubicBezTo>
                  <a:cubicBezTo>
                    <a:pt x="4135088" y="473320"/>
                    <a:pt x="4122435" y="508011"/>
                    <a:pt x="4131815" y="479867"/>
                  </a:cubicBezTo>
                  <a:cubicBezTo>
                    <a:pt x="4146394" y="465290"/>
                    <a:pt x="4133324" y="480584"/>
                    <a:pt x="4143012" y="461206"/>
                  </a:cubicBezTo>
                  <a:cubicBezTo>
                    <a:pt x="4145018" y="457194"/>
                    <a:pt x="4147988" y="453741"/>
                    <a:pt x="4150476" y="450009"/>
                  </a:cubicBezTo>
                  <a:cubicBezTo>
                    <a:pt x="4152658" y="446736"/>
                    <a:pt x="4152965" y="442545"/>
                    <a:pt x="4154209" y="438813"/>
                  </a:cubicBezTo>
                  <a:cubicBezTo>
                    <a:pt x="4156697" y="431348"/>
                    <a:pt x="4158478" y="423609"/>
                    <a:pt x="4161673" y="416419"/>
                  </a:cubicBezTo>
                  <a:cubicBezTo>
                    <a:pt x="4163495" y="412320"/>
                    <a:pt x="4167131" y="409234"/>
                    <a:pt x="4169137" y="405222"/>
                  </a:cubicBezTo>
                  <a:cubicBezTo>
                    <a:pt x="4170896" y="401703"/>
                    <a:pt x="4171320" y="397642"/>
                    <a:pt x="4172870" y="394026"/>
                  </a:cubicBezTo>
                  <a:cubicBezTo>
                    <a:pt x="4192513" y="348194"/>
                    <a:pt x="4169045" y="405407"/>
                    <a:pt x="4187799" y="367900"/>
                  </a:cubicBezTo>
                  <a:cubicBezTo>
                    <a:pt x="4189558" y="364381"/>
                    <a:pt x="4190287" y="360435"/>
                    <a:pt x="4191531" y="356703"/>
                  </a:cubicBezTo>
                  <a:cubicBezTo>
                    <a:pt x="4194019" y="352971"/>
                    <a:pt x="4196989" y="349519"/>
                    <a:pt x="4198995" y="345507"/>
                  </a:cubicBezTo>
                  <a:cubicBezTo>
                    <a:pt x="4200755" y="341988"/>
                    <a:pt x="4201178" y="337926"/>
                    <a:pt x="4202728" y="334310"/>
                  </a:cubicBezTo>
                  <a:cubicBezTo>
                    <a:pt x="4204920" y="329196"/>
                    <a:pt x="4207704" y="324357"/>
                    <a:pt x="4210192" y="319381"/>
                  </a:cubicBezTo>
                  <a:cubicBezTo>
                    <a:pt x="4217135" y="312438"/>
                    <a:pt x="4220413" y="310136"/>
                    <a:pt x="4225121" y="300720"/>
                  </a:cubicBezTo>
                  <a:cubicBezTo>
                    <a:pt x="4226880" y="297201"/>
                    <a:pt x="4227609" y="293255"/>
                    <a:pt x="4228853" y="289523"/>
                  </a:cubicBezTo>
                  <a:lnTo>
                    <a:pt x="4236318" y="278326"/>
                  </a:lnTo>
                  <a:cubicBezTo>
                    <a:pt x="4238500" y="275053"/>
                    <a:pt x="4238806" y="270861"/>
                    <a:pt x="4240050" y="267129"/>
                  </a:cubicBezTo>
                  <a:cubicBezTo>
                    <a:pt x="4242538" y="259665"/>
                    <a:pt x="4244319" y="251926"/>
                    <a:pt x="4247515" y="244736"/>
                  </a:cubicBezTo>
                  <a:cubicBezTo>
                    <a:pt x="4262241" y="211603"/>
                    <a:pt x="4248841" y="258094"/>
                    <a:pt x="4258711" y="218610"/>
                  </a:cubicBezTo>
                  <a:cubicBezTo>
                    <a:pt x="4262443" y="214878"/>
                    <a:pt x="4266980" y="211806"/>
                    <a:pt x="4269908" y="207414"/>
                  </a:cubicBezTo>
                  <a:cubicBezTo>
                    <a:pt x="4272090" y="204141"/>
                    <a:pt x="4272993" y="200098"/>
                    <a:pt x="4273640" y="196217"/>
                  </a:cubicBezTo>
                  <a:cubicBezTo>
                    <a:pt x="4275806" y="183224"/>
                    <a:pt x="4281635" y="164756"/>
                    <a:pt x="4273640" y="151430"/>
                  </a:cubicBezTo>
                  <a:cubicBezTo>
                    <a:pt x="4271830" y="148413"/>
                    <a:pt x="4268664" y="146453"/>
                    <a:pt x="4266176" y="143965"/>
                  </a:cubicBezTo>
                  <a:cubicBezTo>
                    <a:pt x="4261200" y="141477"/>
                    <a:pt x="4255876" y="139587"/>
                    <a:pt x="4251247" y="136501"/>
                  </a:cubicBezTo>
                  <a:cubicBezTo>
                    <a:pt x="4248319" y="134549"/>
                    <a:pt x="4246800" y="130847"/>
                    <a:pt x="4243782" y="129036"/>
                  </a:cubicBezTo>
                  <a:cubicBezTo>
                    <a:pt x="4234698" y="123586"/>
                    <a:pt x="4206843" y="122086"/>
                    <a:pt x="4202728" y="121572"/>
                  </a:cubicBezTo>
                  <a:cubicBezTo>
                    <a:pt x="4202728" y="121572"/>
                    <a:pt x="4187524" y="125840"/>
                    <a:pt x="4180334" y="129036"/>
                  </a:cubicBezTo>
                  <a:cubicBezTo>
                    <a:pt x="4176235" y="130858"/>
                    <a:pt x="4172869" y="134013"/>
                    <a:pt x="4169137" y="136501"/>
                  </a:cubicBezTo>
                  <a:cubicBezTo>
                    <a:pt x="4137423" y="147072"/>
                    <a:pt x="4176091" y="132329"/>
                    <a:pt x="4150476" y="147698"/>
                  </a:cubicBezTo>
                  <a:cubicBezTo>
                    <a:pt x="4147103" y="149722"/>
                    <a:pt x="4142799" y="149671"/>
                    <a:pt x="4139280" y="151430"/>
                  </a:cubicBezTo>
                  <a:cubicBezTo>
                    <a:pt x="4135268" y="153436"/>
                    <a:pt x="4131815" y="156406"/>
                    <a:pt x="4128083" y="158894"/>
                  </a:cubicBezTo>
                  <a:cubicBezTo>
                    <a:pt x="4098031" y="160564"/>
                    <a:pt x="4058894" y="161501"/>
                    <a:pt x="4027312" y="166359"/>
                  </a:cubicBezTo>
                  <a:cubicBezTo>
                    <a:pt x="4022242" y="167139"/>
                    <a:pt x="4017359" y="168847"/>
                    <a:pt x="4012383" y="170091"/>
                  </a:cubicBezTo>
                  <a:cubicBezTo>
                    <a:pt x="4008031" y="171179"/>
                    <a:pt x="4004918" y="175068"/>
                    <a:pt x="4001186" y="177556"/>
                  </a:cubicBezTo>
                  <a:lnTo>
                    <a:pt x="3989990" y="185020"/>
                  </a:lnTo>
                  <a:cubicBezTo>
                    <a:pt x="3982525" y="189996"/>
                    <a:pt x="3974773" y="194566"/>
                    <a:pt x="3967596" y="199949"/>
                  </a:cubicBezTo>
                  <a:cubicBezTo>
                    <a:pt x="3964781" y="202060"/>
                    <a:pt x="3962620" y="204926"/>
                    <a:pt x="3960132" y="207414"/>
                  </a:cubicBezTo>
                  <a:lnTo>
                    <a:pt x="3948935" y="211146"/>
                  </a:lnTo>
                  <a:cubicBezTo>
                    <a:pt x="3921676" y="220232"/>
                    <a:pt x="3928451" y="210977"/>
                    <a:pt x="3922809" y="233539"/>
                  </a:cubicBezTo>
                  <a:cubicBezTo>
                    <a:pt x="3929379" y="253247"/>
                    <a:pt x="3923268" y="242554"/>
                    <a:pt x="3948935" y="259665"/>
                  </a:cubicBezTo>
                  <a:cubicBezTo>
                    <a:pt x="3948935" y="259665"/>
                    <a:pt x="3963696" y="265221"/>
                    <a:pt x="3971329" y="267129"/>
                  </a:cubicBezTo>
                  <a:cubicBezTo>
                    <a:pt x="4003509" y="275174"/>
                    <a:pt x="3984247" y="264546"/>
                    <a:pt x="4004919" y="278326"/>
                  </a:cubicBezTo>
                  <a:cubicBezTo>
                    <a:pt x="4004919" y="278326"/>
                    <a:pt x="3999715" y="293183"/>
                    <a:pt x="3997454" y="300720"/>
                  </a:cubicBezTo>
                  <a:cubicBezTo>
                    <a:pt x="3995980" y="305633"/>
                    <a:pt x="3994966" y="310673"/>
                    <a:pt x="3993722" y="315649"/>
                  </a:cubicBezTo>
                  <a:cubicBezTo>
                    <a:pt x="3962659" y="323414"/>
                    <a:pt x="3993364" y="313960"/>
                    <a:pt x="3967596" y="326845"/>
                  </a:cubicBezTo>
                  <a:cubicBezTo>
                    <a:pt x="3962236" y="329525"/>
                    <a:pt x="3946262" y="333112"/>
                    <a:pt x="3941471" y="334310"/>
                  </a:cubicBezTo>
                  <a:cubicBezTo>
                    <a:pt x="3934528" y="327367"/>
                    <a:pt x="3931250" y="325065"/>
                    <a:pt x="3926542" y="315649"/>
                  </a:cubicBezTo>
                  <a:cubicBezTo>
                    <a:pt x="3924782" y="312130"/>
                    <a:pt x="3924053" y="308184"/>
                    <a:pt x="3922809" y="304452"/>
                  </a:cubicBezTo>
                  <a:lnTo>
                    <a:pt x="3915345" y="296987"/>
                  </a:lnTo>
                  <a:lnTo>
                    <a:pt x="3892951" y="274594"/>
                  </a:lnTo>
                  <a:cubicBezTo>
                    <a:pt x="3857016" y="238661"/>
                    <a:pt x="3895244" y="274935"/>
                    <a:pt x="3866826" y="252200"/>
                  </a:cubicBezTo>
                  <a:cubicBezTo>
                    <a:pt x="3864078" y="250002"/>
                    <a:pt x="3862378" y="246546"/>
                    <a:pt x="3859361" y="244736"/>
                  </a:cubicBezTo>
                  <a:cubicBezTo>
                    <a:pt x="3855987" y="242712"/>
                    <a:pt x="3851683" y="242763"/>
                    <a:pt x="3848164" y="241004"/>
                  </a:cubicBezTo>
                  <a:cubicBezTo>
                    <a:pt x="3844152" y="238998"/>
                    <a:pt x="3840700" y="236027"/>
                    <a:pt x="3836968" y="233539"/>
                  </a:cubicBezTo>
                  <a:cubicBezTo>
                    <a:pt x="3816038" y="226563"/>
                    <a:pt x="3829588" y="230761"/>
                    <a:pt x="3795913" y="222342"/>
                  </a:cubicBezTo>
                  <a:cubicBezTo>
                    <a:pt x="3795913" y="222342"/>
                    <a:pt x="3756035" y="217854"/>
                    <a:pt x="3736197" y="214878"/>
                  </a:cubicBezTo>
                  <a:cubicBezTo>
                    <a:pt x="3731124" y="214117"/>
                    <a:pt x="3726328" y="211989"/>
                    <a:pt x="3721268" y="211146"/>
                  </a:cubicBezTo>
                  <a:cubicBezTo>
                    <a:pt x="3711374" y="209497"/>
                    <a:pt x="3701385" y="208464"/>
                    <a:pt x="3691410" y="207414"/>
                  </a:cubicBezTo>
                  <a:cubicBezTo>
                    <a:pt x="3640671" y="202073"/>
                    <a:pt x="3665394" y="207441"/>
                    <a:pt x="3635426" y="199949"/>
                  </a:cubicBezTo>
                  <a:cubicBezTo>
                    <a:pt x="3609300" y="198705"/>
                    <a:pt x="3583142" y="198016"/>
                    <a:pt x="3557049" y="196217"/>
                  </a:cubicBezTo>
                  <a:cubicBezTo>
                    <a:pt x="3536350" y="194790"/>
                    <a:pt x="3527253" y="192497"/>
                    <a:pt x="3508530" y="188752"/>
                  </a:cubicBezTo>
                  <a:cubicBezTo>
                    <a:pt x="3504672" y="187980"/>
                    <a:pt x="3501065" y="186264"/>
                    <a:pt x="3497333" y="185020"/>
                  </a:cubicBezTo>
                  <a:lnTo>
                    <a:pt x="3463743" y="173823"/>
                  </a:lnTo>
                  <a:cubicBezTo>
                    <a:pt x="3456279" y="171335"/>
                    <a:pt x="3449065" y="167902"/>
                    <a:pt x="3441350" y="166359"/>
                  </a:cubicBezTo>
                  <a:cubicBezTo>
                    <a:pt x="3407204" y="159530"/>
                    <a:pt x="3415580" y="157414"/>
                    <a:pt x="3396563" y="170091"/>
                  </a:cubicBezTo>
                  <a:lnTo>
                    <a:pt x="3404027" y="177556"/>
                  </a:lnTo>
                  <a:cubicBezTo>
                    <a:pt x="3409003" y="182532"/>
                    <a:pt x="3413613" y="187905"/>
                    <a:pt x="3418956" y="192485"/>
                  </a:cubicBezTo>
                  <a:cubicBezTo>
                    <a:pt x="3428164" y="200377"/>
                    <a:pt x="3430513" y="200069"/>
                    <a:pt x="3441350" y="203681"/>
                  </a:cubicBezTo>
                  <a:cubicBezTo>
                    <a:pt x="3458333" y="209342"/>
                    <a:pt x="3469882" y="226140"/>
                    <a:pt x="3482404" y="237271"/>
                  </a:cubicBezTo>
                  <a:cubicBezTo>
                    <a:pt x="3486008" y="240474"/>
                    <a:pt x="3502912" y="252723"/>
                    <a:pt x="3508530" y="255933"/>
                  </a:cubicBezTo>
                  <a:cubicBezTo>
                    <a:pt x="3513361" y="258693"/>
                    <a:pt x="3518483" y="260909"/>
                    <a:pt x="3523459" y="263397"/>
                  </a:cubicBezTo>
                  <a:cubicBezTo>
                    <a:pt x="3526978" y="265156"/>
                    <a:pt x="3530924" y="265885"/>
                    <a:pt x="3534656" y="267129"/>
                  </a:cubicBezTo>
                  <a:lnTo>
                    <a:pt x="3545853" y="270862"/>
                  </a:lnTo>
                  <a:lnTo>
                    <a:pt x="3579443" y="282058"/>
                  </a:lnTo>
                  <a:cubicBezTo>
                    <a:pt x="3589999" y="285577"/>
                    <a:pt x="3599171" y="292382"/>
                    <a:pt x="3609301" y="296987"/>
                  </a:cubicBezTo>
                  <a:cubicBezTo>
                    <a:pt x="3627064" y="305062"/>
                    <a:pt x="3614827" y="295051"/>
                    <a:pt x="3627962" y="308184"/>
                  </a:cubicBezTo>
                  <a:lnTo>
                    <a:pt x="3639159" y="311916"/>
                  </a:lnTo>
                  <a:lnTo>
                    <a:pt x="3650355" y="315649"/>
                  </a:lnTo>
                  <a:lnTo>
                    <a:pt x="3683946" y="326845"/>
                  </a:lnTo>
                  <a:cubicBezTo>
                    <a:pt x="3712361" y="336317"/>
                    <a:pt x="3698620" y="332766"/>
                    <a:pt x="3725000" y="338042"/>
                  </a:cubicBezTo>
                  <a:cubicBezTo>
                    <a:pt x="3728858" y="338814"/>
                    <a:pt x="3732465" y="340530"/>
                    <a:pt x="3736197" y="341774"/>
                  </a:cubicBezTo>
                  <a:lnTo>
                    <a:pt x="3769787" y="352971"/>
                  </a:lnTo>
                  <a:cubicBezTo>
                    <a:pt x="3775391" y="354839"/>
                    <a:pt x="3803367" y="364163"/>
                    <a:pt x="3803377" y="364168"/>
                  </a:cubicBezTo>
                  <a:cubicBezTo>
                    <a:pt x="3806524" y="365742"/>
                    <a:pt x="3808354" y="369144"/>
                    <a:pt x="3810842" y="371632"/>
                  </a:cubicBezTo>
                  <a:cubicBezTo>
                    <a:pt x="3808354" y="374120"/>
                    <a:pt x="3806395" y="377286"/>
                    <a:pt x="3803377" y="379097"/>
                  </a:cubicBezTo>
                  <a:cubicBezTo>
                    <a:pt x="3779152" y="393633"/>
                    <a:pt x="3803632" y="371378"/>
                    <a:pt x="3784716" y="390294"/>
                  </a:cubicBezTo>
                  <a:lnTo>
                    <a:pt x="3773520" y="394026"/>
                  </a:lnTo>
                  <a:cubicBezTo>
                    <a:pt x="3746870" y="402909"/>
                    <a:pt x="3757673" y="397125"/>
                    <a:pt x="3739929" y="408955"/>
                  </a:cubicBezTo>
                  <a:cubicBezTo>
                    <a:pt x="3739929" y="408955"/>
                    <a:pt x="3725072" y="414158"/>
                    <a:pt x="3717536" y="416419"/>
                  </a:cubicBezTo>
                  <a:cubicBezTo>
                    <a:pt x="3696541" y="422717"/>
                    <a:pt x="3700530" y="419253"/>
                    <a:pt x="3672749" y="423884"/>
                  </a:cubicBezTo>
                  <a:cubicBezTo>
                    <a:pt x="3667689" y="424727"/>
                    <a:pt x="3662796" y="426372"/>
                    <a:pt x="3657820" y="427616"/>
                  </a:cubicBezTo>
                  <a:lnTo>
                    <a:pt x="3758591" y="431348"/>
                  </a:lnTo>
                  <a:lnTo>
                    <a:pt x="3836968" y="435080"/>
                  </a:lnTo>
                  <a:cubicBezTo>
                    <a:pt x="3849123" y="435659"/>
                    <a:pt x="3887746" y="437647"/>
                    <a:pt x="3907880" y="446277"/>
                  </a:cubicBezTo>
                  <a:cubicBezTo>
                    <a:pt x="3912994" y="448469"/>
                    <a:pt x="3917978" y="450982"/>
                    <a:pt x="3922809" y="453742"/>
                  </a:cubicBezTo>
                  <a:cubicBezTo>
                    <a:pt x="3926704" y="455967"/>
                    <a:pt x="3930274" y="458718"/>
                    <a:pt x="3934006" y="461206"/>
                  </a:cubicBezTo>
                  <a:lnTo>
                    <a:pt x="3926542" y="468671"/>
                  </a:lnTo>
                  <a:lnTo>
                    <a:pt x="3911613" y="483600"/>
                  </a:lnTo>
                  <a:cubicBezTo>
                    <a:pt x="3906637" y="488576"/>
                    <a:pt x="3902027" y="493949"/>
                    <a:pt x="3896684" y="498529"/>
                  </a:cubicBezTo>
                  <a:cubicBezTo>
                    <a:pt x="3893278" y="501448"/>
                    <a:pt x="3887975" y="502261"/>
                    <a:pt x="3885487" y="505993"/>
                  </a:cubicBezTo>
                  <a:cubicBezTo>
                    <a:pt x="3882642" y="510261"/>
                    <a:pt x="3882999" y="515946"/>
                    <a:pt x="3881755" y="520922"/>
                  </a:cubicBezTo>
                  <a:cubicBezTo>
                    <a:pt x="3867946" y="534731"/>
                    <a:pt x="3876242" y="525459"/>
                    <a:pt x="3859361" y="550780"/>
                  </a:cubicBezTo>
                  <a:cubicBezTo>
                    <a:pt x="3855457" y="556636"/>
                    <a:pt x="3848522" y="559982"/>
                    <a:pt x="3844432" y="565709"/>
                  </a:cubicBezTo>
                  <a:cubicBezTo>
                    <a:pt x="3842145" y="568910"/>
                    <a:pt x="3842724" y="573532"/>
                    <a:pt x="3840700" y="576906"/>
                  </a:cubicBezTo>
                  <a:lnTo>
                    <a:pt x="3836968" y="580638"/>
                  </a:lnTo>
                  <a:lnTo>
                    <a:pt x="1656093" y="580638"/>
                  </a:lnTo>
                  <a:lnTo>
                    <a:pt x="1653604" y="573174"/>
                  </a:lnTo>
                  <a:cubicBezTo>
                    <a:pt x="1653604" y="573174"/>
                    <a:pt x="1643255" y="563588"/>
                    <a:pt x="1638675" y="558245"/>
                  </a:cubicBezTo>
                  <a:cubicBezTo>
                    <a:pt x="1630783" y="549037"/>
                    <a:pt x="1631091" y="546688"/>
                    <a:pt x="1627479" y="535851"/>
                  </a:cubicBezTo>
                  <a:cubicBezTo>
                    <a:pt x="1624991" y="533363"/>
                    <a:pt x="1622212" y="531135"/>
                    <a:pt x="1620014" y="528387"/>
                  </a:cubicBezTo>
                  <a:cubicBezTo>
                    <a:pt x="1601176" y="504840"/>
                    <a:pt x="1623114" y="527754"/>
                    <a:pt x="1605085" y="509725"/>
                  </a:cubicBezTo>
                  <a:lnTo>
                    <a:pt x="1593889" y="505993"/>
                  </a:lnTo>
                  <a:cubicBezTo>
                    <a:pt x="1590551" y="504880"/>
                    <a:pt x="1588912" y="501017"/>
                    <a:pt x="1586424" y="498529"/>
                  </a:cubicBezTo>
                  <a:cubicBezTo>
                    <a:pt x="1568325" y="480431"/>
                    <a:pt x="1575397" y="489454"/>
                    <a:pt x="1564031" y="472403"/>
                  </a:cubicBezTo>
                  <a:lnTo>
                    <a:pt x="1552834" y="464938"/>
                  </a:lnTo>
                  <a:cubicBezTo>
                    <a:pt x="1549906" y="462986"/>
                    <a:pt x="1547857" y="459962"/>
                    <a:pt x="1545369" y="457474"/>
                  </a:cubicBezTo>
                  <a:cubicBezTo>
                    <a:pt x="1540393" y="452498"/>
                    <a:pt x="1535783" y="447125"/>
                    <a:pt x="1530440" y="442545"/>
                  </a:cubicBezTo>
                  <a:cubicBezTo>
                    <a:pt x="1497466" y="414280"/>
                    <a:pt x="1537204" y="453037"/>
                    <a:pt x="1511779" y="427616"/>
                  </a:cubicBezTo>
                  <a:cubicBezTo>
                    <a:pt x="1511779" y="427616"/>
                    <a:pt x="1496576" y="423347"/>
                    <a:pt x="1489386" y="420151"/>
                  </a:cubicBezTo>
                  <a:cubicBezTo>
                    <a:pt x="1485287" y="418329"/>
                    <a:pt x="1481921" y="415175"/>
                    <a:pt x="1478189" y="412687"/>
                  </a:cubicBezTo>
                  <a:cubicBezTo>
                    <a:pt x="1471969" y="411443"/>
                    <a:pt x="1465720" y="410331"/>
                    <a:pt x="1459528" y="408955"/>
                  </a:cubicBezTo>
                  <a:cubicBezTo>
                    <a:pt x="1454521" y="407842"/>
                    <a:pt x="1449707" y="405686"/>
                    <a:pt x="1444599" y="405222"/>
                  </a:cubicBezTo>
                  <a:cubicBezTo>
                    <a:pt x="1422263" y="403191"/>
                    <a:pt x="1399846" y="401490"/>
                    <a:pt x="1377418" y="401490"/>
                  </a:cubicBezTo>
                  <a:cubicBezTo>
                    <a:pt x="1373484" y="401490"/>
                    <a:pt x="1369954" y="403978"/>
                    <a:pt x="1366222" y="405222"/>
                  </a:cubicBezTo>
                  <a:lnTo>
                    <a:pt x="1317702" y="408955"/>
                  </a:lnTo>
                  <a:cubicBezTo>
                    <a:pt x="1274101" y="412589"/>
                    <a:pt x="1289292" y="408472"/>
                    <a:pt x="1265451" y="416419"/>
                  </a:cubicBezTo>
                  <a:cubicBezTo>
                    <a:pt x="1257986" y="418907"/>
                    <a:pt x="1250247" y="420688"/>
                    <a:pt x="1243057" y="423884"/>
                  </a:cubicBezTo>
                  <a:cubicBezTo>
                    <a:pt x="1234583" y="427650"/>
                    <a:pt x="1230600" y="432609"/>
                    <a:pt x="1224396" y="438813"/>
                  </a:cubicBezTo>
                  <a:cubicBezTo>
                    <a:pt x="1218052" y="445157"/>
                    <a:pt x="1209467" y="448766"/>
                    <a:pt x="1202003" y="453742"/>
                  </a:cubicBezTo>
                  <a:cubicBezTo>
                    <a:pt x="1198271" y="454986"/>
                    <a:pt x="1194589" y="456393"/>
                    <a:pt x="1190806" y="457474"/>
                  </a:cubicBezTo>
                  <a:cubicBezTo>
                    <a:pt x="1185874" y="458883"/>
                    <a:pt x="1180592" y="459185"/>
                    <a:pt x="1175877" y="461206"/>
                  </a:cubicBezTo>
                  <a:cubicBezTo>
                    <a:pt x="1171754" y="462973"/>
                    <a:pt x="1168412" y="466183"/>
                    <a:pt x="1164680" y="468671"/>
                  </a:cubicBezTo>
                  <a:cubicBezTo>
                    <a:pt x="1160948" y="469915"/>
                    <a:pt x="1157267" y="471322"/>
                    <a:pt x="1153484" y="472403"/>
                  </a:cubicBezTo>
                  <a:cubicBezTo>
                    <a:pt x="1141186" y="475917"/>
                    <a:pt x="1132720" y="477302"/>
                    <a:pt x="1119893" y="479867"/>
                  </a:cubicBezTo>
                  <a:cubicBezTo>
                    <a:pt x="1119893" y="479867"/>
                    <a:pt x="1104690" y="475599"/>
                    <a:pt x="1097500" y="472403"/>
                  </a:cubicBezTo>
                  <a:cubicBezTo>
                    <a:pt x="1093401" y="470581"/>
                    <a:pt x="1090035" y="467426"/>
                    <a:pt x="1086303" y="464938"/>
                  </a:cubicBezTo>
                  <a:cubicBezTo>
                    <a:pt x="1089740" y="461501"/>
                    <a:pt x="1100269" y="453199"/>
                    <a:pt x="1097500" y="446277"/>
                  </a:cubicBezTo>
                  <a:cubicBezTo>
                    <a:pt x="1095834" y="442112"/>
                    <a:pt x="1090035" y="441301"/>
                    <a:pt x="1086303" y="438813"/>
                  </a:cubicBezTo>
                  <a:cubicBezTo>
                    <a:pt x="1067022" y="433992"/>
                    <a:pt x="1075642" y="437925"/>
                    <a:pt x="1060177" y="427616"/>
                  </a:cubicBezTo>
                  <a:cubicBezTo>
                    <a:pt x="1053630" y="423252"/>
                    <a:pt x="1045248" y="422639"/>
                    <a:pt x="1037784" y="420151"/>
                  </a:cubicBezTo>
                  <a:cubicBezTo>
                    <a:pt x="1029075" y="418907"/>
                    <a:pt x="1020455" y="416419"/>
                    <a:pt x="1011658" y="416419"/>
                  </a:cubicBezTo>
                  <a:cubicBezTo>
                    <a:pt x="998518" y="416419"/>
                    <a:pt x="989615" y="420034"/>
                    <a:pt x="978068" y="423884"/>
                  </a:cubicBezTo>
                  <a:cubicBezTo>
                    <a:pt x="951942" y="425128"/>
                    <a:pt x="925801" y="426080"/>
                    <a:pt x="899691" y="427616"/>
                  </a:cubicBezTo>
                  <a:cubicBezTo>
                    <a:pt x="883498" y="428568"/>
                    <a:pt x="867078" y="428167"/>
                    <a:pt x="851172" y="431348"/>
                  </a:cubicBezTo>
                  <a:cubicBezTo>
                    <a:pt x="847721" y="432038"/>
                    <a:pt x="846195" y="436325"/>
                    <a:pt x="843707" y="438813"/>
                  </a:cubicBezTo>
                  <a:lnTo>
                    <a:pt x="832511" y="442545"/>
                  </a:lnTo>
                  <a:cubicBezTo>
                    <a:pt x="825046" y="445033"/>
                    <a:pt x="817155" y="446490"/>
                    <a:pt x="810117" y="450009"/>
                  </a:cubicBezTo>
                  <a:cubicBezTo>
                    <a:pt x="806970" y="451583"/>
                    <a:pt x="805401" y="455276"/>
                    <a:pt x="802653" y="457474"/>
                  </a:cubicBezTo>
                  <a:cubicBezTo>
                    <a:pt x="799150" y="460276"/>
                    <a:pt x="794959" y="462136"/>
                    <a:pt x="791456" y="464938"/>
                  </a:cubicBezTo>
                  <a:cubicBezTo>
                    <a:pt x="788708" y="467136"/>
                    <a:pt x="786739" y="470205"/>
                    <a:pt x="783991" y="472403"/>
                  </a:cubicBezTo>
                  <a:cubicBezTo>
                    <a:pt x="760450" y="491236"/>
                    <a:pt x="783355" y="469307"/>
                    <a:pt x="765330" y="487332"/>
                  </a:cubicBezTo>
                  <a:cubicBezTo>
                    <a:pt x="765330" y="487332"/>
                    <a:pt x="750528" y="492726"/>
                    <a:pt x="742937" y="494796"/>
                  </a:cubicBezTo>
                  <a:cubicBezTo>
                    <a:pt x="693385" y="508311"/>
                    <a:pt x="747057" y="490936"/>
                    <a:pt x="713079" y="502261"/>
                  </a:cubicBezTo>
                  <a:cubicBezTo>
                    <a:pt x="674855" y="515002"/>
                    <a:pt x="701835" y="502299"/>
                    <a:pt x="683221" y="517190"/>
                  </a:cubicBezTo>
                  <a:cubicBezTo>
                    <a:pt x="679718" y="519992"/>
                    <a:pt x="674826" y="521151"/>
                    <a:pt x="672024" y="524654"/>
                  </a:cubicBezTo>
                  <a:cubicBezTo>
                    <a:pt x="669566" y="527726"/>
                    <a:pt x="670316" y="532477"/>
                    <a:pt x="668292" y="535851"/>
                  </a:cubicBezTo>
                  <a:cubicBezTo>
                    <a:pt x="666481" y="538869"/>
                    <a:pt x="663025" y="540568"/>
                    <a:pt x="660827" y="543316"/>
                  </a:cubicBezTo>
                  <a:cubicBezTo>
                    <a:pt x="658025" y="546818"/>
                    <a:pt x="655851" y="550780"/>
                    <a:pt x="653363" y="554512"/>
                  </a:cubicBezTo>
                  <a:cubicBezTo>
                    <a:pt x="626293" y="557520"/>
                    <a:pt x="625412" y="556101"/>
                    <a:pt x="604844" y="561977"/>
                  </a:cubicBezTo>
                  <a:cubicBezTo>
                    <a:pt x="601061" y="563058"/>
                    <a:pt x="597505" y="566480"/>
                    <a:pt x="593647" y="565709"/>
                  </a:cubicBezTo>
                  <a:cubicBezTo>
                    <a:pt x="590197" y="565019"/>
                    <a:pt x="588670" y="560733"/>
                    <a:pt x="586182" y="558245"/>
                  </a:cubicBezTo>
                  <a:lnTo>
                    <a:pt x="574986" y="554512"/>
                  </a:lnTo>
                  <a:lnTo>
                    <a:pt x="563789" y="550780"/>
                  </a:lnTo>
                  <a:lnTo>
                    <a:pt x="519002" y="535851"/>
                  </a:lnTo>
                  <a:cubicBezTo>
                    <a:pt x="511538" y="533363"/>
                    <a:pt x="504145" y="530648"/>
                    <a:pt x="496609" y="528387"/>
                  </a:cubicBezTo>
                  <a:cubicBezTo>
                    <a:pt x="491696" y="526913"/>
                    <a:pt x="486395" y="526675"/>
                    <a:pt x="481680" y="524654"/>
                  </a:cubicBezTo>
                  <a:cubicBezTo>
                    <a:pt x="477557" y="522887"/>
                    <a:pt x="474215" y="519678"/>
                    <a:pt x="470483" y="517190"/>
                  </a:cubicBezTo>
                  <a:cubicBezTo>
                    <a:pt x="467209" y="515008"/>
                    <a:pt x="463018" y="514702"/>
                    <a:pt x="459286" y="513458"/>
                  </a:cubicBezTo>
                  <a:cubicBezTo>
                    <a:pt x="437934" y="506340"/>
                    <a:pt x="430480" y="503218"/>
                    <a:pt x="407035" y="498529"/>
                  </a:cubicBezTo>
                  <a:cubicBezTo>
                    <a:pt x="398409" y="496804"/>
                    <a:pt x="389629" y="495959"/>
                    <a:pt x="380909" y="494796"/>
                  </a:cubicBezTo>
                  <a:cubicBezTo>
                    <a:pt x="370967" y="493470"/>
                    <a:pt x="360658" y="493946"/>
                    <a:pt x="351051" y="491064"/>
                  </a:cubicBezTo>
                  <a:cubicBezTo>
                    <a:pt x="347681" y="490053"/>
                    <a:pt x="344276" y="487050"/>
                    <a:pt x="343586" y="483600"/>
                  </a:cubicBezTo>
                  <a:cubicBezTo>
                    <a:pt x="342398" y="477658"/>
                    <a:pt x="352365" y="464833"/>
                    <a:pt x="354783" y="461206"/>
                  </a:cubicBezTo>
                  <a:lnTo>
                    <a:pt x="365980" y="457474"/>
                  </a:lnTo>
                  <a:lnTo>
                    <a:pt x="377177" y="453742"/>
                  </a:lnTo>
                  <a:lnTo>
                    <a:pt x="399570" y="446277"/>
                  </a:lnTo>
                  <a:cubicBezTo>
                    <a:pt x="407035" y="443789"/>
                    <a:pt x="414774" y="442009"/>
                    <a:pt x="421964" y="438813"/>
                  </a:cubicBezTo>
                  <a:cubicBezTo>
                    <a:pt x="426063" y="436991"/>
                    <a:pt x="429428" y="433836"/>
                    <a:pt x="433160" y="431348"/>
                  </a:cubicBezTo>
                  <a:lnTo>
                    <a:pt x="444357" y="427616"/>
                  </a:lnTo>
                  <a:cubicBezTo>
                    <a:pt x="471005" y="418733"/>
                    <a:pt x="460205" y="424515"/>
                    <a:pt x="477947" y="412687"/>
                  </a:cubicBezTo>
                  <a:cubicBezTo>
                    <a:pt x="482923" y="411443"/>
                    <a:pt x="488288" y="411249"/>
                    <a:pt x="492876" y="408955"/>
                  </a:cubicBezTo>
                  <a:cubicBezTo>
                    <a:pt x="498440" y="406173"/>
                    <a:pt x="502743" y="401374"/>
                    <a:pt x="507805" y="397758"/>
                  </a:cubicBezTo>
                  <a:cubicBezTo>
                    <a:pt x="523640" y="386448"/>
                    <a:pt x="515609" y="395385"/>
                    <a:pt x="526466" y="379097"/>
                  </a:cubicBezTo>
                  <a:cubicBezTo>
                    <a:pt x="540622" y="369659"/>
                    <a:pt x="542537" y="371692"/>
                    <a:pt x="545128" y="349239"/>
                  </a:cubicBezTo>
                  <a:cubicBezTo>
                    <a:pt x="553618" y="275662"/>
                    <a:pt x="565829" y="291563"/>
                    <a:pt x="541395" y="267129"/>
                  </a:cubicBezTo>
                  <a:cubicBezTo>
                    <a:pt x="509049" y="265885"/>
                    <a:pt x="476727" y="263397"/>
                    <a:pt x="444357" y="263397"/>
                  </a:cubicBezTo>
                  <a:cubicBezTo>
                    <a:pt x="440423" y="263397"/>
                    <a:pt x="436679" y="265370"/>
                    <a:pt x="433160" y="267129"/>
                  </a:cubicBezTo>
                  <a:cubicBezTo>
                    <a:pt x="429148" y="269135"/>
                    <a:pt x="425696" y="272106"/>
                    <a:pt x="421964" y="274594"/>
                  </a:cubicBezTo>
                  <a:cubicBezTo>
                    <a:pt x="421964" y="274594"/>
                    <a:pt x="407107" y="279797"/>
                    <a:pt x="399570" y="282058"/>
                  </a:cubicBezTo>
                  <a:cubicBezTo>
                    <a:pt x="379487" y="288083"/>
                    <a:pt x="388188" y="280470"/>
                    <a:pt x="377177" y="296987"/>
                  </a:cubicBezTo>
                  <a:cubicBezTo>
                    <a:pt x="354615" y="302629"/>
                    <a:pt x="367114" y="299098"/>
                    <a:pt x="339854" y="308184"/>
                  </a:cubicBezTo>
                  <a:cubicBezTo>
                    <a:pt x="327195" y="312403"/>
                    <a:pt x="318838" y="321736"/>
                    <a:pt x="309996" y="330578"/>
                  </a:cubicBezTo>
                  <a:cubicBezTo>
                    <a:pt x="290454" y="337092"/>
                    <a:pt x="301582" y="331528"/>
                    <a:pt x="280138" y="352971"/>
                  </a:cubicBezTo>
                  <a:cubicBezTo>
                    <a:pt x="276406" y="354215"/>
                    <a:pt x="272461" y="354944"/>
                    <a:pt x="268942" y="356703"/>
                  </a:cubicBezTo>
                  <a:cubicBezTo>
                    <a:pt x="255232" y="363558"/>
                    <a:pt x="255673" y="368077"/>
                    <a:pt x="242816" y="379097"/>
                  </a:cubicBezTo>
                  <a:cubicBezTo>
                    <a:pt x="224685" y="394637"/>
                    <a:pt x="234035" y="377119"/>
                    <a:pt x="212958" y="405222"/>
                  </a:cubicBezTo>
                  <a:cubicBezTo>
                    <a:pt x="199688" y="422916"/>
                    <a:pt x="221252" y="412411"/>
                    <a:pt x="198029" y="420151"/>
                  </a:cubicBezTo>
                  <a:cubicBezTo>
                    <a:pt x="161307" y="424232"/>
                    <a:pt x="160812" y="413054"/>
                    <a:pt x="168171" y="438813"/>
                  </a:cubicBezTo>
                  <a:cubicBezTo>
                    <a:pt x="169252" y="442596"/>
                    <a:pt x="170659" y="446277"/>
                    <a:pt x="171903" y="450009"/>
                  </a:cubicBezTo>
                  <a:lnTo>
                    <a:pt x="186832" y="472403"/>
                  </a:lnTo>
                  <a:cubicBezTo>
                    <a:pt x="210446" y="507825"/>
                    <a:pt x="196236" y="470755"/>
                    <a:pt x="205493" y="498529"/>
                  </a:cubicBezTo>
                  <a:cubicBezTo>
                    <a:pt x="208128" y="501163"/>
                    <a:pt x="221207" y="513265"/>
                    <a:pt x="220422" y="517190"/>
                  </a:cubicBezTo>
                  <a:cubicBezTo>
                    <a:pt x="219542" y="521588"/>
                    <a:pt x="212728" y="521852"/>
                    <a:pt x="209226" y="524654"/>
                  </a:cubicBezTo>
                  <a:cubicBezTo>
                    <a:pt x="206478" y="526852"/>
                    <a:pt x="204249" y="529631"/>
                    <a:pt x="201761" y="532119"/>
                  </a:cubicBezTo>
                  <a:cubicBezTo>
                    <a:pt x="198029" y="533363"/>
                    <a:pt x="194083" y="534092"/>
                    <a:pt x="190564" y="535851"/>
                  </a:cubicBezTo>
                  <a:cubicBezTo>
                    <a:pt x="179199" y="541534"/>
                    <a:pt x="173618" y="549066"/>
                    <a:pt x="164439" y="558245"/>
                  </a:cubicBezTo>
                  <a:lnTo>
                    <a:pt x="156974" y="580638"/>
                  </a:lnTo>
                  <a:lnTo>
                    <a:pt x="0" y="5806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23" name="Content Placeholder 12">
            <a:extLst>
              <a:ext uri="{FF2B5EF4-FFF2-40B4-BE49-F238E27FC236}">
                <a16:creationId xmlns:a16="http://schemas.microsoft.com/office/drawing/2014/main" id="{5CE67423-85C8-4D3E-A31A-8BBCB442199B}"/>
              </a:ext>
            </a:extLst>
          </p:cNvPr>
          <p:cNvSpPr>
            <a:spLocks noGrp="1"/>
          </p:cNvSpPr>
          <p:nvPr>
            <p:ph sz="half" idx="1"/>
          </p:nvPr>
        </p:nvSpPr>
        <p:spPr>
          <a:xfrm>
            <a:off x="6264191" y="318014"/>
            <a:ext cx="5640550" cy="5789701"/>
          </a:xfrm>
        </p:spPr>
        <p:txBody>
          <a:bodyPr anchor="ctr">
            <a:normAutofit fontScale="70000" lnSpcReduction="20000"/>
          </a:bodyPr>
          <a:lstStyle/>
          <a:p>
            <a:pPr marL="0" indent="0">
              <a:spcBef>
                <a:spcPts val="1200"/>
              </a:spcBef>
              <a:spcAft>
                <a:spcPts val="1200"/>
              </a:spcAft>
              <a:buNone/>
            </a:pPr>
            <a:r>
              <a:rPr lang="en-US" sz="2400" b="1"/>
              <a:t>Long-term herbicide resistance management requires more than weed control aimed at minimizing yield loss in a single year</a:t>
            </a:r>
          </a:p>
          <a:p>
            <a:pPr marL="0" indent="0">
              <a:spcBef>
                <a:spcPts val="1200"/>
              </a:spcBef>
              <a:spcAft>
                <a:spcPts val="1200"/>
              </a:spcAft>
              <a:buNone/>
            </a:pPr>
            <a:r>
              <a:rPr lang="en-US" sz="2400" b="1"/>
              <a:t>Adopt a multi-year approach</a:t>
            </a:r>
          </a:p>
          <a:p>
            <a:pPr>
              <a:spcBef>
                <a:spcPts val="1200"/>
              </a:spcBef>
              <a:spcAft>
                <a:spcPts val="1200"/>
              </a:spcAft>
            </a:pPr>
            <a:r>
              <a:rPr lang="en-US" sz="2400"/>
              <a:t>Knowing existing resistance</a:t>
            </a:r>
          </a:p>
          <a:p>
            <a:pPr>
              <a:spcBef>
                <a:spcPts val="1200"/>
              </a:spcBef>
              <a:spcAft>
                <a:spcPts val="1200"/>
              </a:spcAft>
            </a:pPr>
            <a:r>
              <a:rPr lang="en-US" sz="2400"/>
              <a:t>Crop rotation </a:t>
            </a:r>
          </a:p>
          <a:p>
            <a:pPr marL="0" indent="0">
              <a:spcBef>
                <a:spcPts val="1200"/>
              </a:spcBef>
              <a:spcAft>
                <a:spcPts val="1200"/>
              </a:spcAft>
              <a:buNone/>
            </a:pPr>
            <a:r>
              <a:rPr lang="en-US" sz="2400" b="1"/>
              <a:t>Effective herbicide resistance management combines:</a:t>
            </a:r>
          </a:p>
          <a:p>
            <a:pPr>
              <a:spcBef>
                <a:spcPts val="1200"/>
              </a:spcBef>
              <a:spcAft>
                <a:spcPts val="1200"/>
              </a:spcAft>
            </a:pPr>
            <a:r>
              <a:rPr lang="en-US" sz="2400"/>
              <a:t>Proper scouting (before and after applications)</a:t>
            </a:r>
          </a:p>
          <a:p>
            <a:pPr>
              <a:spcBef>
                <a:spcPts val="1200"/>
              </a:spcBef>
              <a:spcAft>
                <a:spcPts val="1200"/>
              </a:spcAft>
            </a:pPr>
            <a:r>
              <a:rPr lang="en-US" sz="2400"/>
              <a:t>System approach to chemical application </a:t>
            </a:r>
          </a:p>
          <a:p>
            <a:pPr lvl="1">
              <a:spcBef>
                <a:spcPts val="1200"/>
              </a:spcBef>
              <a:spcAft>
                <a:spcPts val="1200"/>
              </a:spcAft>
            </a:pPr>
            <a:r>
              <a:rPr lang="en-US" sz="2200"/>
              <a:t>Multiple Sites of Action</a:t>
            </a:r>
          </a:p>
          <a:p>
            <a:pPr lvl="1">
              <a:spcBef>
                <a:spcPts val="1200"/>
              </a:spcBef>
              <a:spcAft>
                <a:spcPts val="1200"/>
              </a:spcAft>
            </a:pPr>
            <a:r>
              <a:rPr lang="en-US" sz="2200"/>
              <a:t>Overlapping residuals</a:t>
            </a:r>
          </a:p>
          <a:p>
            <a:pPr>
              <a:spcBef>
                <a:spcPts val="1200"/>
              </a:spcBef>
              <a:spcAft>
                <a:spcPts val="1200"/>
              </a:spcAft>
            </a:pPr>
            <a:r>
              <a:rPr lang="en-US" sz="2400"/>
              <a:t>Ensure effective chemical applications</a:t>
            </a:r>
          </a:p>
          <a:p>
            <a:pPr lvl="1">
              <a:spcBef>
                <a:spcPts val="1200"/>
              </a:spcBef>
              <a:spcAft>
                <a:spcPts val="1200"/>
              </a:spcAft>
            </a:pPr>
            <a:r>
              <a:rPr lang="en-US" sz="2200"/>
              <a:t>Timely applications (&lt; 4 inch weeds)</a:t>
            </a:r>
          </a:p>
        </p:txBody>
      </p:sp>
      <p:sp>
        <p:nvSpPr>
          <p:cNvPr id="8" name="Footer Placeholder 7">
            <a:extLst>
              <a:ext uri="{FF2B5EF4-FFF2-40B4-BE49-F238E27FC236}">
                <a16:creationId xmlns:a16="http://schemas.microsoft.com/office/drawing/2014/main" id="{F5BD2A40-3FE0-4E09-9936-B026E68D43F9}"/>
              </a:ext>
            </a:extLst>
          </p:cNvPr>
          <p:cNvSpPr>
            <a:spLocks noGrp="1"/>
          </p:cNvSpPr>
          <p:nvPr>
            <p:ph type="ftr" sz="quarter" idx="15"/>
          </p:nvPr>
        </p:nvSpPr>
        <p:spPr>
          <a:xfrm>
            <a:off x="2285412" y="6311900"/>
            <a:ext cx="8275320" cy="33843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9" name="Slide Number Placeholder 8">
            <a:extLst>
              <a:ext uri="{FF2B5EF4-FFF2-40B4-BE49-F238E27FC236}">
                <a16:creationId xmlns:a16="http://schemas.microsoft.com/office/drawing/2014/main" id="{ACC5E3D9-FF8A-42AB-BCF2-6E25798EF91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C2420-D500-4FDF-A245-39DCF46675EA}"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sp>
        <p:nvSpPr>
          <p:cNvPr id="2" name="Title 1"/>
          <p:cNvSpPr>
            <a:spLocks noGrp="1"/>
          </p:cNvSpPr>
          <p:nvPr>
            <p:ph type="title"/>
          </p:nvPr>
        </p:nvSpPr>
        <p:spPr>
          <a:xfrm>
            <a:off x="421101" y="169243"/>
            <a:ext cx="5425991" cy="1421928"/>
          </a:xfrm>
        </p:spPr>
        <p:txBody>
          <a:bodyPr/>
          <a:lstStyle/>
          <a:p>
            <a:r>
              <a:rPr lang="en-US" sz="3200"/>
              <a:t>Principles of weed resistance management</a:t>
            </a:r>
          </a:p>
        </p:txBody>
      </p:sp>
      <p:sp>
        <p:nvSpPr>
          <p:cNvPr id="15" name="Rectangle 14">
            <a:extLst>
              <a:ext uri="{FF2B5EF4-FFF2-40B4-BE49-F238E27FC236}">
                <a16:creationId xmlns:a16="http://schemas.microsoft.com/office/drawing/2014/main" id="{77043D2D-1816-4BD8-A137-D731FEB6F76D}"/>
              </a:ext>
            </a:extLst>
          </p:cNvPr>
          <p:cNvSpPr/>
          <p:nvPr/>
        </p:nvSpPr>
        <p:spPr>
          <a:xfrm>
            <a:off x="1215442" y="2897109"/>
            <a:ext cx="3079832" cy="1539089"/>
          </a:xfrm>
          <a:prstGeom prst="rect">
            <a:avLst/>
          </a:prstGeom>
          <a:solidFill>
            <a:schemeClr val="accent1">
              <a:alpha val="6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6" name="Content Placeholder 2">
            <a:extLst>
              <a:ext uri="{FF2B5EF4-FFF2-40B4-BE49-F238E27FC236}">
                <a16:creationId xmlns:a16="http://schemas.microsoft.com/office/drawing/2014/main" id="{30C3B1EC-5849-42DA-8C5F-8CAF93E1E334}"/>
              </a:ext>
            </a:extLst>
          </p:cNvPr>
          <p:cNvSpPr txBox="1">
            <a:spLocks/>
          </p:cNvSpPr>
          <p:nvPr/>
        </p:nvSpPr>
        <p:spPr>
          <a:xfrm>
            <a:off x="1383632" y="1825625"/>
            <a:ext cx="3801057" cy="3736755"/>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sz="2800">
                <a:solidFill>
                  <a:prstClr val="white"/>
                </a:solidFill>
                <a:latin typeface="Arial Black" panose="020B0A04020102020204" pitchFamily="34" charset="0"/>
              </a:rPr>
              <a:t>Long-term</a:t>
            </a:r>
          </a:p>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sz="2800">
                <a:solidFill>
                  <a:prstClr val="white"/>
                </a:solidFill>
                <a:latin typeface="Arial Black" panose="020B0A04020102020204" pitchFamily="34" charset="0"/>
              </a:rPr>
              <a:t>Strategy</a:t>
            </a:r>
            <a:endParaRPr kumimoji="0" lang="en-US" sz="2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21" name="Picture 20">
            <a:extLst>
              <a:ext uri="{FF2B5EF4-FFF2-40B4-BE49-F238E27FC236}">
                <a16:creationId xmlns:a16="http://schemas.microsoft.com/office/drawing/2014/main" id="{AFE1AC98-457A-4F84-9E97-5A0998A52D0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8200" y="5779918"/>
            <a:ext cx="1111659" cy="512064"/>
          </a:xfrm>
          <a:prstGeom prst="rect">
            <a:avLst/>
          </a:prstGeom>
        </p:spPr>
      </p:pic>
      <p:sp>
        <p:nvSpPr>
          <p:cNvPr id="27" name="Rectangle 26">
            <a:extLst>
              <a:ext uri="{FF2B5EF4-FFF2-40B4-BE49-F238E27FC236}">
                <a16:creationId xmlns:a16="http://schemas.microsoft.com/office/drawing/2014/main" id="{144DB448-9B40-4A3D-83EB-2E1B91F4F3D3}"/>
              </a:ext>
            </a:extLst>
          </p:cNvPr>
          <p:cNvSpPr/>
          <p:nvPr/>
        </p:nvSpPr>
        <p:spPr>
          <a:xfrm>
            <a:off x="832691" y="6311900"/>
            <a:ext cx="1304581" cy="5120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28" name="Group 27">
            <a:extLst>
              <a:ext uri="{FF2B5EF4-FFF2-40B4-BE49-F238E27FC236}">
                <a16:creationId xmlns:a16="http://schemas.microsoft.com/office/drawing/2014/main" id="{B0182FEB-8361-47D3-B6EF-E7C09C34ACAA}"/>
              </a:ext>
            </a:extLst>
          </p:cNvPr>
          <p:cNvGrpSpPr/>
          <p:nvPr/>
        </p:nvGrpSpPr>
        <p:grpSpPr>
          <a:xfrm>
            <a:off x="950173" y="6425309"/>
            <a:ext cx="1075910" cy="230941"/>
            <a:chOff x="201074" y="6425309"/>
            <a:chExt cx="1075910" cy="230941"/>
          </a:xfrm>
        </p:grpSpPr>
        <p:sp>
          <p:nvSpPr>
            <p:cNvPr id="29" name="Rectangle 28">
              <a:extLst>
                <a:ext uri="{FF2B5EF4-FFF2-40B4-BE49-F238E27FC236}">
                  <a16:creationId xmlns:a16="http://schemas.microsoft.com/office/drawing/2014/main" id="{99FD0687-44DB-441B-97C2-B6E919B8DA77}"/>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600" normalizeH="0" baseline="0" noProof="0">
                <a:ln>
                  <a:noFill/>
                </a:ln>
                <a:solidFill>
                  <a:prstClr val="white"/>
                </a:solidFill>
                <a:effectLst/>
                <a:uLnTx/>
                <a:uFillTx/>
                <a:latin typeface="Arial Narrow" panose="020B0606020202030204" pitchFamily="34" charset="0"/>
                <a:ea typeface="+mn-ea"/>
                <a:cs typeface="+mn-cs"/>
              </a:endParaRPr>
            </a:p>
          </p:txBody>
        </p:sp>
        <p:cxnSp>
          <p:nvCxnSpPr>
            <p:cNvPr id="30" name="Straight Connector 29">
              <a:extLst>
                <a:ext uri="{FF2B5EF4-FFF2-40B4-BE49-F238E27FC236}">
                  <a16:creationId xmlns:a16="http://schemas.microsoft.com/office/drawing/2014/main" id="{58DEEE69-AA73-41DF-A1C2-A60568B18DED}"/>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7B48F102-D0C1-435B-BBD2-EF83A2E2F229}"/>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Black" panose="020B0A04020102020204" pitchFamily="34" charset="0"/>
                  <a:ea typeface="+mj-ea"/>
                  <a:cs typeface="+mj-cs"/>
                </a:rPr>
                <a:t>2020</a:t>
              </a:r>
              <a:endParaRPr kumimoji="0" lang="en-US" sz="1200" b="0" i="0" u="none" strike="noStrike" kern="1200" cap="none" spc="0" normalizeH="0" baseline="0" noProof="0">
                <a:ln>
                  <a:noFill/>
                </a:ln>
                <a:solidFill>
                  <a:prstClr val="white"/>
                </a:solidFill>
                <a:effectLst/>
                <a:uLnTx/>
                <a:uFillTx/>
                <a:latin typeface="Arial Black" panose="020B0A04020102020204" pitchFamily="34" charset="0"/>
                <a:ea typeface="+mj-ea"/>
                <a:cs typeface="+mj-cs"/>
              </a:endParaRPr>
            </a:p>
          </p:txBody>
        </p:sp>
        <p:sp>
          <p:nvSpPr>
            <p:cNvPr id="32" name="Title 1">
              <a:extLst>
                <a:ext uri="{FF2B5EF4-FFF2-40B4-BE49-F238E27FC236}">
                  <a16:creationId xmlns:a16="http://schemas.microsoft.com/office/drawing/2014/main" id="{CC1FBDE0-D47C-4CC8-B126-F1752F2B4371}"/>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Narrow" panose="020B0606020202030204" pitchFamily="34" charset="0"/>
                  <a:ea typeface="+mj-ea"/>
                  <a:cs typeface="+mj-cs"/>
                </a:rPr>
                <a:t>Season</a:t>
              </a:r>
            </a:p>
          </p:txBody>
        </p:sp>
      </p:grpSp>
      <p:pic>
        <p:nvPicPr>
          <p:cNvPr id="22" name="Picture 21">
            <a:extLst>
              <a:ext uri="{FF2B5EF4-FFF2-40B4-BE49-F238E27FC236}">
                <a16:creationId xmlns:a16="http://schemas.microsoft.com/office/drawing/2014/main" id="{30C9CA44-7CFB-43A4-ACB5-96B233E38978}"/>
              </a:ext>
            </a:extLst>
          </p:cNvPr>
          <p:cNvPicPr>
            <a:picLocks noChangeAspect="1"/>
          </p:cNvPicPr>
          <p:nvPr/>
        </p:nvPicPr>
        <p:blipFill>
          <a:blip r:embed="rId5"/>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15750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28">
            <a:extLst>
              <a:ext uri="{FF2B5EF4-FFF2-40B4-BE49-F238E27FC236}">
                <a16:creationId xmlns:a16="http://schemas.microsoft.com/office/drawing/2014/main" id="{28310AF5-C093-42CB-AA3E-1AEEBA805BA3}"/>
              </a:ext>
            </a:extLst>
          </p:cNvPr>
          <p:cNvSpPr>
            <a:spLocks noGrp="1"/>
          </p:cNvSpPr>
          <p:nvPr>
            <p:ph sz="half" idx="1"/>
          </p:nvPr>
        </p:nvSpPr>
        <p:spPr>
          <a:xfrm>
            <a:off x="6698582" y="252367"/>
            <a:ext cx="5387276" cy="5462845"/>
          </a:xfrm>
        </p:spPr>
        <p:txBody>
          <a:bodyPr anchor="ctr">
            <a:normAutofit/>
          </a:bodyPr>
          <a:lstStyle/>
          <a:p>
            <a:pPr marL="0" indent="0">
              <a:spcBef>
                <a:spcPts val="1200"/>
              </a:spcBef>
              <a:spcAft>
                <a:spcPts val="1200"/>
              </a:spcAft>
              <a:buNone/>
            </a:pPr>
            <a:r>
              <a:rPr lang="en-US" b="1"/>
              <a:t>Use Cultural As Well As Chemical Practices for Weed Management</a:t>
            </a:r>
          </a:p>
          <a:p>
            <a:pPr>
              <a:spcBef>
                <a:spcPts val="1200"/>
              </a:spcBef>
              <a:spcAft>
                <a:spcPts val="1200"/>
              </a:spcAft>
            </a:pPr>
            <a:r>
              <a:rPr lang="en-US"/>
              <a:t>Crop rotation</a:t>
            </a:r>
          </a:p>
          <a:p>
            <a:pPr>
              <a:spcBef>
                <a:spcPts val="1200"/>
              </a:spcBef>
              <a:spcAft>
                <a:spcPts val="1200"/>
              </a:spcAft>
            </a:pPr>
            <a:r>
              <a:rPr lang="en-US"/>
              <a:t>Cover crops/crop residue</a:t>
            </a:r>
          </a:p>
          <a:p>
            <a:pPr>
              <a:spcBef>
                <a:spcPts val="1200"/>
              </a:spcBef>
              <a:spcAft>
                <a:spcPts val="1200"/>
              </a:spcAft>
            </a:pPr>
            <a:r>
              <a:rPr lang="en-US"/>
              <a:t>Sound agronomic practices to increase crop competition</a:t>
            </a:r>
          </a:p>
          <a:p>
            <a:pPr lvl="1">
              <a:spcBef>
                <a:spcPts val="1200"/>
              </a:spcBef>
              <a:spcAft>
                <a:spcPts val="1200"/>
              </a:spcAft>
            </a:pPr>
            <a:r>
              <a:rPr lang="en-US"/>
              <a:t>Row spacing (example left)</a:t>
            </a:r>
          </a:p>
          <a:p>
            <a:pPr lvl="1">
              <a:spcBef>
                <a:spcPts val="1200"/>
              </a:spcBef>
              <a:spcAft>
                <a:spcPts val="1200"/>
              </a:spcAft>
            </a:pPr>
            <a:r>
              <a:rPr lang="en-US"/>
              <a:t>Pest management</a:t>
            </a:r>
          </a:p>
          <a:p>
            <a:pPr lvl="1">
              <a:spcBef>
                <a:spcPts val="1200"/>
              </a:spcBef>
              <a:spcAft>
                <a:spcPts val="1200"/>
              </a:spcAft>
            </a:pPr>
            <a:r>
              <a:rPr lang="en-US"/>
              <a:t>Soil health</a:t>
            </a:r>
          </a:p>
        </p:txBody>
      </p:sp>
      <p:sp>
        <p:nvSpPr>
          <p:cNvPr id="11" name="Footer Placeholder 10">
            <a:extLst>
              <a:ext uri="{FF2B5EF4-FFF2-40B4-BE49-F238E27FC236}">
                <a16:creationId xmlns:a16="http://schemas.microsoft.com/office/drawing/2014/main" id="{D89610AF-DB00-45C3-B3B1-E32D94AAAA56}"/>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10" name="Slide Number Placeholder 9">
            <a:extLst>
              <a:ext uri="{FF2B5EF4-FFF2-40B4-BE49-F238E27FC236}">
                <a16:creationId xmlns:a16="http://schemas.microsoft.com/office/drawing/2014/main" id="{B5BE5F07-04BA-4350-BE85-45404E02116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C2420-D500-4FDF-A245-39DCF46675EA}"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sp>
        <p:nvSpPr>
          <p:cNvPr id="2" name="Title 1"/>
          <p:cNvSpPr>
            <a:spLocks noGrp="1"/>
          </p:cNvSpPr>
          <p:nvPr>
            <p:ph type="title"/>
          </p:nvPr>
        </p:nvSpPr>
        <p:spPr>
          <a:xfrm>
            <a:off x="838200" y="142650"/>
            <a:ext cx="10515600" cy="480131"/>
          </a:xfrm>
        </p:spPr>
        <p:txBody>
          <a:bodyPr/>
          <a:lstStyle/>
          <a:p>
            <a:r>
              <a:rPr lang="en-US" sz="2800"/>
              <a:t>Principles of weed resistance management</a:t>
            </a:r>
          </a:p>
        </p:txBody>
      </p:sp>
      <p:sp>
        <p:nvSpPr>
          <p:cNvPr id="24" name="Content Placeholder 2">
            <a:extLst>
              <a:ext uri="{FF2B5EF4-FFF2-40B4-BE49-F238E27FC236}">
                <a16:creationId xmlns:a16="http://schemas.microsoft.com/office/drawing/2014/main" id="{2A8210F6-0C69-434C-92EF-0C985B33DC29}"/>
              </a:ext>
            </a:extLst>
          </p:cNvPr>
          <p:cNvSpPr txBox="1">
            <a:spLocks/>
          </p:cNvSpPr>
          <p:nvPr/>
        </p:nvSpPr>
        <p:spPr>
          <a:xfrm>
            <a:off x="1383632" y="1823859"/>
            <a:ext cx="2931193" cy="3738522"/>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white"/>
                </a:solidFill>
                <a:effectLst/>
                <a:uLnTx/>
                <a:uFillTx/>
                <a:latin typeface="Arial Black" panose="020B0A04020102020204" pitchFamily="34" charset="0"/>
                <a:ea typeface="+mn-ea"/>
                <a:cs typeface="+mn-cs"/>
              </a:rPr>
              <a:t>COMBINE </a:t>
            </a:r>
            <a:br>
              <a:rPr kumimoji="0" lang="en-US" sz="2800" b="0" i="0" u="none" strike="noStrike" kern="1200" cap="none" spc="0" normalizeH="0" baseline="0" noProof="0">
                <a:ln>
                  <a:noFill/>
                </a:ln>
                <a:solidFill>
                  <a:prstClr val="white"/>
                </a:solidFill>
                <a:effectLst/>
                <a:uLnTx/>
                <a:uFillTx/>
                <a:latin typeface="Arial Black" panose="020B0A04020102020204" pitchFamily="34" charset="0"/>
                <a:ea typeface="+mn-ea"/>
                <a:cs typeface="+mn-cs"/>
              </a:rPr>
            </a:br>
            <a:r>
              <a:rPr kumimoji="0" lang="en-US" sz="2800" b="0" i="0" u="none" strike="noStrike" kern="1200" cap="none" spc="0" normalizeH="0" baseline="0" noProof="0">
                <a:ln>
                  <a:noFill/>
                </a:ln>
                <a:solidFill>
                  <a:prstClr val="white"/>
                </a:solidFill>
                <a:effectLst/>
                <a:uLnTx/>
                <a:uFillTx/>
                <a:latin typeface="Arial Black" panose="020B0A04020102020204" pitchFamily="34" charset="0"/>
                <a:ea typeface="+mn-ea"/>
                <a:cs typeface="+mn-cs"/>
              </a:rPr>
              <a:t>TACTICS TO BE MOST EFFECTIVE</a:t>
            </a:r>
          </a:p>
        </p:txBody>
      </p:sp>
      <p:sp>
        <p:nvSpPr>
          <p:cNvPr id="15" name="Rectangle 14">
            <a:extLst>
              <a:ext uri="{FF2B5EF4-FFF2-40B4-BE49-F238E27FC236}">
                <a16:creationId xmlns:a16="http://schemas.microsoft.com/office/drawing/2014/main" id="{8FD9F64B-8A72-480C-B01A-AD3B75346000}"/>
              </a:ext>
            </a:extLst>
          </p:cNvPr>
          <p:cNvSpPr/>
          <p:nvPr/>
        </p:nvSpPr>
        <p:spPr>
          <a:xfrm>
            <a:off x="832691" y="6311900"/>
            <a:ext cx="1304581" cy="5120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84D40121-5AA1-45B8-814D-CF765270608F}"/>
              </a:ext>
            </a:extLst>
          </p:cNvPr>
          <p:cNvGrpSpPr/>
          <p:nvPr/>
        </p:nvGrpSpPr>
        <p:grpSpPr>
          <a:xfrm>
            <a:off x="950173" y="6425309"/>
            <a:ext cx="1075910" cy="230941"/>
            <a:chOff x="201074" y="6425309"/>
            <a:chExt cx="1075910" cy="230941"/>
          </a:xfrm>
        </p:grpSpPr>
        <p:sp>
          <p:nvSpPr>
            <p:cNvPr id="17" name="Rectangle 16">
              <a:extLst>
                <a:ext uri="{FF2B5EF4-FFF2-40B4-BE49-F238E27FC236}">
                  <a16:creationId xmlns:a16="http://schemas.microsoft.com/office/drawing/2014/main" id="{58E7349E-E7FD-4715-8CF8-33EE92F206ED}"/>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600" normalizeH="0" baseline="0" noProof="0">
                <a:ln>
                  <a:noFill/>
                </a:ln>
                <a:solidFill>
                  <a:prstClr val="white"/>
                </a:solidFill>
                <a:effectLst/>
                <a:uLnTx/>
                <a:uFillTx/>
                <a:latin typeface="Arial Narrow" panose="020B0606020202030204" pitchFamily="34" charset="0"/>
                <a:ea typeface="+mn-ea"/>
                <a:cs typeface="+mn-cs"/>
              </a:endParaRPr>
            </a:p>
          </p:txBody>
        </p:sp>
        <p:cxnSp>
          <p:nvCxnSpPr>
            <p:cNvPr id="20" name="Straight Connector 19">
              <a:extLst>
                <a:ext uri="{FF2B5EF4-FFF2-40B4-BE49-F238E27FC236}">
                  <a16:creationId xmlns:a16="http://schemas.microsoft.com/office/drawing/2014/main" id="{8437E076-4895-43D2-9F72-A6263920CF0B}"/>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34FDFCA0-9751-49BA-80C6-8CB321680A08}"/>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Black" panose="020B0A04020102020204" pitchFamily="34" charset="0"/>
                  <a:ea typeface="+mj-ea"/>
                  <a:cs typeface="+mj-cs"/>
                </a:rPr>
                <a:t>2020</a:t>
              </a:r>
              <a:endParaRPr kumimoji="0" lang="en-US" sz="1200" b="0" i="0" u="none" strike="noStrike" kern="1200" cap="none" spc="0" normalizeH="0" baseline="0" noProof="0">
                <a:ln>
                  <a:noFill/>
                </a:ln>
                <a:solidFill>
                  <a:prstClr val="white"/>
                </a:solidFill>
                <a:effectLst/>
                <a:uLnTx/>
                <a:uFillTx/>
                <a:latin typeface="Arial Black" panose="020B0A04020102020204" pitchFamily="34" charset="0"/>
                <a:ea typeface="+mj-ea"/>
                <a:cs typeface="+mj-cs"/>
              </a:endParaRPr>
            </a:p>
          </p:txBody>
        </p:sp>
        <p:sp>
          <p:nvSpPr>
            <p:cNvPr id="28" name="Title 1">
              <a:extLst>
                <a:ext uri="{FF2B5EF4-FFF2-40B4-BE49-F238E27FC236}">
                  <a16:creationId xmlns:a16="http://schemas.microsoft.com/office/drawing/2014/main" id="{C9F35179-5B8C-45AE-926F-CCFA67A07B43}"/>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Narrow" panose="020B0606020202030204" pitchFamily="34" charset="0"/>
                  <a:ea typeface="+mj-ea"/>
                  <a:cs typeface="+mj-cs"/>
                </a:rPr>
                <a:t>Season</a:t>
              </a:r>
            </a:p>
          </p:txBody>
        </p:sp>
      </p:grpSp>
      <p:pic>
        <p:nvPicPr>
          <p:cNvPr id="29" name="Picture 28">
            <a:extLst>
              <a:ext uri="{FF2B5EF4-FFF2-40B4-BE49-F238E27FC236}">
                <a16:creationId xmlns:a16="http://schemas.microsoft.com/office/drawing/2014/main" id="{1FF178E6-2943-48F9-82D8-9CC3853705F6}"/>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30" name="Picture 29">
            <a:extLst>
              <a:ext uri="{FF2B5EF4-FFF2-40B4-BE49-F238E27FC236}">
                <a16:creationId xmlns:a16="http://schemas.microsoft.com/office/drawing/2014/main" id="{901323A5-0CC8-4951-83E9-1FE3653D1A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1086" y="871908"/>
            <a:ext cx="3210838" cy="2408129"/>
          </a:xfrm>
          <a:prstGeom prst="rect">
            <a:avLst/>
          </a:prstGeom>
        </p:spPr>
      </p:pic>
      <p:pic>
        <p:nvPicPr>
          <p:cNvPr id="31" name="Picture 30">
            <a:extLst>
              <a:ext uri="{FF2B5EF4-FFF2-40B4-BE49-F238E27FC236}">
                <a16:creationId xmlns:a16="http://schemas.microsoft.com/office/drawing/2014/main" id="{248222C5-3993-4AC2-A7FC-92ECD1E98D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7449" y="3387166"/>
            <a:ext cx="3210840" cy="2408130"/>
          </a:xfrm>
          <a:prstGeom prst="rect">
            <a:avLst/>
          </a:prstGeom>
        </p:spPr>
      </p:pic>
      <p:pic>
        <p:nvPicPr>
          <p:cNvPr id="27" name="Picture 26">
            <a:extLst>
              <a:ext uri="{FF2B5EF4-FFF2-40B4-BE49-F238E27FC236}">
                <a16:creationId xmlns:a16="http://schemas.microsoft.com/office/drawing/2014/main" id="{BE76E8D8-D5A1-4817-8A55-12BB32D3852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26330" y="92075"/>
            <a:ext cx="1111659" cy="512064"/>
          </a:xfrm>
          <a:prstGeom prst="rect">
            <a:avLst/>
          </a:prstGeom>
        </p:spPr>
      </p:pic>
      <p:pic>
        <p:nvPicPr>
          <p:cNvPr id="33" name="Content Placeholder 3">
            <a:extLst>
              <a:ext uri="{FF2B5EF4-FFF2-40B4-BE49-F238E27FC236}">
                <a16:creationId xmlns:a16="http://schemas.microsoft.com/office/drawing/2014/main" id="{63317926-48D5-4A84-BFB7-8DEFB993FBF3}"/>
              </a:ext>
            </a:extLst>
          </p:cNvPr>
          <p:cNvPicPr>
            <a:picLocks noGrp="1" noChangeAspect="1"/>
          </p:cNvPicPr>
          <p:nvPr/>
        </p:nvPicPr>
        <p:blipFill>
          <a:blip r:embed="rId7" cstate="screen">
            <a:extLst>
              <a:ext uri="{28A0092B-C50C-407E-A947-70E740481C1C}">
                <a14:useLocalDpi xmlns:a14="http://schemas.microsoft.com/office/drawing/2010/main"/>
              </a:ext>
            </a:extLst>
          </a:blip>
          <a:stretch>
            <a:fillRect/>
          </a:stretch>
        </p:blipFill>
        <p:spPr>
          <a:xfrm>
            <a:off x="3466930" y="871908"/>
            <a:ext cx="3210837" cy="2408128"/>
          </a:xfrm>
          <a:prstGeom prst="rect">
            <a:avLst/>
          </a:prstGeom>
        </p:spPr>
      </p:pic>
      <p:pic>
        <p:nvPicPr>
          <p:cNvPr id="34" name="Picture 33">
            <a:extLst>
              <a:ext uri="{FF2B5EF4-FFF2-40B4-BE49-F238E27FC236}">
                <a16:creationId xmlns:a16="http://schemas.microsoft.com/office/drawing/2014/main" id="{0AFD5025-46F9-4467-804C-0BE4D800791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66930" y="3384059"/>
            <a:ext cx="3210837" cy="2408128"/>
          </a:xfrm>
          <a:prstGeom prst="rect">
            <a:avLst/>
          </a:prstGeom>
        </p:spPr>
      </p:pic>
      <p:sp>
        <p:nvSpPr>
          <p:cNvPr id="36" name="Content Placeholder 2">
            <a:extLst>
              <a:ext uri="{FF2B5EF4-FFF2-40B4-BE49-F238E27FC236}">
                <a16:creationId xmlns:a16="http://schemas.microsoft.com/office/drawing/2014/main" id="{F20B6CB6-A446-4175-BF31-2E10CD0BD181}"/>
              </a:ext>
            </a:extLst>
          </p:cNvPr>
          <p:cNvSpPr txBox="1">
            <a:spLocks/>
          </p:cNvSpPr>
          <p:nvPr/>
        </p:nvSpPr>
        <p:spPr>
          <a:xfrm>
            <a:off x="0" y="5834307"/>
            <a:ext cx="10439400" cy="7850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US" sz="1400"/>
              <a:t>*University of Wisconsin, R. </a:t>
            </a:r>
            <a:r>
              <a:rPr lang="en-US" sz="1400" err="1"/>
              <a:t>Werle</a:t>
            </a:r>
            <a:r>
              <a:rPr lang="en-US" sz="1400"/>
              <a:t>, 2020. 140K population, planted same day.</a:t>
            </a:r>
          </a:p>
        </p:txBody>
      </p:sp>
    </p:spTree>
    <p:extLst>
      <p:ext uri="{BB962C8B-B14F-4D97-AF65-F5344CB8AC3E}">
        <p14:creationId xmlns:p14="http://schemas.microsoft.com/office/powerpoint/2010/main" val="385578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2AFBE29E-9BEE-4912-9EC9-02C45303272B}"/>
              </a:ext>
            </a:extLst>
          </p:cNvPr>
          <p:cNvGraphicFramePr>
            <a:graphicFrameLocks noChangeAspect="1"/>
          </p:cNvGraphicFramePr>
          <p:nvPr>
            <p:extLst>
              <p:ext uri="{D42A27DB-BD31-4B8C-83A1-F6EECF244321}">
                <p14:modId xmlns:p14="http://schemas.microsoft.com/office/powerpoint/2010/main" val="1965215571"/>
              </p:ext>
            </p:extLst>
          </p:nvPr>
        </p:nvGraphicFramePr>
        <p:xfrm>
          <a:off x="8063205" y="69574"/>
          <a:ext cx="4014737" cy="6242326"/>
        </p:xfrm>
        <a:graphic>
          <a:graphicData uri="http://schemas.openxmlformats.org/presentationml/2006/ole">
            <mc:AlternateContent xmlns:mc="http://schemas.openxmlformats.org/markup-compatibility/2006">
              <mc:Choice xmlns:v="urn:schemas-microsoft-com:vml" Requires="v">
                <p:oleObj spid="_x0000_s1028" name="Acrobat Document" r:id="rId4" imgW="11658600" imgH="28117672" progId="AcroExch.Document.DC">
                  <p:embed/>
                </p:oleObj>
              </mc:Choice>
              <mc:Fallback>
                <p:oleObj name="Acrobat Document" r:id="rId4" imgW="11658600" imgH="28117672" progId="AcroExch.Document.DC">
                  <p:embed/>
                  <p:pic>
                    <p:nvPicPr>
                      <p:cNvPr id="5" name="Object 4">
                        <a:extLst>
                          <a:ext uri="{FF2B5EF4-FFF2-40B4-BE49-F238E27FC236}">
                            <a16:creationId xmlns:a16="http://schemas.microsoft.com/office/drawing/2014/main" id="{2AFBE29E-9BEE-4912-9EC9-02C45303272B}"/>
                          </a:ext>
                        </a:extLst>
                      </p:cNvPr>
                      <p:cNvPicPr/>
                      <p:nvPr/>
                    </p:nvPicPr>
                    <p:blipFill>
                      <a:blip r:embed="rId5"/>
                      <a:stretch>
                        <a:fillRect/>
                      </a:stretch>
                    </p:blipFill>
                    <p:spPr>
                      <a:xfrm>
                        <a:off x="8063205" y="69574"/>
                        <a:ext cx="4014737" cy="6242326"/>
                      </a:xfrm>
                      <a:prstGeom prst="rect">
                        <a:avLst/>
                      </a:prstGeom>
                    </p:spPr>
                  </p:pic>
                </p:oleObj>
              </mc:Fallback>
            </mc:AlternateContent>
          </a:graphicData>
        </a:graphic>
      </p:graphicFrame>
      <p:sp>
        <p:nvSpPr>
          <p:cNvPr id="29" name="Content Placeholder 2">
            <a:extLst>
              <a:ext uri="{FF2B5EF4-FFF2-40B4-BE49-F238E27FC236}">
                <a16:creationId xmlns:a16="http://schemas.microsoft.com/office/drawing/2014/main" id="{DBFA568E-D14E-4BB8-A4F9-3CA2DAD355E2}"/>
              </a:ext>
            </a:extLst>
          </p:cNvPr>
          <p:cNvSpPr>
            <a:spLocks noGrp="1"/>
          </p:cNvSpPr>
          <p:nvPr>
            <p:ph sz="half" idx="1"/>
          </p:nvPr>
        </p:nvSpPr>
        <p:spPr>
          <a:xfrm>
            <a:off x="238098" y="1442461"/>
            <a:ext cx="6396618" cy="4351338"/>
          </a:xfrm>
        </p:spPr>
        <p:txBody>
          <a:bodyPr>
            <a:normAutofit/>
          </a:bodyPr>
          <a:lstStyle/>
          <a:p>
            <a:pPr marL="0" indent="0">
              <a:spcBef>
                <a:spcPts val="1200"/>
              </a:spcBef>
              <a:spcAft>
                <a:spcPts val="1200"/>
              </a:spcAft>
              <a:buNone/>
            </a:pPr>
            <a:r>
              <a:rPr lang="en-US" dirty="0"/>
              <a:t>Multiple sites of action that are effective against the most troublesome weeds</a:t>
            </a:r>
          </a:p>
          <a:p>
            <a:pPr>
              <a:spcBef>
                <a:spcPts val="1200"/>
              </a:spcBef>
              <a:spcAft>
                <a:spcPts val="1200"/>
              </a:spcAft>
            </a:pPr>
            <a:r>
              <a:rPr lang="en-US" dirty="0"/>
              <a:t>Choosing effective site of action is key</a:t>
            </a:r>
          </a:p>
          <a:p>
            <a:pPr>
              <a:spcBef>
                <a:spcPts val="1200"/>
              </a:spcBef>
              <a:spcAft>
                <a:spcPts val="1200"/>
              </a:spcAft>
            </a:pPr>
            <a:r>
              <a:rPr lang="en-US" dirty="0"/>
              <a:t>Knowing if herbicide is active preemergence, postemergence, or both is important to understand</a:t>
            </a:r>
          </a:p>
          <a:p>
            <a:pPr>
              <a:spcBef>
                <a:spcPts val="1200"/>
              </a:spcBef>
              <a:spcAft>
                <a:spcPts val="1200"/>
              </a:spcAft>
            </a:pPr>
            <a:r>
              <a:rPr lang="en-US" dirty="0"/>
              <a:t>Whenever practical, Multiple Sites of Action should be applied in the same application for PRE and POST weed control </a:t>
            </a:r>
          </a:p>
        </p:txBody>
      </p:sp>
      <p:sp>
        <p:nvSpPr>
          <p:cNvPr id="15" name="Footer Placeholder 14">
            <a:extLst>
              <a:ext uri="{FF2B5EF4-FFF2-40B4-BE49-F238E27FC236}">
                <a16:creationId xmlns:a16="http://schemas.microsoft.com/office/drawing/2014/main" id="{A3D2FEC9-8B31-4C6F-8B47-76332F17C850}"/>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16" name="Slide Number Placeholder 15">
            <a:extLst>
              <a:ext uri="{FF2B5EF4-FFF2-40B4-BE49-F238E27FC236}">
                <a16:creationId xmlns:a16="http://schemas.microsoft.com/office/drawing/2014/main" id="{DF3BB685-287D-4F42-97E2-FD1BD27BBF29}"/>
              </a:ext>
            </a:extLst>
          </p:cNvPr>
          <p:cNvSpPr>
            <a:spLocks noGrp="1"/>
          </p:cNvSpPr>
          <p:nvPr>
            <p:ph type="sldNum" sz="quarter" idx="16"/>
          </p:nvPr>
        </p:nvSpPr>
        <p:spPr/>
        <p:txBody>
          <a:bodyPr/>
          <a:lstStyle/>
          <a:p>
            <a:pPr lvl="0"/>
            <a:fld id="{5A1C2420-D500-4FDF-A245-39DCF46675EA}" type="slidenum">
              <a:rPr lang="en-US" noProof="0" smtClean="0"/>
              <a:pPr lvl="0"/>
              <a:t>47</a:t>
            </a:fld>
            <a:endParaRPr lang="en-US" noProof="0"/>
          </a:p>
        </p:txBody>
      </p:sp>
      <p:pic>
        <p:nvPicPr>
          <p:cNvPr id="4" name="Picture 3">
            <a:extLst>
              <a:ext uri="{FF2B5EF4-FFF2-40B4-BE49-F238E27FC236}">
                <a16:creationId xmlns:a16="http://schemas.microsoft.com/office/drawing/2014/main" id="{8E1AEE4E-3126-4292-9D57-5DD6B7F4548E}"/>
              </a:ext>
            </a:extLst>
          </p:cNvPr>
          <p:cNvPicPr>
            <a:picLocks noChangeAspect="1"/>
          </p:cNvPicPr>
          <p:nvPr/>
        </p:nvPicPr>
        <p:blipFill>
          <a:blip r:embed="rId6"/>
          <a:stretch>
            <a:fillRect/>
          </a:stretch>
        </p:blipFill>
        <p:spPr>
          <a:xfrm>
            <a:off x="898807" y="6315743"/>
            <a:ext cx="1171575" cy="495300"/>
          </a:xfrm>
          <a:prstGeom prst="rect">
            <a:avLst/>
          </a:prstGeom>
        </p:spPr>
      </p:pic>
      <p:pic>
        <p:nvPicPr>
          <p:cNvPr id="87" name="Picture 86">
            <a:extLst>
              <a:ext uri="{FF2B5EF4-FFF2-40B4-BE49-F238E27FC236}">
                <a16:creationId xmlns:a16="http://schemas.microsoft.com/office/drawing/2014/main" id="{DDB25353-8FEF-4F01-B089-C45327DCEE98}"/>
              </a:ext>
            </a:extLst>
          </p:cNvPr>
          <p:cNvPicPr>
            <a:picLocks noChangeAspect="1"/>
          </p:cNvPicPr>
          <p:nvPr/>
        </p:nvPicPr>
        <p:blipFill>
          <a:blip r:embed="rId7"/>
          <a:stretch>
            <a:fillRect/>
          </a:stretch>
        </p:blipFill>
        <p:spPr>
          <a:xfrm>
            <a:off x="838200" y="6393164"/>
            <a:ext cx="1333500" cy="378995"/>
          </a:xfrm>
          <a:prstGeom prst="rect">
            <a:avLst/>
          </a:prstGeom>
        </p:spPr>
      </p:pic>
      <p:pic>
        <p:nvPicPr>
          <p:cNvPr id="90" name="Picture 89">
            <a:extLst>
              <a:ext uri="{FF2B5EF4-FFF2-40B4-BE49-F238E27FC236}">
                <a16:creationId xmlns:a16="http://schemas.microsoft.com/office/drawing/2014/main" id="{EC7BF592-CC67-40BC-9E6A-A3D1B3BF0B4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2370" y="5490500"/>
            <a:ext cx="1111659" cy="512064"/>
          </a:xfrm>
          <a:prstGeom prst="rect">
            <a:avLst/>
          </a:prstGeom>
        </p:spPr>
      </p:pic>
      <p:sp>
        <p:nvSpPr>
          <p:cNvPr id="91" name="Content Placeholder 2">
            <a:extLst>
              <a:ext uri="{FF2B5EF4-FFF2-40B4-BE49-F238E27FC236}">
                <a16:creationId xmlns:a16="http://schemas.microsoft.com/office/drawing/2014/main" id="{25E1177D-C374-440C-B877-6726622E384E}"/>
              </a:ext>
            </a:extLst>
          </p:cNvPr>
          <p:cNvSpPr txBox="1">
            <a:spLocks/>
          </p:cNvSpPr>
          <p:nvPr/>
        </p:nvSpPr>
        <p:spPr>
          <a:xfrm>
            <a:off x="5681324" y="1825625"/>
            <a:ext cx="5077837"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200"/>
              </a:spcBef>
              <a:spcAft>
                <a:spcPts val="1200"/>
              </a:spcAft>
              <a:buFont typeface="Arial" panose="020B0604020202020204" pitchFamily="34" charset="0"/>
              <a:buNone/>
            </a:pPr>
            <a:endParaRPr lang="en-US"/>
          </a:p>
        </p:txBody>
      </p:sp>
      <p:sp>
        <p:nvSpPr>
          <p:cNvPr id="92" name="Content Placeholder 2">
            <a:extLst>
              <a:ext uri="{FF2B5EF4-FFF2-40B4-BE49-F238E27FC236}">
                <a16:creationId xmlns:a16="http://schemas.microsoft.com/office/drawing/2014/main" id="{01636AB1-1D18-4DC9-B769-246DE5F94611}"/>
              </a:ext>
            </a:extLst>
          </p:cNvPr>
          <p:cNvSpPr txBox="1">
            <a:spLocks/>
          </p:cNvSpPr>
          <p:nvPr/>
        </p:nvSpPr>
        <p:spPr>
          <a:xfrm>
            <a:off x="3992500" y="5493391"/>
            <a:ext cx="4014737" cy="15349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200"/>
              </a:spcBef>
              <a:spcAft>
                <a:spcPts val="1200"/>
              </a:spcAft>
              <a:buNone/>
            </a:pPr>
            <a:r>
              <a:rPr lang="en-US" sz="1400">
                <a:hlinkClick r:id="rId9"/>
              </a:rPr>
              <a:t>https://iwilltakeaction.com/uploads/files/2020-take-action-herbicide-classification-chart.pdf</a:t>
            </a:r>
            <a:endParaRPr lang="en-US" sz="1400"/>
          </a:p>
        </p:txBody>
      </p:sp>
      <p:sp>
        <p:nvSpPr>
          <p:cNvPr id="20" name="Title 1">
            <a:extLst>
              <a:ext uri="{FF2B5EF4-FFF2-40B4-BE49-F238E27FC236}">
                <a16:creationId xmlns:a16="http://schemas.microsoft.com/office/drawing/2014/main" id="{3ED8984D-6B32-48A3-A5E4-434D7EA98D18}"/>
              </a:ext>
            </a:extLst>
          </p:cNvPr>
          <p:cNvSpPr>
            <a:spLocks noGrp="1"/>
          </p:cNvSpPr>
          <p:nvPr>
            <p:ph type="title"/>
          </p:nvPr>
        </p:nvSpPr>
        <p:spPr>
          <a:xfrm>
            <a:off x="210875" y="142650"/>
            <a:ext cx="6934204" cy="480131"/>
          </a:xfrm>
        </p:spPr>
        <p:txBody>
          <a:bodyPr/>
          <a:lstStyle/>
          <a:p>
            <a:r>
              <a:rPr lang="en-US" sz="2800"/>
              <a:t>Principles of weed resistance management</a:t>
            </a:r>
          </a:p>
        </p:txBody>
      </p:sp>
    </p:spTree>
    <p:extLst>
      <p:ext uri="{BB962C8B-B14F-4D97-AF65-F5344CB8AC3E}">
        <p14:creationId xmlns:p14="http://schemas.microsoft.com/office/powerpoint/2010/main" val="111374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2DBDEEA0-A650-4832-A9CC-10AFB44CF3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8200" y="5779918"/>
            <a:ext cx="1111659" cy="512064"/>
          </a:xfrm>
          <a:prstGeom prst="rect">
            <a:avLst/>
          </a:prstGeom>
        </p:spPr>
      </p:pic>
      <p:pic>
        <p:nvPicPr>
          <p:cNvPr id="45" name="Picture 44">
            <a:extLst>
              <a:ext uri="{FF2B5EF4-FFF2-40B4-BE49-F238E27FC236}">
                <a16:creationId xmlns:a16="http://schemas.microsoft.com/office/drawing/2014/main" id="{6F2D4DF8-ACB9-4854-BE8E-6E28F4919D1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10571" y="1141155"/>
            <a:ext cx="3141233" cy="2807745"/>
          </a:xfrm>
          <a:prstGeom prst="rect">
            <a:avLst/>
          </a:prstGeom>
        </p:spPr>
      </p:pic>
      <p:sp>
        <p:nvSpPr>
          <p:cNvPr id="6" name="Footer Placeholder 5">
            <a:extLst>
              <a:ext uri="{FF2B5EF4-FFF2-40B4-BE49-F238E27FC236}">
                <a16:creationId xmlns:a16="http://schemas.microsoft.com/office/drawing/2014/main" id="{E1D3A87B-B994-4379-9AFE-7C6D0B965469}"/>
              </a:ext>
            </a:extLst>
          </p:cNvPr>
          <p:cNvSpPr>
            <a:spLocks noGrp="1"/>
          </p:cNvSpPr>
          <p:nvPr>
            <p:ph type="ftr" sz="quarter" idx="10"/>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1664A3F4-F702-4E48-ADB1-C36FC859912D}"/>
              </a:ext>
            </a:extLst>
          </p:cNvPr>
          <p:cNvSpPr>
            <a:spLocks noGrp="1"/>
          </p:cNvSpPr>
          <p:nvPr>
            <p:ph type="sldNum" sz="quarter" idx="11"/>
          </p:nvPr>
        </p:nvSpPr>
        <p:spPr/>
        <p:txBody>
          <a:bodyPr/>
          <a:lstStyle/>
          <a:p>
            <a:pPr lvl="0"/>
            <a:fld id="{5A1C2420-D500-4FDF-A245-39DCF46675EA}" type="slidenum">
              <a:rPr lang="en-US" noProof="0" smtClean="0"/>
              <a:pPr lvl="0"/>
              <a:t>48</a:t>
            </a:fld>
            <a:endParaRPr lang="en-US" noProof="0"/>
          </a:p>
        </p:txBody>
      </p:sp>
      <p:sp>
        <p:nvSpPr>
          <p:cNvPr id="2" name="Title 1">
            <a:extLst>
              <a:ext uri="{FF2B5EF4-FFF2-40B4-BE49-F238E27FC236}">
                <a16:creationId xmlns:a16="http://schemas.microsoft.com/office/drawing/2014/main" id="{6E7C41BD-FFFC-410C-AD34-CF0CEA5832FA}"/>
              </a:ext>
            </a:extLst>
          </p:cNvPr>
          <p:cNvSpPr>
            <a:spLocks noGrp="1"/>
          </p:cNvSpPr>
          <p:nvPr>
            <p:ph type="title"/>
          </p:nvPr>
        </p:nvSpPr>
        <p:spPr/>
        <p:txBody>
          <a:bodyPr/>
          <a:lstStyle/>
          <a:p>
            <a:r>
              <a:rPr lang="en-US"/>
              <a:t>Weed Examples</a:t>
            </a:r>
          </a:p>
        </p:txBody>
      </p:sp>
      <p:graphicFrame>
        <p:nvGraphicFramePr>
          <p:cNvPr id="214" name="Table 213">
            <a:extLst>
              <a:ext uri="{FF2B5EF4-FFF2-40B4-BE49-F238E27FC236}">
                <a16:creationId xmlns:a16="http://schemas.microsoft.com/office/drawing/2014/main" id="{CC182EC8-34C3-42CB-B2CD-193BF62887D0}"/>
              </a:ext>
            </a:extLst>
          </p:cNvPr>
          <p:cNvGraphicFramePr>
            <a:graphicFrameLocks noGrp="1"/>
          </p:cNvGraphicFramePr>
          <p:nvPr/>
        </p:nvGraphicFramePr>
        <p:xfrm>
          <a:off x="0" y="4715163"/>
          <a:ext cx="12199350" cy="1051560"/>
        </p:xfrm>
        <a:graphic>
          <a:graphicData uri="http://schemas.openxmlformats.org/drawingml/2006/table">
            <a:tbl>
              <a:tblPr firstCol="1" bandRow="1">
                <a:tableStyleId>{5C22544A-7EE6-4342-B048-85BDC9FD1C3A}</a:tableStyleId>
              </a:tblPr>
              <a:tblGrid>
                <a:gridCol w="868680">
                  <a:extLst>
                    <a:ext uri="{9D8B030D-6E8A-4147-A177-3AD203B41FA5}">
                      <a16:colId xmlns:a16="http://schemas.microsoft.com/office/drawing/2014/main" val="2286531471"/>
                    </a:ext>
                  </a:extLst>
                </a:gridCol>
                <a:gridCol w="731520">
                  <a:extLst>
                    <a:ext uri="{9D8B030D-6E8A-4147-A177-3AD203B41FA5}">
                      <a16:colId xmlns:a16="http://schemas.microsoft.com/office/drawing/2014/main" val="859317391"/>
                    </a:ext>
                  </a:extLst>
                </a:gridCol>
                <a:gridCol w="731520">
                  <a:extLst>
                    <a:ext uri="{9D8B030D-6E8A-4147-A177-3AD203B41FA5}">
                      <a16:colId xmlns:a16="http://schemas.microsoft.com/office/drawing/2014/main" val="1499567133"/>
                    </a:ext>
                  </a:extLst>
                </a:gridCol>
                <a:gridCol w="877824">
                  <a:extLst>
                    <a:ext uri="{9D8B030D-6E8A-4147-A177-3AD203B41FA5}">
                      <a16:colId xmlns:a16="http://schemas.microsoft.com/office/drawing/2014/main" val="3425404963"/>
                    </a:ext>
                  </a:extLst>
                </a:gridCol>
                <a:gridCol w="738553">
                  <a:extLst>
                    <a:ext uri="{9D8B030D-6E8A-4147-A177-3AD203B41FA5}">
                      <a16:colId xmlns:a16="http://schemas.microsoft.com/office/drawing/2014/main" val="764172400"/>
                    </a:ext>
                  </a:extLst>
                </a:gridCol>
                <a:gridCol w="1106424">
                  <a:extLst>
                    <a:ext uri="{9D8B030D-6E8A-4147-A177-3AD203B41FA5}">
                      <a16:colId xmlns:a16="http://schemas.microsoft.com/office/drawing/2014/main" val="4081262955"/>
                    </a:ext>
                  </a:extLst>
                </a:gridCol>
                <a:gridCol w="978408">
                  <a:extLst>
                    <a:ext uri="{9D8B030D-6E8A-4147-A177-3AD203B41FA5}">
                      <a16:colId xmlns:a16="http://schemas.microsoft.com/office/drawing/2014/main" val="894326951"/>
                    </a:ext>
                  </a:extLst>
                </a:gridCol>
                <a:gridCol w="990917">
                  <a:extLst>
                    <a:ext uri="{9D8B030D-6E8A-4147-A177-3AD203B41FA5}">
                      <a16:colId xmlns:a16="http://schemas.microsoft.com/office/drawing/2014/main" val="2258004565"/>
                    </a:ext>
                  </a:extLst>
                </a:gridCol>
                <a:gridCol w="822960">
                  <a:extLst>
                    <a:ext uri="{9D8B030D-6E8A-4147-A177-3AD203B41FA5}">
                      <a16:colId xmlns:a16="http://schemas.microsoft.com/office/drawing/2014/main" val="1296239282"/>
                    </a:ext>
                  </a:extLst>
                </a:gridCol>
                <a:gridCol w="886968">
                  <a:extLst>
                    <a:ext uri="{9D8B030D-6E8A-4147-A177-3AD203B41FA5}">
                      <a16:colId xmlns:a16="http://schemas.microsoft.com/office/drawing/2014/main" val="2886766434"/>
                    </a:ext>
                  </a:extLst>
                </a:gridCol>
                <a:gridCol w="731520">
                  <a:extLst>
                    <a:ext uri="{9D8B030D-6E8A-4147-A177-3AD203B41FA5}">
                      <a16:colId xmlns:a16="http://schemas.microsoft.com/office/drawing/2014/main" val="2103153167"/>
                    </a:ext>
                  </a:extLst>
                </a:gridCol>
                <a:gridCol w="1005840">
                  <a:extLst>
                    <a:ext uri="{9D8B030D-6E8A-4147-A177-3AD203B41FA5}">
                      <a16:colId xmlns:a16="http://schemas.microsoft.com/office/drawing/2014/main" val="1494173614"/>
                    </a:ext>
                  </a:extLst>
                </a:gridCol>
                <a:gridCol w="950976">
                  <a:extLst>
                    <a:ext uri="{9D8B030D-6E8A-4147-A177-3AD203B41FA5}">
                      <a16:colId xmlns:a16="http://schemas.microsoft.com/office/drawing/2014/main" val="303720624"/>
                    </a:ext>
                  </a:extLst>
                </a:gridCol>
                <a:gridCol w="777240">
                  <a:extLst>
                    <a:ext uri="{9D8B030D-6E8A-4147-A177-3AD203B41FA5}">
                      <a16:colId xmlns:a16="http://schemas.microsoft.com/office/drawing/2014/main" val="490070077"/>
                    </a:ext>
                  </a:extLst>
                </a:gridCol>
              </a:tblGrid>
              <a:tr h="594360">
                <a:tc>
                  <a:txBody>
                    <a:bodyPr/>
                    <a:lstStyle/>
                    <a:p>
                      <a:r>
                        <a:rPr lang="en-US" sz="1000" b="0" spc="0" baseline="0">
                          <a:solidFill>
                            <a:schemeClr val="bg1"/>
                          </a:solidFill>
                          <a:latin typeface="+mj-lt"/>
                        </a:rPr>
                        <a:t>SITE OF</a:t>
                      </a:r>
                    </a:p>
                    <a:p>
                      <a:r>
                        <a:rPr lang="en-US" sz="1000" b="0" spc="0" baseline="0">
                          <a:solidFill>
                            <a:schemeClr val="bg1"/>
                          </a:solidFill>
                          <a:latin typeface="+mj-lt"/>
                        </a:rPr>
                        <a:t>ACTION</a:t>
                      </a:r>
                    </a:p>
                  </a:txBody>
                  <a:tcPr anchor="ctr">
                    <a:lnL w="12700" cmpd="sng">
                      <a:noFill/>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spc="0" baseline="0">
                          <a:solidFill>
                            <a:schemeClr val="bg1"/>
                          </a:solidFill>
                          <a:latin typeface="Arial Narrow" panose="020B0606020202030204" pitchFamily="34" charset="0"/>
                        </a:rPr>
                        <a:t>ACCASE</a:t>
                      </a:r>
                    </a:p>
                    <a:p>
                      <a:pPr algn="ctr"/>
                      <a:r>
                        <a:rPr lang="en-US" sz="900" b="1" spc="0" baseline="0">
                          <a:solidFill>
                            <a:schemeClr val="bg1"/>
                          </a:solidFill>
                          <a:latin typeface="Arial Narrow" panose="020B0606020202030204" pitchFamily="34" charset="0"/>
                        </a:rPr>
                        <a:t>INHIBITORS</a:t>
                      </a:r>
                    </a:p>
                  </a:txBody>
                  <a:tcPr anchor="b">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ALS</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MICROTUBULE</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SYNTHETIC</a:t>
                      </a:r>
                    </a:p>
                    <a:p>
                      <a:pPr algn="ctr"/>
                      <a:r>
                        <a:rPr lang="en-US" sz="900" b="1" kern="1200" spc="0" baseline="0">
                          <a:solidFill>
                            <a:schemeClr val="bg1"/>
                          </a:solidFill>
                          <a:latin typeface="Arial Narrow" panose="020B0606020202030204" pitchFamily="34" charset="0"/>
                          <a:ea typeface="+mn-ea"/>
                          <a:cs typeface="+mn-cs"/>
                        </a:rPr>
                        <a:t>AUXIN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I</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IPID SYNTHESIS</a:t>
                      </a:r>
                    </a:p>
                    <a:p>
                      <a:pPr algn="ctr"/>
                      <a:r>
                        <a:rPr lang="en-US" sz="900" b="1" kern="1200" spc="0" baseline="0">
                          <a:solidFill>
                            <a:schemeClr val="bg1"/>
                          </a:solidFill>
                          <a:latin typeface="Arial Narrow" panose="020B0606020202030204" pitchFamily="34" charset="0"/>
                          <a:ea typeface="+mn-ea"/>
                          <a:cs typeface="+mn-cs"/>
                        </a:rPr>
                        <a:t>INHIBITOR </a:t>
                      </a:r>
                      <a:br>
                        <a:rPr lang="en-US" sz="900" b="1" kern="1200" spc="0" baseline="0">
                          <a:solidFill>
                            <a:schemeClr val="bg1"/>
                          </a:solidFill>
                          <a:latin typeface="Arial Narrow" panose="020B0606020202030204" pitchFamily="34" charset="0"/>
                          <a:ea typeface="+mn-ea"/>
                          <a:cs typeface="+mn-cs"/>
                        </a:rPr>
                      </a:br>
                      <a:r>
                        <a:rPr lang="en-US" sz="900" b="0" kern="1200" spc="0" baseline="0">
                          <a:solidFill>
                            <a:schemeClr val="bg1"/>
                          </a:solidFill>
                          <a:latin typeface="Arial Narrow" panose="020B0606020202030204" pitchFamily="34" charset="0"/>
                          <a:ea typeface="+mn-ea"/>
                          <a:cs typeface="+mn-cs"/>
                        </a:rPr>
                        <a:t>(not </a:t>
                      </a:r>
                      <a:r>
                        <a:rPr lang="en-US" sz="900" b="0" kern="1200" spc="0" baseline="0" err="1">
                          <a:solidFill>
                            <a:schemeClr val="bg1"/>
                          </a:solidFill>
                          <a:latin typeface="Arial Narrow" panose="020B0606020202030204" pitchFamily="34" charset="0"/>
                          <a:ea typeface="+mn-ea"/>
                          <a:cs typeface="+mn-cs"/>
                        </a:rPr>
                        <a:t>ACCase</a:t>
                      </a:r>
                      <a:r>
                        <a:rPr lang="en-US" sz="900" b="0" kern="1200" spc="0" baseline="0">
                          <a:solidFill>
                            <a:schemeClr val="bg1"/>
                          </a:solidFill>
                          <a:latin typeface="Arial Narrow" panose="020B0606020202030204" pitchFamily="34" charset="0"/>
                          <a:ea typeface="+mn-ea"/>
                          <a:cs typeface="+mn-cs"/>
                        </a:rPr>
                        <a: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EPSP SYNTH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GLUTAMINE SYNTHET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DITERPENE</a:t>
                      </a:r>
                    </a:p>
                    <a:p>
                      <a:pPr algn="ctr"/>
                      <a:r>
                        <a:rPr lang="en-US" sz="900" b="1" kern="1200" spc="0" baseline="0">
                          <a:solidFill>
                            <a:schemeClr val="bg1"/>
                          </a:solidFill>
                          <a:latin typeface="Arial Narrow" panose="020B0606020202030204" pitchFamily="34" charset="0"/>
                          <a:ea typeface="+mn-ea"/>
                          <a:cs typeface="+mn-cs"/>
                        </a:rPr>
                        <a:t>BIOSYNTHESIS</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PO</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ONG-CHAIN FATTY</a:t>
                      </a:r>
                    </a:p>
                    <a:p>
                      <a:pPr algn="ctr"/>
                      <a:r>
                        <a:rPr lang="en-US" sz="900" b="1" kern="1200" spc="0" baseline="0">
                          <a:solidFill>
                            <a:schemeClr val="bg1"/>
                          </a:solidFill>
                          <a:latin typeface="Arial Narrow" panose="020B0606020202030204" pitchFamily="34" charset="0"/>
                          <a:ea typeface="+mn-ea"/>
                          <a:cs typeface="+mn-cs"/>
                        </a:rPr>
                        <a:t>ACID 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a:t>
                      </a:r>
                    </a:p>
                    <a:p>
                      <a:pPr algn="ctr"/>
                      <a:r>
                        <a:rPr lang="en-US" sz="900" b="1" kern="1200" spc="0" baseline="0">
                          <a:solidFill>
                            <a:schemeClr val="bg1"/>
                          </a:solidFill>
                          <a:latin typeface="Arial Narrow" panose="020B0606020202030204" pitchFamily="34" charset="0"/>
                          <a:ea typeface="+mn-ea"/>
                          <a:cs typeface="+mn-cs"/>
                        </a:rPr>
                        <a:t>ELECTRON DIVERTE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HPPD</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0">
                <a:tc>
                  <a:txBody>
                    <a:bodyPr/>
                    <a:lstStyle/>
                    <a:p>
                      <a:r>
                        <a:rPr lang="en-US" sz="900" b="0" spc="0" baseline="0">
                          <a:solidFill>
                            <a:schemeClr val="tx1"/>
                          </a:solidFill>
                          <a:latin typeface="Arial Narrow" panose="020B0606020202030204" pitchFamily="34" charset="0"/>
                        </a:rPr>
                        <a:t>PRODUCT</a:t>
                      </a:r>
                    </a:p>
                    <a:p>
                      <a:r>
                        <a:rPr lang="en-US" sz="900" b="0" spc="0" baseline="0">
                          <a:solidFill>
                            <a:schemeClr val="tx1"/>
                          </a:solidFill>
                          <a:latin typeface="Arial Narrow" panose="020B0606020202030204" pitchFamily="34" charset="0"/>
                        </a:rPr>
                        <a:t>EXAMPLES</a:t>
                      </a:r>
                    </a:p>
                    <a:p>
                      <a:r>
                        <a:rPr lang="en-US" sz="600" b="0" spc="0" baseline="0">
                          <a:solidFill>
                            <a:schemeClr val="tx1"/>
                          </a:solidFill>
                          <a:latin typeface="Arial Narrow" panose="020B0606020202030204" pitchFamily="34" charset="0"/>
                        </a:rPr>
                        <a:t>(Trade Name</a:t>
                      </a:r>
                      <a:r>
                        <a:rPr lang="en-US" sz="600" b="0" strike="noStrike" spc="0" baseline="30000">
                          <a:solidFill>
                            <a:schemeClr val="tx1"/>
                          </a:solidFill>
                          <a:latin typeface="Arial Narrow" panose="020B0606020202030204" pitchFamily="34" charset="0"/>
                        </a:rPr>
                        <a:t>®</a:t>
                      </a:r>
                      <a:r>
                        <a:rPr lang="en-US" sz="600" b="0" spc="0" baseline="0">
                          <a:solidFill>
                            <a:schemeClr val="tx1"/>
                          </a:solidFill>
                          <a:latin typeface="Arial Narrow" panose="020B0606020202030204" pitchFamily="34" charset="0"/>
                        </a:rPr>
                        <a:t>)</a:t>
                      </a:r>
                      <a:endParaRPr lang="en-US" sz="700" b="0" spc="0" baseline="0">
                        <a:solidFill>
                          <a:schemeClr val="tx1"/>
                        </a:solidFill>
                        <a:latin typeface="Arial Narrow" panose="020B0606020202030204" pitchFamily="34" charset="0"/>
                      </a:endParaRPr>
                    </a:p>
                  </a:txBody>
                  <a:tcPr anchor="ctr">
                    <a:lnL w="12700" cmpd="sng">
                      <a:noFill/>
                    </a:lnL>
                    <a:lnR w="381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ssure II,</a:t>
                      </a:r>
                    </a:p>
                    <a:p>
                      <a:pPr algn="ctr"/>
                      <a:r>
                        <a:rPr lang="en-US" sz="800" b="0" spc="0" baseline="0">
                          <a:solidFill>
                            <a:schemeClr val="tx1"/>
                          </a:solidFill>
                          <a:latin typeface="+mn-lt"/>
                        </a:rPr>
                        <a:t>Select Max</a:t>
                      </a:r>
                    </a:p>
                  </a:txBody>
                  <a:tcPr anchor="ctr">
                    <a:lnL w="38100" cap="flat" cmpd="sng" algn="ctr">
                      <a:solidFill>
                        <a:schemeClr val="tx1"/>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lassic,</a:t>
                      </a:r>
                    </a:p>
                    <a:p>
                      <a:pPr algn="ctr"/>
                      <a:r>
                        <a:rPr lang="en-US" sz="800" b="0" spc="0" baseline="0">
                          <a:solidFill>
                            <a:schemeClr val="tx1"/>
                          </a:solidFill>
                          <a:latin typeface="+mn-lt"/>
                        </a:rPr>
                        <a:t>Pursui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Prowl H</a:t>
                      </a:r>
                      <a:r>
                        <a:rPr lang="en-US" sz="800" b="0" spc="0" baseline="-25000">
                          <a:solidFill>
                            <a:schemeClr val="tx1"/>
                          </a:solidFill>
                          <a:latin typeface="+mn-lt"/>
                        </a:rPr>
                        <a:t>2</a:t>
                      </a:r>
                      <a:r>
                        <a:rPr lang="en-US" sz="800" b="0" spc="0" baseline="0">
                          <a:solidFill>
                            <a:schemeClr val="tx1"/>
                          </a:solidFill>
                          <a:latin typeface="+mn-lt"/>
                        </a:rPr>
                        <a:t>O,</a:t>
                      </a:r>
                    </a:p>
                    <a:p>
                      <a:pPr algn="ctr"/>
                      <a:r>
                        <a:rPr lang="en-US" sz="800" b="0" spc="0" baseline="0" err="1">
                          <a:solidFill>
                            <a:schemeClr val="tx1"/>
                          </a:solidFill>
                          <a:latin typeface="+mn-lt"/>
                        </a:rPr>
                        <a:t>Treflan</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2,4-D, Clarity</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quinclorac</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trazine, metribuzin,</a:t>
                      </a:r>
                    </a:p>
                    <a:p>
                      <a:pPr algn="ctr"/>
                      <a:r>
                        <a:rPr lang="en-US" sz="800" b="0" spc="0" baseline="0" err="1">
                          <a:solidFill>
                            <a:schemeClr val="tx1"/>
                          </a:solidFill>
                          <a:latin typeface="+mn-lt"/>
                        </a:rPr>
                        <a:t>Basagran</a:t>
                      </a:r>
                      <a:r>
                        <a:rPr lang="en-US" sz="800" b="0" spc="0" baseline="0">
                          <a:solidFill>
                            <a:schemeClr val="tx1"/>
                          </a:solidFill>
                          <a:latin typeface="+mn-lt"/>
                        </a:rPr>
                        <a:t>, </a:t>
                      </a:r>
                      <a:r>
                        <a:rPr lang="en-US" sz="800" b="0" spc="0" baseline="0" err="1">
                          <a:solidFill>
                            <a:schemeClr val="tx1"/>
                          </a:solidFill>
                          <a:latin typeface="+mn-lt"/>
                        </a:rPr>
                        <a:t>Linex</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Far-Go</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Roundup,</a:t>
                      </a:r>
                    </a:p>
                    <a:p>
                      <a:pPr algn="ctr"/>
                      <a:r>
                        <a:rPr lang="en-US" sz="800" b="0" spc="0" baseline="0">
                          <a:solidFill>
                            <a:schemeClr val="tx1"/>
                          </a:solidFill>
                          <a:latin typeface="+mn-lt"/>
                        </a:rPr>
                        <a:t>(glyphosate)</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Liberty</a:t>
                      </a:r>
                      <a:r>
                        <a:rPr lang="en-US" sz="800" b="0" spc="0" baseline="30000">
                          <a:solidFill>
                            <a:schemeClr val="tx1"/>
                          </a:solidFill>
                          <a:latin typeface="+mn-lt"/>
                        </a:rPr>
                        <a:t>®</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ommand</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Flexstar</a:t>
                      </a:r>
                      <a:r>
                        <a:rPr lang="en-US" sz="800" b="0" spc="0" baseline="0">
                          <a:solidFill>
                            <a:schemeClr val="tx1"/>
                          </a:solidFill>
                          <a:latin typeface="+mn-lt"/>
                        </a:rPr>
                        <a:t>,</a:t>
                      </a:r>
                    </a:p>
                    <a:p>
                      <a:pPr algn="ctr"/>
                      <a:r>
                        <a:rPr lang="en-US" sz="800" b="0" spc="0" baseline="0">
                          <a:solidFill>
                            <a:schemeClr val="tx1"/>
                          </a:solidFill>
                          <a:latin typeface="+mn-lt"/>
                        </a:rPr>
                        <a:t>Cobra</a:t>
                      </a:r>
                      <a:r>
                        <a:rPr lang="en-US" sz="800" b="0" spc="0" baseline="30000">
                          <a:solidFill>
                            <a:schemeClr val="tx1"/>
                          </a:solidFill>
                          <a:latin typeface="+mn-lt"/>
                        </a:rPr>
                        <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Dual, Harness</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Gramoxone</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paraqu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Callisto</a:t>
                      </a:r>
                      <a:r>
                        <a:rPr lang="en-US" sz="800" b="0" spc="0" baseline="0">
                          <a:solidFill>
                            <a:schemeClr val="tx1"/>
                          </a:solidFill>
                          <a:latin typeface="+mn-lt"/>
                        </a:rPr>
                        <a:t>,</a:t>
                      </a:r>
                    </a:p>
                    <a:p>
                      <a:pPr algn="ctr"/>
                      <a:r>
                        <a:rPr lang="en-US" sz="800" b="0" spc="0" baseline="0" err="1">
                          <a:solidFill>
                            <a:schemeClr val="tx1"/>
                          </a:solidFill>
                          <a:latin typeface="+mn-lt"/>
                        </a:rPr>
                        <a:t>Laudis</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216" name="Oval 215">
            <a:extLst>
              <a:ext uri="{FF2B5EF4-FFF2-40B4-BE49-F238E27FC236}">
                <a16:creationId xmlns:a16="http://schemas.microsoft.com/office/drawing/2014/main" id="{F21BDF6C-F254-4CB3-AE6F-541DCDF3B281}"/>
              </a:ext>
            </a:extLst>
          </p:cNvPr>
          <p:cNvSpPr/>
          <p:nvPr/>
        </p:nvSpPr>
        <p:spPr>
          <a:xfrm>
            <a:off x="112213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a:t>
            </a:r>
          </a:p>
        </p:txBody>
      </p:sp>
      <p:sp>
        <p:nvSpPr>
          <p:cNvPr id="217" name="Oval 216">
            <a:extLst>
              <a:ext uri="{FF2B5EF4-FFF2-40B4-BE49-F238E27FC236}">
                <a16:creationId xmlns:a16="http://schemas.microsoft.com/office/drawing/2014/main" id="{CF98D4CD-6C78-46C5-8C33-597B873D2420}"/>
              </a:ext>
            </a:extLst>
          </p:cNvPr>
          <p:cNvSpPr/>
          <p:nvPr/>
        </p:nvSpPr>
        <p:spPr>
          <a:xfrm>
            <a:off x="1851158"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a:t>
            </a:r>
          </a:p>
        </p:txBody>
      </p:sp>
      <p:sp>
        <p:nvSpPr>
          <p:cNvPr id="218" name="Oval 217">
            <a:extLst>
              <a:ext uri="{FF2B5EF4-FFF2-40B4-BE49-F238E27FC236}">
                <a16:creationId xmlns:a16="http://schemas.microsoft.com/office/drawing/2014/main" id="{D5AD951D-F13A-4511-9CB0-CA451795509A}"/>
              </a:ext>
            </a:extLst>
          </p:cNvPr>
          <p:cNvSpPr/>
          <p:nvPr/>
        </p:nvSpPr>
        <p:spPr>
          <a:xfrm>
            <a:off x="265092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3</a:t>
            </a:r>
          </a:p>
        </p:txBody>
      </p:sp>
      <p:sp>
        <p:nvSpPr>
          <p:cNvPr id="219" name="Oval 218">
            <a:extLst>
              <a:ext uri="{FF2B5EF4-FFF2-40B4-BE49-F238E27FC236}">
                <a16:creationId xmlns:a16="http://schemas.microsoft.com/office/drawing/2014/main" id="{DC2E6585-9595-4254-A4E3-F5A14D2C2194}"/>
              </a:ext>
            </a:extLst>
          </p:cNvPr>
          <p:cNvSpPr/>
          <p:nvPr/>
        </p:nvSpPr>
        <p:spPr>
          <a:xfrm>
            <a:off x="346111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4</a:t>
            </a:r>
          </a:p>
        </p:txBody>
      </p:sp>
      <p:sp>
        <p:nvSpPr>
          <p:cNvPr id="220" name="Oval 219">
            <a:extLst>
              <a:ext uri="{FF2B5EF4-FFF2-40B4-BE49-F238E27FC236}">
                <a16:creationId xmlns:a16="http://schemas.microsoft.com/office/drawing/2014/main" id="{F7DB4806-C0A8-42C9-9D7F-5735B4E42AAB}"/>
              </a:ext>
            </a:extLst>
          </p:cNvPr>
          <p:cNvSpPr/>
          <p:nvPr/>
        </p:nvSpPr>
        <p:spPr>
          <a:xfrm>
            <a:off x="407674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5</a:t>
            </a:r>
          </a:p>
        </p:txBody>
      </p:sp>
      <p:sp>
        <p:nvSpPr>
          <p:cNvPr id="221" name="Oval 220">
            <a:extLst>
              <a:ext uri="{FF2B5EF4-FFF2-40B4-BE49-F238E27FC236}">
                <a16:creationId xmlns:a16="http://schemas.microsoft.com/office/drawing/2014/main" id="{B8C32C6C-CA3B-4769-8256-2EB0548E3700}"/>
              </a:ext>
            </a:extLst>
          </p:cNvPr>
          <p:cNvSpPr/>
          <p:nvPr/>
        </p:nvSpPr>
        <p:spPr>
          <a:xfrm>
            <a:off x="4381873"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6</a:t>
            </a:r>
          </a:p>
        </p:txBody>
      </p:sp>
      <p:sp>
        <p:nvSpPr>
          <p:cNvPr id="222" name="Oval 221">
            <a:extLst>
              <a:ext uri="{FF2B5EF4-FFF2-40B4-BE49-F238E27FC236}">
                <a16:creationId xmlns:a16="http://schemas.microsoft.com/office/drawing/2014/main" id="{5610B1DB-54A8-4D07-B90C-243B2C23FA08}"/>
              </a:ext>
            </a:extLst>
          </p:cNvPr>
          <p:cNvSpPr/>
          <p:nvPr/>
        </p:nvSpPr>
        <p:spPr>
          <a:xfrm>
            <a:off x="7322354"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0</a:t>
            </a:r>
          </a:p>
        </p:txBody>
      </p:sp>
      <p:sp>
        <p:nvSpPr>
          <p:cNvPr id="223" name="Oval 222">
            <a:extLst>
              <a:ext uri="{FF2B5EF4-FFF2-40B4-BE49-F238E27FC236}">
                <a16:creationId xmlns:a16="http://schemas.microsoft.com/office/drawing/2014/main" id="{51F8C5D5-75BE-4ACB-847C-8A251AB2DF01}"/>
              </a:ext>
            </a:extLst>
          </p:cNvPr>
          <p:cNvSpPr/>
          <p:nvPr/>
        </p:nvSpPr>
        <p:spPr>
          <a:xfrm>
            <a:off x="468128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7</a:t>
            </a:r>
          </a:p>
        </p:txBody>
      </p:sp>
      <p:sp>
        <p:nvSpPr>
          <p:cNvPr id="224" name="Oval 223">
            <a:extLst>
              <a:ext uri="{FF2B5EF4-FFF2-40B4-BE49-F238E27FC236}">
                <a16:creationId xmlns:a16="http://schemas.microsoft.com/office/drawing/2014/main" id="{1D87181F-4801-49F9-8F4F-E9E71F4A6C1B}"/>
              </a:ext>
            </a:extLst>
          </p:cNvPr>
          <p:cNvSpPr/>
          <p:nvPr/>
        </p:nvSpPr>
        <p:spPr>
          <a:xfrm>
            <a:off x="544216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8</a:t>
            </a:r>
          </a:p>
        </p:txBody>
      </p:sp>
      <p:sp>
        <p:nvSpPr>
          <p:cNvPr id="225" name="Oval 224">
            <a:extLst>
              <a:ext uri="{FF2B5EF4-FFF2-40B4-BE49-F238E27FC236}">
                <a16:creationId xmlns:a16="http://schemas.microsoft.com/office/drawing/2014/main" id="{658DF298-4512-4785-B057-ED8818A3942C}"/>
              </a:ext>
            </a:extLst>
          </p:cNvPr>
          <p:cNvSpPr/>
          <p:nvPr/>
        </p:nvSpPr>
        <p:spPr>
          <a:xfrm>
            <a:off x="642606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9</a:t>
            </a:r>
          </a:p>
        </p:txBody>
      </p:sp>
      <p:sp>
        <p:nvSpPr>
          <p:cNvPr id="226" name="Oval 225">
            <a:extLst>
              <a:ext uri="{FF2B5EF4-FFF2-40B4-BE49-F238E27FC236}">
                <a16:creationId xmlns:a16="http://schemas.microsoft.com/office/drawing/2014/main" id="{A152EBB9-3FB8-4661-8CBE-0EB3A960CA4F}"/>
              </a:ext>
            </a:extLst>
          </p:cNvPr>
          <p:cNvSpPr/>
          <p:nvPr/>
        </p:nvSpPr>
        <p:spPr>
          <a:xfrm>
            <a:off x="81807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3</a:t>
            </a:r>
          </a:p>
        </p:txBody>
      </p:sp>
      <p:sp>
        <p:nvSpPr>
          <p:cNvPr id="227" name="Oval 226">
            <a:extLst>
              <a:ext uri="{FF2B5EF4-FFF2-40B4-BE49-F238E27FC236}">
                <a16:creationId xmlns:a16="http://schemas.microsoft.com/office/drawing/2014/main" id="{F310B25A-56A0-41A0-AA86-1F8FDB33F897}"/>
              </a:ext>
            </a:extLst>
          </p:cNvPr>
          <p:cNvSpPr/>
          <p:nvPr/>
        </p:nvSpPr>
        <p:spPr>
          <a:xfrm>
            <a:off x="89865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4</a:t>
            </a:r>
          </a:p>
        </p:txBody>
      </p:sp>
      <p:sp>
        <p:nvSpPr>
          <p:cNvPr id="228" name="Oval 227">
            <a:extLst>
              <a:ext uri="{FF2B5EF4-FFF2-40B4-BE49-F238E27FC236}">
                <a16:creationId xmlns:a16="http://schemas.microsoft.com/office/drawing/2014/main" id="{46D3E6CC-A16E-4A2F-82FD-B4C9033C3B47}"/>
              </a:ext>
            </a:extLst>
          </p:cNvPr>
          <p:cNvSpPr/>
          <p:nvPr/>
        </p:nvSpPr>
        <p:spPr>
          <a:xfrm>
            <a:off x="985824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5</a:t>
            </a:r>
          </a:p>
        </p:txBody>
      </p:sp>
      <p:sp>
        <p:nvSpPr>
          <p:cNvPr id="229" name="Oval 228">
            <a:extLst>
              <a:ext uri="{FF2B5EF4-FFF2-40B4-BE49-F238E27FC236}">
                <a16:creationId xmlns:a16="http://schemas.microsoft.com/office/drawing/2014/main" id="{ACF0719F-6B7A-4793-943D-64E69619B9F2}"/>
              </a:ext>
            </a:extLst>
          </p:cNvPr>
          <p:cNvSpPr/>
          <p:nvPr/>
        </p:nvSpPr>
        <p:spPr>
          <a:xfrm>
            <a:off x="1084058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2</a:t>
            </a:r>
          </a:p>
        </p:txBody>
      </p:sp>
      <p:sp>
        <p:nvSpPr>
          <p:cNvPr id="230" name="Oval 229">
            <a:extLst>
              <a:ext uri="{FF2B5EF4-FFF2-40B4-BE49-F238E27FC236}">
                <a16:creationId xmlns:a16="http://schemas.microsoft.com/office/drawing/2014/main" id="{3E1E6405-346B-4BEA-BBD3-2EBB5358715C}"/>
              </a:ext>
            </a:extLst>
          </p:cNvPr>
          <p:cNvSpPr/>
          <p:nvPr/>
        </p:nvSpPr>
        <p:spPr>
          <a:xfrm>
            <a:off x="1168605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7</a:t>
            </a:r>
          </a:p>
        </p:txBody>
      </p:sp>
      <p:grpSp>
        <p:nvGrpSpPr>
          <p:cNvPr id="37" name="2: Common Waterhemp">
            <a:extLst>
              <a:ext uri="{FF2B5EF4-FFF2-40B4-BE49-F238E27FC236}">
                <a16:creationId xmlns:a16="http://schemas.microsoft.com/office/drawing/2014/main" id="{E1486255-5344-4C26-860F-E8B0E5222475}"/>
              </a:ext>
            </a:extLst>
          </p:cNvPr>
          <p:cNvGrpSpPr/>
          <p:nvPr/>
        </p:nvGrpSpPr>
        <p:grpSpPr>
          <a:xfrm>
            <a:off x="2209913" y="1141155"/>
            <a:ext cx="7772174" cy="2807745"/>
            <a:chOff x="1762543" y="1141155"/>
            <a:chExt cx="7772174" cy="2807745"/>
          </a:xfrm>
        </p:grpSpPr>
        <p:sp>
          <p:nvSpPr>
            <p:cNvPr id="38" name="Rectangle 37">
              <a:extLst>
                <a:ext uri="{FF2B5EF4-FFF2-40B4-BE49-F238E27FC236}">
                  <a16:creationId xmlns:a16="http://schemas.microsoft.com/office/drawing/2014/main" id="{765D7BED-E542-41D7-A4A3-CCCE19E10277}"/>
                </a:ext>
              </a:extLst>
            </p:cNvPr>
            <p:cNvSpPr/>
            <p:nvPr/>
          </p:nvSpPr>
          <p:spPr>
            <a:xfrm>
              <a:off x="4903777" y="1141155"/>
              <a:ext cx="4630940" cy="2807745"/>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40" name="Rectangle 39">
              <a:extLst>
                <a:ext uri="{FF2B5EF4-FFF2-40B4-BE49-F238E27FC236}">
                  <a16:creationId xmlns:a16="http://schemas.microsoft.com/office/drawing/2014/main" id="{2FBCC611-82DD-4890-BEEA-EEA7174DDDA4}"/>
                </a:ext>
              </a:extLst>
            </p:cNvPr>
            <p:cNvSpPr/>
            <p:nvPr/>
          </p:nvSpPr>
          <p:spPr>
            <a:xfrm>
              <a:off x="1762543" y="1141155"/>
              <a:ext cx="3141233" cy="280774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41" name="TextBox 40">
              <a:extLst>
                <a:ext uri="{FF2B5EF4-FFF2-40B4-BE49-F238E27FC236}">
                  <a16:creationId xmlns:a16="http://schemas.microsoft.com/office/drawing/2014/main" id="{0FDEAAD1-8AD6-4D9B-B9F5-5326BBAB3F54}"/>
                </a:ext>
              </a:extLst>
            </p:cNvPr>
            <p:cNvSpPr txBox="1"/>
            <p:nvPr/>
          </p:nvSpPr>
          <p:spPr>
            <a:xfrm>
              <a:off x="5210290" y="2690802"/>
              <a:ext cx="1833101" cy="7848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Narrow" panose="020B0606020202030204" pitchFamily="34" charset="0"/>
                  <a:ea typeface="+mj-ea"/>
                  <a:cs typeface="+mj-cs"/>
                </a:rPr>
                <a:t>SEEDS/PLANT</a:t>
              </a:r>
            </a:p>
            <a:p>
              <a:pPr marL="0" marR="0" lvl="0" indent="0" defTabSz="914400"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a:ln>
                    <a:noFill/>
                  </a:ln>
                  <a:solidFill>
                    <a:sysClr val="windowText" lastClr="000000"/>
                  </a:solidFill>
                  <a:effectLst/>
                  <a:uLnTx/>
                  <a:uFillTx/>
                  <a:latin typeface="+mj-lt"/>
                </a:rPr>
                <a:t>250K</a:t>
              </a:r>
            </a:p>
          </p:txBody>
        </p:sp>
        <p:sp>
          <p:nvSpPr>
            <p:cNvPr id="42" name="TextBox 41">
              <a:extLst>
                <a:ext uri="{FF2B5EF4-FFF2-40B4-BE49-F238E27FC236}">
                  <a16:creationId xmlns:a16="http://schemas.microsoft.com/office/drawing/2014/main" id="{6F3BA597-AFD7-4E88-A57B-F88532ABD7B6}"/>
                </a:ext>
              </a:extLst>
            </p:cNvPr>
            <p:cNvSpPr txBox="1"/>
            <p:nvPr/>
          </p:nvSpPr>
          <p:spPr>
            <a:xfrm>
              <a:off x="5210290" y="1445298"/>
              <a:ext cx="4148314" cy="7294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rPr>
                <a:t>COMMON WATERHEMP</a:t>
              </a:r>
            </a:p>
            <a:p>
              <a:pPr marL="0" marR="0" lvl="0" indent="0" defTabSz="91440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noFill/>
                  </a:ln>
                  <a:solidFill>
                    <a:schemeClr val="accent6"/>
                  </a:solidFill>
                  <a:effectLst/>
                  <a:uLnTx/>
                  <a:uFillTx/>
                  <a:latin typeface="Arial Narrow" panose="020B0606020202030204" pitchFamily="34" charset="0"/>
                </a:rPr>
                <a:t>Amaranthus </a:t>
              </a:r>
              <a:r>
                <a:rPr kumimoji="0" lang="en-US" sz="2200" b="0" i="0" u="none" strike="noStrike" kern="0" cap="none" spc="0" normalizeH="0" baseline="0" noProof="0" dirty="0" err="1">
                  <a:ln>
                    <a:noFill/>
                  </a:ln>
                  <a:solidFill>
                    <a:schemeClr val="accent6"/>
                  </a:solidFill>
                  <a:effectLst/>
                  <a:uLnTx/>
                  <a:uFillTx/>
                  <a:latin typeface="Arial Narrow" panose="020B0606020202030204" pitchFamily="34" charset="0"/>
                </a:rPr>
                <a:t>rudis</a:t>
              </a:r>
              <a:endParaRPr kumimoji="0" lang="en-US" sz="2200" b="0" i="0" u="none" strike="noStrike" kern="0" cap="none" spc="0" normalizeH="0" baseline="0" noProof="0" dirty="0">
                <a:ln>
                  <a:noFill/>
                </a:ln>
                <a:solidFill>
                  <a:schemeClr val="accent6"/>
                </a:solidFill>
                <a:effectLst/>
                <a:uLnTx/>
                <a:uFillTx/>
                <a:latin typeface="Arial Narrow" panose="020B0606020202030204" pitchFamily="34" charset="0"/>
              </a:endParaRPr>
            </a:p>
          </p:txBody>
        </p:sp>
        <p:cxnSp>
          <p:nvCxnSpPr>
            <p:cNvPr id="43" name="Straight Connector 42">
              <a:extLst>
                <a:ext uri="{FF2B5EF4-FFF2-40B4-BE49-F238E27FC236}">
                  <a16:creationId xmlns:a16="http://schemas.microsoft.com/office/drawing/2014/main" id="{5A38245A-D210-4F93-9A3B-B9955B45DA53}"/>
                </a:ext>
              </a:extLst>
            </p:cNvPr>
            <p:cNvCxnSpPr>
              <a:cxnSpLocks/>
            </p:cNvCxnSpPr>
            <p:nvPr/>
          </p:nvCxnSpPr>
          <p:spPr>
            <a:xfrm flipV="1">
              <a:off x="5207008" y="2396381"/>
              <a:ext cx="4007133"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 name="Oval 47">
            <a:extLst>
              <a:ext uri="{FF2B5EF4-FFF2-40B4-BE49-F238E27FC236}">
                <a16:creationId xmlns:a16="http://schemas.microsoft.com/office/drawing/2014/main" id="{672E17A7-41CA-4AD2-97BB-B898FBD32D49}"/>
              </a:ext>
            </a:extLst>
          </p:cNvPr>
          <p:cNvSpPr/>
          <p:nvPr/>
        </p:nvSpPr>
        <p:spPr>
          <a:xfrm>
            <a:off x="265092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3</a:t>
            </a:r>
          </a:p>
        </p:txBody>
      </p:sp>
      <p:sp>
        <p:nvSpPr>
          <p:cNvPr id="49" name="Rectangle 48">
            <a:extLst>
              <a:ext uri="{FF2B5EF4-FFF2-40B4-BE49-F238E27FC236}">
                <a16:creationId xmlns:a16="http://schemas.microsoft.com/office/drawing/2014/main" id="{857F8D01-E607-4CF6-8B6C-3B611261357E}"/>
              </a:ext>
            </a:extLst>
          </p:cNvPr>
          <p:cNvSpPr/>
          <p:nvPr/>
        </p:nvSpPr>
        <p:spPr>
          <a:xfrm>
            <a:off x="0" y="4494078"/>
            <a:ext cx="12199350" cy="132171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50" name="Table 49">
            <a:extLst>
              <a:ext uri="{FF2B5EF4-FFF2-40B4-BE49-F238E27FC236}">
                <a16:creationId xmlns:a16="http://schemas.microsoft.com/office/drawing/2014/main" id="{522AB600-484C-4797-8F68-CE23A060EEB8}"/>
              </a:ext>
            </a:extLst>
          </p:cNvPr>
          <p:cNvGraphicFramePr>
            <a:graphicFrameLocks noGrp="1"/>
          </p:cNvGraphicFramePr>
          <p:nvPr/>
        </p:nvGraphicFramePr>
        <p:xfrm>
          <a:off x="2091054" y="4385705"/>
          <a:ext cx="8000141" cy="1554480"/>
        </p:xfrm>
        <a:graphic>
          <a:graphicData uri="http://schemas.openxmlformats.org/drawingml/2006/table">
            <a:tbl>
              <a:tblPr firstCol="1" bandRow="1">
                <a:tableStyleId>{5C22544A-7EE6-4342-B048-85BDC9FD1C3A}</a:tableStyleId>
              </a:tblPr>
              <a:tblGrid>
                <a:gridCol w="1188720">
                  <a:extLst>
                    <a:ext uri="{9D8B030D-6E8A-4147-A177-3AD203B41FA5}">
                      <a16:colId xmlns:a16="http://schemas.microsoft.com/office/drawing/2014/main" val="859317391"/>
                    </a:ext>
                  </a:extLst>
                </a:gridCol>
                <a:gridCol w="1142141">
                  <a:extLst>
                    <a:ext uri="{9D8B030D-6E8A-4147-A177-3AD203B41FA5}">
                      <a16:colId xmlns:a16="http://schemas.microsoft.com/office/drawing/2014/main" val="3425404963"/>
                    </a:ext>
                  </a:extLst>
                </a:gridCol>
                <a:gridCol w="1645920">
                  <a:extLst>
                    <a:ext uri="{9D8B030D-6E8A-4147-A177-3AD203B41FA5}">
                      <a16:colId xmlns:a16="http://schemas.microsoft.com/office/drawing/2014/main" val="894326951"/>
                    </a:ext>
                  </a:extLst>
                </a:gridCol>
                <a:gridCol w="1645920">
                  <a:extLst>
                    <a:ext uri="{9D8B030D-6E8A-4147-A177-3AD203B41FA5}">
                      <a16:colId xmlns:a16="http://schemas.microsoft.com/office/drawing/2014/main" val="1494173614"/>
                    </a:ext>
                  </a:extLst>
                </a:gridCol>
                <a:gridCol w="1188720">
                  <a:extLst>
                    <a:ext uri="{9D8B030D-6E8A-4147-A177-3AD203B41FA5}">
                      <a16:colId xmlns:a16="http://schemas.microsoft.com/office/drawing/2014/main" val="106703608"/>
                    </a:ext>
                  </a:extLst>
                </a:gridCol>
                <a:gridCol w="1188720">
                  <a:extLst>
                    <a:ext uri="{9D8B030D-6E8A-4147-A177-3AD203B41FA5}">
                      <a16:colId xmlns:a16="http://schemas.microsoft.com/office/drawing/2014/main" val="3747364226"/>
                    </a:ext>
                  </a:extLst>
                </a:gridCol>
              </a:tblGrid>
              <a:tr h="1097280">
                <a:tc>
                  <a:txBody>
                    <a:bodyPr/>
                    <a:lstStyle/>
                    <a:p>
                      <a:pPr algn="ctr"/>
                      <a:r>
                        <a:rPr lang="en-US" sz="1600" b="1" spc="0" baseline="0">
                          <a:solidFill>
                            <a:schemeClr val="bg1"/>
                          </a:solidFill>
                          <a:latin typeface="Arial Narrow" panose="020B0606020202030204" pitchFamily="34" charset="0"/>
                        </a:rPr>
                        <a:t>ALS</a:t>
                      </a:r>
                    </a:p>
                    <a:p>
                      <a:pPr algn="ctr"/>
                      <a:r>
                        <a:rPr lang="en-US" sz="1600" b="1" spc="0" baseline="0">
                          <a:solidFill>
                            <a:schemeClr val="bg1"/>
                          </a:solidFill>
                          <a:latin typeface="Arial Narrow" panose="020B0606020202030204" pitchFamily="34" charset="0"/>
                        </a:rPr>
                        <a:t>INHIBITORS</a:t>
                      </a:r>
                    </a:p>
                  </a:txBody>
                  <a:tcPr anchor="b">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SYNTHETIC</a:t>
                      </a:r>
                    </a:p>
                    <a:p>
                      <a:pPr algn="ctr"/>
                      <a:r>
                        <a:rPr lang="en-US" sz="1600" b="1" kern="1200" spc="0" baseline="0">
                          <a:solidFill>
                            <a:schemeClr val="bg1"/>
                          </a:solidFill>
                          <a:latin typeface="Arial Narrow" panose="020B0606020202030204" pitchFamily="34" charset="0"/>
                          <a:ea typeface="+mn-ea"/>
                          <a:cs typeface="+mn-cs"/>
                        </a:rPr>
                        <a:t>AUXIN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HOTOSYSTEM II</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EPSP SYNTHASE</a:t>
                      </a:r>
                    </a:p>
                    <a:p>
                      <a:pPr algn="ctr"/>
                      <a:r>
                        <a:rPr lang="en-US" sz="16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PO</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HPPD</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034289678"/>
                  </a:ext>
                </a:extLst>
              </a:tr>
              <a:tr h="457200">
                <a:tc gridSpan="6">
                  <a:txBody>
                    <a:bodyPr/>
                    <a:lstStyle/>
                    <a:p>
                      <a:pPr algn="ctr">
                        <a:lnSpc>
                          <a:spcPct val="90000"/>
                        </a:lnSpc>
                      </a:pPr>
                      <a:r>
                        <a:rPr lang="en-US" sz="1800" b="0" kern="1200">
                          <a:solidFill>
                            <a:schemeClr val="tx1"/>
                          </a:solidFill>
                          <a:latin typeface="Arial Narrow" panose="020B0606020202030204" pitchFamily="34" charset="0"/>
                          <a:ea typeface="+mn-ea"/>
                          <a:cs typeface="+mn-cs"/>
                        </a:rPr>
                        <a:t>KNOWN RESISTANCE</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90000"/>
                        </a:lnSpc>
                      </a:pPr>
                      <a:endParaRPr lang="en-US" sz="1800" b="0" kern="1200">
                        <a:solidFill>
                          <a:schemeClr val="tx1"/>
                        </a:solidFill>
                        <a:latin typeface="Arial Narrow" panose="020B0606020202030204" pitchFamily="34" charset="0"/>
                        <a:ea typeface="+mj-ea"/>
                        <a:cs typeface="+mj-cs"/>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90000"/>
                        </a:lnSpc>
                      </a:pPr>
                      <a:endParaRPr lang="en-US" sz="1800" b="0" kern="1200">
                        <a:solidFill>
                          <a:schemeClr val="tx1"/>
                        </a:solidFill>
                        <a:latin typeface="Arial Narrow" panose="020B0606020202030204" pitchFamily="34" charset="0"/>
                        <a:ea typeface="+mj-ea"/>
                        <a:cs typeface="+mj-cs"/>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51" name="Rectangle 50">
            <a:extLst>
              <a:ext uri="{FF2B5EF4-FFF2-40B4-BE49-F238E27FC236}">
                <a16:creationId xmlns:a16="http://schemas.microsoft.com/office/drawing/2014/main" id="{F576E3BC-6B81-4BEF-A657-395CF7052961}"/>
              </a:ext>
            </a:extLst>
          </p:cNvPr>
          <p:cNvSpPr/>
          <p:nvPr/>
        </p:nvSpPr>
        <p:spPr>
          <a:xfrm>
            <a:off x="2080430" y="4385706"/>
            <a:ext cx="8007091" cy="155448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Oval 51">
            <a:extLst>
              <a:ext uri="{FF2B5EF4-FFF2-40B4-BE49-F238E27FC236}">
                <a16:creationId xmlns:a16="http://schemas.microsoft.com/office/drawing/2014/main" id="{88402E8A-6731-4470-B106-E0DEB09A8419}"/>
              </a:ext>
            </a:extLst>
          </p:cNvPr>
          <p:cNvSpPr/>
          <p:nvPr/>
        </p:nvSpPr>
        <p:spPr>
          <a:xfrm>
            <a:off x="3641496"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4</a:t>
            </a:r>
          </a:p>
        </p:txBody>
      </p:sp>
      <p:sp>
        <p:nvSpPr>
          <p:cNvPr id="53" name="Oval 52">
            <a:extLst>
              <a:ext uri="{FF2B5EF4-FFF2-40B4-BE49-F238E27FC236}">
                <a16:creationId xmlns:a16="http://schemas.microsoft.com/office/drawing/2014/main" id="{76567D94-4C2C-4C42-BF67-53A0C145163F}"/>
              </a:ext>
            </a:extLst>
          </p:cNvPr>
          <p:cNvSpPr/>
          <p:nvPr/>
        </p:nvSpPr>
        <p:spPr>
          <a:xfrm>
            <a:off x="6684620"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9</a:t>
            </a:r>
          </a:p>
        </p:txBody>
      </p:sp>
      <p:sp>
        <p:nvSpPr>
          <p:cNvPr id="54" name="Oval 53">
            <a:extLst>
              <a:ext uri="{FF2B5EF4-FFF2-40B4-BE49-F238E27FC236}">
                <a16:creationId xmlns:a16="http://schemas.microsoft.com/office/drawing/2014/main" id="{1D497E54-9B4D-4AC9-ADEF-5A623788C389}"/>
              </a:ext>
            </a:extLst>
          </p:cNvPr>
          <p:cNvSpPr/>
          <p:nvPr/>
        </p:nvSpPr>
        <p:spPr>
          <a:xfrm>
            <a:off x="5019184"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5</a:t>
            </a:r>
          </a:p>
        </p:txBody>
      </p:sp>
      <p:sp>
        <p:nvSpPr>
          <p:cNvPr id="55" name="Oval 54">
            <a:extLst>
              <a:ext uri="{FF2B5EF4-FFF2-40B4-BE49-F238E27FC236}">
                <a16:creationId xmlns:a16="http://schemas.microsoft.com/office/drawing/2014/main" id="{369CB0B2-B1DD-42FE-B6C2-B4B999A0D5EA}"/>
              </a:ext>
            </a:extLst>
          </p:cNvPr>
          <p:cNvSpPr/>
          <p:nvPr/>
        </p:nvSpPr>
        <p:spPr>
          <a:xfrm>
            <a:off x="8105140"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4</a:t>
            </a:r>
          </a:p>
        </p:txBody>
      </p:sp>
      <p:sp>
        <p:nvSpPr>
          <p:cNvPr id="56" name="Oval 55">
            <a:extLst>
              <a:ext uri="{FF2B5EF4-FFF2-40B4-BE49-F238E27FC236}">
                <a16:creationId xmlns:a16="http://schemas.microsoft.com/office/drawing/2014/main" id="{33187FDA-46E5-4C6F-AC3D-DC5CCBEF420F}"/>
              </a:ext>
            </a:extLst>
          </p:cNvPr>
          <p:cNvSpPr/>
          <p:nvPr/>
        </p:nvSpPr>
        <p:spPr>
          <a:xfrm>
            <a:off x="9283343"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7</a:t>
            </a:r>
          </a:p>
        </p:txBody>
      </p:sp>
      <p:sp>
        <p:nvSpPr>
          <p:cNvPr id="44" name="Oval 43">
            <a:extLst>
              <a:ext uri="{FF2B5EF4-FFF2-40B4-BE49-F238E27FC236}">
                <a16:creationId xmlns:a16="http://schemas.microsoft.com/office/drawing/2014/main" id="{83B2D53F-7F87-4E76-9423-52A3AC000E6F}"/>
              </a:ext>
            </a:extLst>
          </p:cNvPr>
          <p:cNvSpPr/>
          <p:nvPr/>
        </p:nvSpPr>
        <p:spPr>
          <a:xfrm>
            <a:off x="2488260"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pic>
        <p:nvPicPr>
          <p:cNvPr id="46" name="Picture 45">
            <a:extLst>
              <a:ext uri="{FF2B5EF4-FFF2-40B4-BE49-F238E27FC236}">
                <a16:creationId xmlns:a16="http://schemas.microsoft.com/office/drawing/2014/main" id="{43F16B3A-6EE2-4A99-B024-0FBFF47D94EF}"/>
              </a:ext>
            </a:extLst>
          </p:cNvPr>
          <p:cNvPicPr>
            <a:picLocks noChangeAspect="1"/>
          </p:cNvPicPr>
          <p:nvPr/>
        </p:nvPicPr>
        <p:blipFill>
          <a:blip r:embed="rId5"/>
          <a:stretch>
            <a:fillRect/>
          </a:stretch>
        </p:blipFill>
        <p:spPr>
          <a:xfrm>
            <a:off x="914400" y="6319117"/>
            <a:ext cx="1171575" cy="495300"/>
          </a:xfrm>
          <a:prstGeom prst="rect">
            <a:avLst/>
          </a:prstGeom>
        </p:spPr>
      </p:pic>
      <p:pic>
        <p:nvPicPr>
          <p:cNvPr id="47" name="Picture 46">
            <a:extLst>
              <a:ext uri="{FF2B5EF4-FFF2-40B4-BE49-F238E27FC236}">
                <a16:creationId xmlns:a16="http://schemas.microsoft.com/office/drawing/2014/main" id="{DDC41537-72C8-4249-983B-F607B67DE56A}"/>
              </a:ext>
            </a:extLst>
          </p:cNvPr>
          <p:cNvPicPr>
            <a:picLocks noChangeAspect="1"/>
          </p:cNvPicPr>
          <p:nvPr/>
        </p:nvPicPr>
        <p:blipFill>
          <a:blip r:embed="rId6"/>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351015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 calcmode="lin" valueType="num">
                                      <p:cBhvr>
                                        <p:cTn id="11" dur="500" fill="hold"/>
                                        <p:tgtEl>
                                          <p:spTgt spid="50"/>
                                        </p:tgtEl>
                                        <p:attrNameLst>
                                          <p:attrName>ppt_w</p:attrName>
                                        </p:attrNameLst>
                                      </p:cBhvr>
                                      <p:tavLst>
                                        <p:tav tm="0">
                                          <p:val>
                                            <p:fltVal val="0"/>
                                          </p:val>
                                        </p:tav>
                                        <p:tav tm="100000">
                                          <p:val>
                                            <p:strVal val="#ppt_w"/>
                                          </p:val>
                                        </p:tav>
                                      </p:tavLst>
                                    </p:anim>
                                    <p:anim calcmode="lin" valueType="num">
                                      <p:cBhvr>
                                        <p:cTn id="12" dur="500" fill="hold"/>
                                        <p:tgtEl>
                                          <p:spTgt spid="50"/>
                                        </p:tgtEl>
                                        <p:attrNameLst>
                                          <p:attrName>ppt_h</p:attrName>
                                        </p:attrNameLst>
                                      </p:cBhvr>
                                      <p:tavLst>
                                        <p:tav tm="0">
                                          <p:val>
                                            <p:fltVal val="0"/>
                                          </p:val>
                                        </p:tav>
                                        <p:tav tm="100000">
                                          <p:val>
                                            <p:strVal val="#ppt_h"/>
                                          </p:val>
                                        </p:tav>
                                      </p:tavLst>
                                    </p:anim>
                                    <p:animEffect transition="in" filter="fade">
                                      <p:cBhvr>
                                        <p:cTn id="13" dur="500"/>
                                        <p:tgtEl>
                                          <p:spTgt spid="50"/>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 calcmode="lin" valueType="num">
                                      <p:cBhvr>
                                        <p:cTn id="16" dur="500" fill="hold"/>
                                        <p:tgtEl>
                                          <p:spTgt spid="51"/>
                                        </p:tgtEl>
                                        <p:attrNameLst>
                                          <p:attrName>ppt_w</p:attrName>
                                        </p:attrNameLst>
                                      </p:cBhvr>
                                      <p:tavLst>
                                        <p:tav tm="0">
                                          <p:val>
                                            <p:fltVal val="0"/>
                                          </p:val>
                                        </p:tav>
                                        <p:tav tm="100000">
                                          <p:val>
                                            <p:strVal val="#ppt_w"/>
                                          </p:val>
                                        </p:tav>
                                      </p:tavLst>
                                    </p:anim>
                                    <p:anim calcmode="lin" valueType="num">
                                      <p:cBhvr>
                                        <p:cTn id="17" dur="500" fill="hold"/>
                                        <p:tgtEl>
                                          <p:spTgt spid="51"/>
                                        </p:tgtEl>
                                        <p:attrNameLst>
                                          <p:attrName>ppt_h</p:attrName>
                                        </p:attrNameLst>
                                      </p:cBhvr>
                                      <p:tavLst>
                                        <p:tav tm="0">
                                          <p:val>
                                            <p:fltVal val="0"/>
                                          </p:val>
                                        </p:tav>
                                        <p:tav tm="100000">
                                          <p:val>
                                            <p:strVal val="#ppt_h"/>
                                          </p:val>
                                        </p:tav>
                                      </p:tavLst>
                                    </p:anim>
                                    <p:animEffect transition="in" filter="fade">
                                      <p:cBhvr>
                                        <p:cTn id="18" dur="500"/>
                                        <p:tgtEl>
                                          <p:spTgt spid="51"/>
                                        </p:tgtEl>
                                      </p:cBhvr>
                                    </p:animEffect>
                                  </p:childTnLst>
                                </p:cTn>
                              </p:par>
                            </p:childTnLst>
                          </p:cTn>
                        </p:par>
                        <p:par>
                          <p:cTn id="19" fill="hold">
                            <p:stCondLst>
                              <p:cond delay="1000"/>
                            </p:stCondLst>
                            <p:childTnLst>
                              <p:par>
                                <p:cTn id="20" presetID="42" presetClass="entr" presetSubtype="0" fill="hold" grpId="0" nodeType="after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anim calcmode="lin" valueType="num">
                                      <p:cBhvr>
                                        <p:cTn id="23" dur="250" fill="hold"/>
                                        <p:tgtEl>
                                          <p:spTgt spid="44"/>
                                        </p:tgtEl>
                                        <p:attrNameLst>
                                          <p:attrName>ppt_x</p:attrName>
                                        </p:attrNameLst>
                                      </p:cBhvr>
                                      <p:tavLst>
                                        <p:tav tm="0">
                                          <p:val>
                                            <p:strVal val="#ppt_x"/>
                                          </p:val>
                                        </p:tav>
                                        <p:tav tm="100000">
                                          <p:val>
                                            <p:strVal val="#ppt_x"/>
                                          </p:val>
                                        </p:tav>
                                      </p:tavLst>
                                    </p:anim>
                                    <p:anim calcmode="lin" valueType="num">
                                      <p:cBhvr>
                                        <p:cTn id="24" dur="250" fill="hold"/>
                                        <p:tgtEl>
                                          <p:spTgt spid="44"/>
                                        </p:tgtEl>
                                        <p:attrNameLst>
                                          <p:attrName>ppt_y</p:attrName>
                                        </p:attrNameLst>
                                      </p:cBhvr>
                                      <p:tavLst>
                                        <p:tav tm="0">
                                          <p:val>
                                            <p:strVal val="#ppt_y+.1"/>
                                          </p:val>
                                        </p:tav>
                                        <p:tav tm="100000">
                                          <p:val>
                                            <p:strVal val="#ppt_y"/>
                                          </p:val>
                                        </p:tav>
                                      </p:tavLst>
                                    </p:anim>
                                  </p:childTnLst>
                                </p:cTn>
                              </p:par>
                            </p:childTnLst>
                          </p:cTn>
                        </p:par>
                        <p:par>
                          <p:cTn id="25" fill="hold">
                            <p:stCondLst>
                              <p:cond delay="1250"/>
                            </p:stCondLst>
                            <p:childTnLst>
                              <p:par>
                                <p:cTn id="26" presetID="42" presetClass="entr" presetSubtype="0" fill="hold" grpId="0" nodeType="after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fade">
                                      <p:cBhvr>
                                        <p:cTn id="28" dur="250"/>
                                        <p:tgtEl>
                                          <p:spTgt spid="52"/>
                                        </p:tgtEl>
                                      </p:cBhvr>
                                    </p:animEffect>
                                    <p:anim calcmode="lin" valueType="num">
                                      <p:cBhvr>
                                        <p:cTn id="29" dur="250" fill="hold"/>
                                        <p:tgtEl>
                                          <p:spTgt spid="52"/>
                                        </p:tgtEl>
                                        <p:attrNameLst>
                                          <p:attrName>ppt_x</p:attrName>
                                        </p:attrNameLst>
                                      </p:cBhvr>
                                      <p:tavLst>
                                        <p:tav tm="0">
                                          <p:val>
                                            <p:strVal val="#ppt_x"/>
                                          </p:val>
                                        </p:tav>
                                        <p:tav tm="100000">
                                          <p:val>
                                            <p:strVal val="#ppt_x"/>
                                          </p:val>
                                        </p:tav>
                                      </p:tavLst>
                                    </p:anim>
                                    <p:anim calcmode="lin" valueType="num">
                                      <p:cBhvr>
                                        <p:cTn id="30" dur="250" fill="hold"/>
                                        <p:tgtEl>
                                          <p:spTgt spid="52"/>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42" presetClass="entr" presetSubtype="0" fill="hold" grpId="0" nodeType="after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250"/>
                                        <p:tgtEl>
                                          <p:spTgt spid="54"/>
                                        </p:tgtEl>
                                      </p:cBhvr>
                                    </p:animEffect>
                                    <p:anim calcmode="lin" valueType="num">
                                      <p:cBhvr>
                                        <p:cTn id="35" dur="250" fill="hold"/>
                                        <p:tgtEl>
                                          <p:spTgt spid="54"/>
                                        </p:tgtEl>
                                        <p:attrNameLst>
                                          <p:attrName>ppt_x</p:attrName>
                                        </p:attrNameLst>
                                      </p:cBhvr>
                                      <p:tavLst>
                                        <p:tav tm="0">
                                          <p:val>
                                            <p:strVal val="#ppt_x"/>
                                          </p:val>
                                        </p:tav>
                                        <p:tav tm="100000">
                                          <p:val>
                                            <p:strVal val="#ppt_x"/>
                                          </p:val>
                                        </p:tav>
                                      </p:tavLst>
                                    </p:anim>
                                    <p:anim calcmode="lin" valueType="num">
                                      <p:cBhvr>
                                        <p:cTn id="36" dur="250" fill="hold"/>
                                        <p:tgtEl>
                                          <p:spTgt spid="54"/>
                                        </p:tgtEl>
                                        <p:attrNameLst>
                                          <p:attrName>ppt_y</p:attrName>
                                        </p:attrNameLst>
                                      </p:cBhvr>
                                      <p:tavLst>
                                        <p:tav tm="0">
                                          <p:val>
                                            <p:strVal val="#ppt_y+.1"/>
                                          </p:val>
                                        </p:tav>
                                        <p:tav tm="100000">
                                          <p:val>
                                            <p:strVal val="#ppt_y"/>
                                          </p:val>
                                        </p:tav>
                                      </p:tavLst>
                                    </p:anim>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250"/>
                                        <p:tgtEl>
                                          <p:spTgt spid="53"/>
                                        </p:tgtEl>
                                      </p:cBhvr>
                                    </p:animEffect>
                                    <p:anim calcmode="lin" valueType="num">
                                      <p:cBhvr>
                                        <p:cTn id="41" dur="250" fill="hold"/>
                                        <p:tgtEl>
                                          <p:spTgt spid="53"/>
                                        </p:tgtEl>
                                        <p:attrNameLst>
                                          <p:attrName>ppt_x</p:attrName>
                                        </p:attrNameLst>
                                      </p:cBhvr>
                                      <p:tavLst>
                                        <p:tav tm="0">
                                          <p:val>
                                            <p:strVal val="#ppt_x"/>
                                          </p:val>
                                        </p:tav>
                                        <p:tav tm="100000">
                                          <p:val>
                                            <p:strVal val="#ppt_x"/>
                                          </p:val>
                                        </p:tav>
                                      </p:tavLst>
                                    </p:anim>
                                    <p:anim calcmode="lin" valueType="num">
                                      <p:cBhvr>
                                        <p:cTn id="42" dur="250" fill="hold"/>
                                        <p:tgtEl>
                                          <p:spTgt spid="53"/>
                                        </p:tgtEl>
                                        <p:attrNameLst>
                                          <p:attrName>ppt_y</p:attrName>
                                        </p:attrNameLst>
                                      </p:cBhvr>
                                      <p:tavLst>
                                        <p:tav tm="0">
                                          <p:val>
                                            <p:strVal val="#ppt_y+.1"/>
                                          </p:val>
                                        </p:tav>
                                        <p:tav tm="100000">
                                          <p:val>
                                            <p:strVal val="#ppt_y"/>
                                          </p:val>
                                        </p:tav>
                                      </p:tavLst>
                                    </p:anim>
                                  </p:childTnLst>
                                </p:cTn>
                              </p:par>
                            </p:childTnLst>
                          </p:cTn>
                        </p:par>
                        <p:par>
                          <p:cTn id="43" fill="hold">
                            <p:stCondLst>
                              <p:cond delay="2000"/>
                            </p:stCondLst>
                            <p:childTnLst>
                              <p:par>
                                <p:cTn id="44" presetID="42" presetClass="entr" presetSubtype="0" fill="hold" grpId="0" nodeType="after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250"/>
                                        <p:tgtEl>
                                          <p:spTgt spid="55"/>
                                        </p:tgtEl>
                                      </p:cBhvr>
                                    </p:animEffect>
                                    <p:anim calcmode="lin" valueType="num">
                                      <p:cBhvr>
                                        <p:cTn id="47" dur="250" fill="hold"/>
                                        <p:tgtEl>
                                          <p:spTgt spid="55"/>
                                        </p:tgtEl>
                                        <p:attrNameLst>
                                          <p:attrName>ppt_x</p:attrName>
                                        </p:attrNameLst>
                                      </p:cBhvr>
                                      <p:tavLst>
                                        <p:tav tm="0">
                                          <p:val>
                                            <p:strVal val="#ppt_x"/>
                                          </p:val>
                                        </p:tav>
                                        <p:tav tm="100000">
                                          <p:val>
                                            <p:strVal val="#ppt_x"/>
                                          </p:val>
                                        </p:tav>
                                      </p:tavLst>
                                    </p:anim>
                                    <p:anim calcmode="lin" valueType="num">
                                      <p:cBhvr>
                                        <p:cTn id="48" dur="250" fill="hold"/>
                                        <p:tgtEl>
                                          <p:spTgt spid="55"/>
                                        </p:tgtEl>
                                        <p:attrNameLst>
                                          <p:attrName>ppt_y</p:attrName>
                                        </p:attrNameLst>
                                      </p:cBhvr>
                                      <p:tavLst>
                                        <p:tav tm="0">
                                          <p:val>
                                            <p:strVal val="#ppt_y+.1"/>
                                          </p:val>
                                        </p:tav>
                                        <p:tav tm="100000">
                                          <p:val>
                                            <p:strVal val="#ppt_y"/>
                                          </p:val>
                                        </p:tav>
                                      </p:tavLst>
                                    </p:anim>
                                  </p:childTnLst>
                                </p:cTn>
                              </p:par>
                            </p:childTnLst>
                          </p:cTn>
                        </p:par>
                        <p:par>
                          <p:cTn id="49" fill="hold">
                            <p:stCondLst>
                              <p:cond delay="2250"/>
                            </p:stCondLst>
                            <p:childTnLst>
                              <p:par>
                                <p:cTn id="50" presetID="42" presetClass="entr" presetSubtype="0" fill="hold" grpId="0" nodeType="after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250"/>
                                        <p:tgtEl>
                                          <p:spTgt spid="56"/>
                                        </p:tgtEl>
                                      </p:cBhvr>
                                    </p:animEffect>
                                    <p:anim calcmode="lin" valueType="num">
                                      <p:cBhvr>
                                        <p:cTn id="53" dur="250" fill="hold"/>
                                        <p:tgtEl>
                                          <p:spTgt spid="56"/>
                                        </p:tgtEl>
                                        <p:attrNameLst>
                                          <p:attrName>ppt_x</p:attrName>
                                        </p:attrNameLst>
                                      </p:cBhvr>
                                      <p:tavLst>
                                        <p:tav tm="0">
                                          <p:val>
                                            <p:strVal val="#ppt_x"/>
                                          </p:val>
                                        </p:tav>
                                        <p:tav tm="100000">
                                          <p:val>
                                            <p:strVal val="#ppt_x"/>
                                          </p:val>
                                        </p:tav>
                                      </p:tavLst>
                                    </p:anim>
                                    <p:anim calcmode="lin" valueType="num">
                                      <p:cBhvr>
                                        <p:cTn id="54" dur="250" fill="hold"/>
                                        <p:tgtEl>
                                          <p:spTgt spid="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2" grpId="0" animBg="1"/>
      <p:bldP spid="53" grpId="0" animBg="1"/>
      <p:bldP spid="54" grpId="0" animBg="1"/>
      <p:bldP spid="55" grpId="0" animBg="1"/>
      <p:bldP spid="56" grpId="0" animBg="1"/>
      <p:bldP spid="4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CE44C19D-22ED-43C9-8BEB-D33654C74A6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8200" y="5779918"/>
            <a:ext cx="1111659" cy="512064"/>
          </a:xfrm>
          <a:prstGeom prst="rect">
            <a:avLst/>
          </a:prstGeom>
        </p:spPr>
      </p:pic>
      <p:pic>
        <p:nvPicPr>
          <p:cNvPr id="41" name="Picture 40">
            <a:extLst>
              <a:ext uri="{FF2B5EF4-FFF2-40B4-BE49-F238E27FC236}">
                <a16:creationId xmlns:a16="http://schemas.microsoft.com/office/drawing/2014/main" id="{4801B6F7-ED19-4338-B7F3-A9C6D0173FB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10571" y="1141155"/>
            <a:ext cx="3141233" cy="2807745"/>
          </a:xfrm>
          <a:prstGeom prst="rect">
            <a:avLst/>
          </a:prstGeom>
        </p:spPr>
      </p:pic>
      <p:sp>
        <p:nvSpPr>
          <p:cNvPr id="6" name="Footer Placeholder 5">
            <a:extLst>
              <a:ext uri="{FF2B5EF4-FFF2-40B4-BE49-F238E27FC236}">
                <a16:creationId xmlns:a16="http://schemas.microsoft.com/office/drawing/2014/main" id="{E1D3A87B-B994-4379-9AFE-7C6D0B965469}"/>
              </a:ext>
            </a:extLst>
          </p:cNvPr>
          <p:cNvSpPr>
            <a:spLocks noGrp="1"/>
          </p:cNvSpPr>
          <p:nvPr>
            <p:ph type="ftr" sz="quarter" idx="10"/>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1664A3F4-F702-4E48-ADB1-C36FC859912D}"/>
              </a:ext>
            </a:extLst>
          </p:cNvPr>
          <p:cNvSpPr>
            <a:spLocks noGrp="1"/>
          </p:cNvSpPr>
          <p:nvPr>
            <p:ph type="sldNum" sz="quarter" idx="11"/>
          </p:nvPr>
        </p:nvSpPr>
        <p:spPr/>
        <p:txBody>
          <a:bodyPr/>
          <a:lstStyle/>
          <a:p>
            <a:pPr lvl="0"/>
            <a:fld id="{5A1C2420-D500-4FDF-A245-39DCF46675EA}" type="slidenum">
              <a:rPr lang="en-US" noProof="0" smtClean="0"/>
              <a:pPr lvl="0"/>
              <a:t>49</a:t>
            </a:fld>
            <a:endParaRPr lang="en-US" noProof="0"/>
          </a:p>
        </p:txBody>
      </p:sp>
      <p:sp>
        <p:nvSpPr>
          <p:cNvPr id="2" name="Title 1">
            <a:extLst>
              <a:ext uri="{FF2B5EF4-FFF2-40B4-BE49-F238E27FC236}">
                <a16:creationId xmlns:a16="http://schemas.microsoft.com/office/drawing/2014/main" id="{6E7C41BD-FFFC-410C-AD34-CF0CEA5832FA}"/>
              </a:ext>
            </a:extLst>
          </p:cNvPr>
          <p:cNvSpPr>
            <a:spLocks noGrp="1"/>
          </p:cNvSpPr>
          <p:nvPr>
            <p:ph type="title"/>
          </p:nvPr>
        </p:nvSpPr>
        <p:spPr/>
        <p:txBody>
          <a:bodyPr/>
          <a:lstStyle/>
          <a:p>
            <a:r>
              <a:rPr lang="en-US"/>
              <a:t>Weed Examples</a:t>
            </a:r>
          </a:p>
        </p:txBody>
      </p:sp>
      <p:graphicFrame>
        <p:nvGraphicFramePr>
          <p:cNvPr id="214" name="Table 213">
            <a:extLst>
              <a:ext uri="{FF2B5EF4-FFF2-40B4-BE49-F238E27FC236}">
                <a16:creationId xmlns:a16="http://schemas.microsoft.com/office/drawing/2014/main" id="{CC182EC8-34C3-42CB-B2CD-193BF62887D0}"/>
              </a:ext>
            </a:extLst>
          </p:cNvPr>
          <p:cNvGraphicFramePr>
            <a:graphicFrameLocks noGrp="1"/>
          </p:cNvGraphicFramePr>
          <p:nvPr>
            <p:extLst>
              <p:ext uri="{D42A27DB-BD31-4B8C-83A1-F6EECF244321}">
                <p14:modId xmlns:p14="http://schemas.microsoft.com/office/powerpoint/2010/main" val="2979610279"/>
              </p:ext>
            </p:extLst>
          </p:nvPr>
        </p:nvGraphicFramePr>
        <p:xfrm>
          <a:off x="0" y="4715163"/>
          <a:ext cx="12199350" cy="1051560"/>
        </p:xfrm>
        <a:graphic>
          <a:graphicData uri="http://schemas.openxmlformats.org/drawingml/2006/table">
            <a:tbl>
              <a:tblPr firstCol="1" bandRow="1">
                <a:tableStyleId>{5C22544A-7EE6-4342-B048-85BDC9FD1C3A}</a:tableStyleId>
              </a:tblPr>
              <a:tblGrid>
                <a:gridCol w="868680">
                  <a:extLst>
                    <a:ext uri="{9D8B030D-6E8A-4147-A177-3AD203B41FA5}">
                      <a16:colId xmlns:a16="http://schemas.microsoft.com/office/drawing/2014/main" val="2286531471"/>
                    </a:ext>
                  </a:extLst>
                </a:gridCol>
                <a:gridCol w="731520">
                  <a:extLst>
                    <a:ext uri="{9D8B030D-6E8A-4147-A177-3AD203B41FA5}">
                      <a16:colId xmlns:a16="http://schemas.microsoft.com/office/drawing/2014/main" val="859317391"/>
                    </a:ext>
                  </a:extLst>
                </a:gridCol>
                <a:gridCol w="731520">
                  <a:extLst>
                    <a:ext uri="{9D8B030D-6E8A-4147-A177-3AD203B41FA5}">
                      <a16:colId xmlns:a16="http://schemas.microsoft.com/office/drawing/2014/main" val="1499567133"/>
                    </a:ext>
                  </a:extLst>
                </a:gridCol>
                <a:gridCol w="877824">
                  <a:extLst>
                    <a:ext uri="{9D8B030D-6E8A-4147-A177-3AD203B41FA5}">
                      <a16:colId xmlns:a16="http://schemas.microsoft.com/office/drawing/2014/main" val="3425404963"/>
                    </a:ext>
                  </a:extLst>
                </a:gridCol>
                <a:gridCol w="738553">
                  <a:extLst>
                    <a:ext uri="{9D8B030D-6E8A-4147-A177-3AD203B41FA5}">
                      <a16:colId xmlns:a16="http://schemas.microsoft.com/office/drawing/2014/main" val="764172400"/>
                    </a:ext>
                  </a:extLst>
                </a:gridCol>
                <a:gridCol w="1106424">
                  <a:extLst>
                    <a:ext uri="{9D8B030D-6E8A-4147-A177-3AD203B41FA5}">
                      <a16:colId xmlns:a16="http://schemas.microsoft.com/office/drawing/2014/main" val="4081262955"/>
                    </a:ext>
                  </a:extLst>
                </a:gridCol>
                <a:gridCol w="978408">
                  <a:extLst>
                    <a:ext uri="{9D8B030D-6E8A-4147-A177-3AD203B41FA5}">
                      <a16:colId xmlns:a16="http://schemas.microsoft.com/office/drawing/2014/main" val="894326951"/>
                    </a:ext>
                  </a:extLst>
                </a:gridCol>
                <a:gridCol w="990917">
                  <a:extLst>
                    <a:ext uri="{9D8B030D-6E8A-4147-A177-3AD203B41FA5}">
                      <a16:colId xmlns:a16="http://schemas.microsoft.com/office/drawing/2014/main" val="2258004565"/>
                    </a:ext>
                  </a:extLst>
                </a:gridCol>
                <a:gridCol w="822960">
                  <a:extLst>
                    <a:ext uri="{9D8B030D-6E8A-4147-A177-3AD203B41FA5}">
                      <a16:colId xmlns:a16="http://schemas.microsoft.com/office/drawing/2014/main" val="1296239282"/>
                    </a:ext>
                  </a:extLst>
                </a:gridCol>
                <a:gridCol w="886968">
                  <a:extLst>
                    <a:ext uri="{9D8B030D-6E8A-4147-A177-3AD203B41FA5}">
                      <a16:colId xmlns:a16="http://schemas.microsoft.com/office/drawing/2014/main" val="2886766434"/>
                    </a:ext>
                  </a:extLst>
                </a:gridCol>
                <a:gridCol w="731520">
                  <a:extLst>
                    <a:ext uri="{9D8B030D-6E8A-4147-A177-3AD203B41FA5}">
                      <a16:colId xmlns:a16="http://schemas.microsoft.com/office/drawing/2014/main" val="2103153167"/>
                    </a:ext>
                  </a:extLst>
                </a:gridCol>
                <a:gridCol w="1005840">
                  <a:extLst>
                    <a:ext uri="{9D8B030D-6E8A-4147-A177-3AD203B41FA5}">
                      <a16:colId xmlns:a16="http://schemas.microsoft.com/office/drawing/2014/main" val="1494173614"/>
                    </a:ext>
                  </a:extLst>
                </a:gridCol>
                <a:gridCol w="950976">
                  <a:extLst>
                    <a:ext uri="{9D8B030D-6E8A-4147-A177-3AD203B41FA5}">
                      <a16:colId xmlns:a16="http://schemas.microsoft.com/office/drawing/2014/main" val="303720624"/>
                    </a:ext>
                  </a:extLst>
                </a:gridCol>
                <a:gridCol w="777240">
                  <a:extLst>
                    <a:ext uri="{9D8B030D-6E8A-4147-A177-3AD203B41FA5}">
                      <a16:colId xmlns:a16="http://schemas.microsoft.com/office/drawing/2014/main" val="490070077"/>
                    </a:ext>
                  </a:extLst>
                </a:gridCol>
              </a:tblGrid>
              <a:tr h="594360">
                <a:tc>
                  <a:txBody>
                    <a:bodyPr/>
                    <a:lstStyle/>
                    <a:p>
                      <a:r>
                        <a:rPr lang="en-US" sz="1000" b="0" spc="0" baseline="0">
                          <a:solidFill>
                            <a:schemeClr val="bg1"/>
                          </a:solidFill>
                          <a:latin typeface="+mj-lt"/>
                        </a:rPr>
                        <a:t>SITE OF</a:t>
                      </a:r>
                    </a:p>
                    <a:p>
                      <a:r>
                        <a:rPr lang="en-US" sz="1000" b="0" spc="0" baseline="0">
                          <a:solidFill>
                            <a:schemeClr val="bg1"/>
                          </a:solidFill>
                          <a:latin typeface="+mj-lt"/>
                        </a:rPr>
                        <a:t>ACTION</a:t>
                      </a:r>
                    </a:p>
                  </a:txBody>
                  <a:tcPr anchor="ctr">
                    <a:lnL w="12700" cmpd="sng">
                      <a:noFill/>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spc="0" baseline="0">
                          <a:solidFill>
                            <a:schemeClr val="bg1"/>
                          </a:solidFill>
                          <a:latin typeface="Arial Narrow" panose="020B0606020202030204" pitchFamily="34" charset="0"/>
                        </a:rPr>
                        <a:t>ACCASE</a:t>
                      </a:r>
                    </a:p>
                    <a:p>
                      <a:pPr algn="ctr"/>
                      <a:r>
                        <a:rPr lang="en-US" sz="900" b="1" spc="0" baseline="0">
                          <a:solidFill>
                            <a:schemeClr val="bg1"/>
                          </a:solidFill>
                          <a:latin typeface="Arial Narrow" panose="020B0606020202030204" pitchFamily="34" charset="0"/>
                        </a:rPr>
                        <a:t>INHIBITORS</a:t>
                      </a:r>
                    </a:p>
                  </a:txBody>
                  <a:tcPr anchor="b">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ALS</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MICROTUBULE</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SYNTHETIC</a:t>
                      </a:r>
                    </a:p>
                    <a:p>
                      <a:pPr algn="ctr"/>
                      <a:r>
                        <a:rPr lang="en-US" sz="900" b="1" kern="1200" spc="0" baseline="0">
                          <a:solidFill>
                            <a:schemeClr val="bg1"/>
                          </a:solidFill>
                          <a:latin typeface="Arial Narrow" panose="020B0606020202030204" pitchFamily="34" charset="0"/>
                          <a:ea typeface="+mn-ea"/>
                          <a:cs typeface="+mn-cs"/>
                        </a:rPr>
                        <a:t>AUXIN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I</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IPID SYNTHESIS</a:t>
                      </a:r>
                    </a:p>
                    <a:p>
                      <a:pPr algn="ctr"/>
                      <a:r>
                        <a:rPr lang="en-US" sz="900" b="1" kern="1200" spc="0" baseline="0">
                          <a:solidFill>
                            <a:schemeClr val="bg1"/>
                          </a:solidFill>
                          <a:latin typeface="Arial Narrow" panose="020B0606020202030204" pitchFamily="34" charset="0"/>
                          <a:ea typeface="+mn-ea"/>
                          <a:cs typeface="+mn-cs"/>
                        </a:rPr>
                        <a:t>INHIBITOR </a:t>
                      </a:r>
                      <a:br>
                        <a:rPr lang="en-US" sz="900" b="1" kern="1200" spc="0" baseline="0">
                          <a:solidFill>
                            <a:schemeClr val="bg1"/>
                          </a:solidFill>
                          <a:latin typeface="Arial Narrow" panose="020B0606020202030204" pitchFamily="34" charset="0"/>
                          <a:ea typeface="+mn-ea"/>
                          <a:cs typeface="+mn-cs"/>
                        </a:rPr>
                      </a:br>
                      <a:r>
                        <a:rPr lang="en-US" sz="900" b="0" kern="1200" spc="0" baseline="0">
                          <a:solidFill>
                            <a:schemeClr val="bg1"/>
                          </a:solidFill>
                          <a:latin typeface="Arial Narrow" panose="020B0606020202030204" pitchFamily="34" charset="0"/>
                          <a:ea typeface="+mn-ea"/>
                          <a:cs typeface="+mn-cs"/>
                        </a:rPr>
                        <a:t>(not </a:t>
                      </a:r>
                      <a:r>
                        <a:rPr lang="en-US" sz="900" b="0" kern="1200" spc="0" baseline="0" err="1">
                          <a:solidFill>
                            <a:schemeClr val="bg1"/>
                          </a:solidFill>
                          <a:latin typeface="Arial Narrow" panose="020B0606020202030204" pitchFamily="34" charset="0"/>
                          <a:ea typeface="+mn-ea"/>
                          <a:cs typeface="+mn-cs"/>
                        </a:rPr>
                        <a:t>ACCase</a:t>
                      </a:r>
                      <a:r>
                        <a:rPr lang="en-US" sz="900" b="0" kern="1200" spc="0" baseline="0">
                          <a:solidFill>
                            <a:schemeClr val="bg1"/>
                          </a:solidFill>
                          <a:latin typeface="Arial Narrow" panose="020B0606020202030204" pitchFamily="34" charset="0"/>
                          <a:ea typeface="+mn-ea"/>
                          <a:cs typeface="+mn-cs"/>
                        </a:rPr>
                        <a: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EPSP SYNTH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GLUTAMINE SYNTHET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DITERPENE</a:t>
                      </a:r>
                    </a:p>
                    <a:p>
                      <a:pPr algn="ctr"/>
                      <a:r>
                        <a:rPr lang="en-US" sz="900" b="1" kern="1200" spc="0" baseline="0">
                          <a:solidFill>
                            <a:schemeClr val="bg1"/>
                          </a:solidFill>
                          <a:latin typeface="Arial Narrow" panose="020B0606020202030204" pitchFamily="34" charset="0"/>
                          <a:ea typeface="+mn-ea"/>
                          <a:cs typeface="+mn-cs"/>
                        </a:rPr>
                        <a:t>BIOSYNTHESIS</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PO</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ONG-CHAIN FATTY</a:t>
                      </a:r>
                    </a:p>
                    <a:p>
                      <a:pPr algn="ctr"/>
                      <a:r>
                        <a:rPr lang="en-US" sz="900" b="1" kern="1200" spc="0" baseline="0">
                          <a:solidFill>
                            <a:schemeClr val="bg1"/>
                          </a:solidFill>
                          <a:latin typeface="Arial Narrow" panose="020B0606020202030204" pitchFamily="34" charset="0"/>
                          <a:ea typeface="+mn-ea"/>
                          <a:cs typeface="+mn-cs"/>
                        </a:rPr>
                        <a:t>ACID 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a:t>
                      </a:r>
                    </a:p>
                    <a:p>
                      <a:pPr algn="ctr"/>
                      <a:r>
                        <a:rPr lang="en-US" sz="900" b="1" kern="1200" spc="0" baseline="0">
                          <a:solidFill>
                            <a:schemeClr val="bg1"/>
                          </a:solidFill>
                          <a:latin typeface="Arial Narrow" panose="020B0606020202030204" pitchFamily="34" charset="0"/>
                          <a:ea typeface="+mn-ea"/>
                          <a:cs typeface="+mn-cs"/>
                        </a:rPr>
                        <a:t>ELECTRON DIVERTE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HPPD</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0">
                <a:tc>
                  <a:txBody>
                    <a:bodyPr/>
                    <a:lstStyle/>
                    <a:p>
                      <a:r>
                        <a:rPr lang="en-US" sz="900" b="0" spc="0" baseline="0">
                          <a:solidFill>
                            <a:schemeClr val="tx1"/>
                          </a:solidFill>
                          <a:latin typeface="Arial Narrow" panose="020B0606020202030204" pitchFamily="34" charset="0"/>
                        </a:rPr>
                        <a:t>PRODUCT</a:t>
                      </a:r>
                    </a:p>
                    <a:p>
                      <a:r>
                        <a:rPr lang="en-US" sz="900" b="0" spc="0" baseline="0">
                          <a:solidFill>
                            <a:schemeClr val="tx1"/>
                          </a:solidFill>
                          <a:latin typeface="Arial Narrow" panose="020B0606020202030204" pitchFamily="34" charset="0"/>
                        </a:rPr>
                        <a:t>EXAMPLES</a:t>
                      </a:r>
                    </a:p>
                    <a:p>
                      <a:r>
                        <a:rPr lang="en-US" sz="600" b="0" spc="0" baseline="0">
                          <a:solidFill>
                            <a:schemeClr val="tx1"/>
                          </a:solidFill>
                          <a:latin typeface="Arial Narrow" panose="020B0606020202030204" pitchFamily="34" charset="0"/>
                        </a:rPr>
                        <a:t>(Trade Name</a:t>
                      </a:r>
                      <a:r>
                        <a:rPr lang="en-US" sz="600" b="0" strike="noStrike" spc="0" baseline="30000">
                          <a:solidFill>
                            <a:schemeClr val="tx1"/>
                          </a:solidFill>
                          <a:latin typeface="Arial Narrow" panose="020B0606020202030204" pitchFamily="34" charset="0"/>
                        </a:rPr>
                        <a:t>®</a:t>
                      </a:r>
                      <a:r>
                        <a:rPr lang="en-US" sz="600" b="0" spc="0" baseline="0">
                          <a:solidFill>
                            <a:schemeClr val="tx1"/>
                          </a:solidFill>
                          <a:latin typeface="Arial Narrow" panose="020B0606020202030204" pitchFamily="34" charset="0"/>
                        </a:rPr>
                        <a:t>)</a:t>
                      </a:r>
                      <a:endParaRPr lang="en-US" sz="700" b="0" spc="0" baseline="0">
                        <a:solidFill>
                          <a:schemeClr val="tx1"/>
                        </a:solidFill>
                        <a:latin typeface="Arial Narrow" panose="020B0606020202030204" pitchFamily="34" charset="0"/>
                      </a:endParaRPr>
                    </a:p>
                  </a:txBody>
                  <a:tcPr anchor="ctr">
                    <a:lnL w="12700" cmpd="sng">
                      <a:noFill/>
                    </a:lnL>
                    <a:lnR w="381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ssure II,</a:t>
                      </a:r>
                    </a:p>
                    <a:p>
                      <a:pPr algn="ctr"/>
                      <a:r>
                        <a:rPr lang="en-US" sz="800" b="0" spc="0" baseline="0">
                          <a:solidFill>
                            <a:schemeClr val="tx1"/>
                          </a:solidFill>
                          <a:latin typeface="+mn-lt"/>
                        </a:rPr>
                        <a:t>Select Max</a:t>
                      </a:r>
                    </a:p>
                  </a:txBody>
                  <a:tcPr anchor="ctr">
                    <a:lnL w="38100" cap="flat" cmpd="sng" algn="ctr">
                      <a:solidFill>
                        <a:schemeClr val="tx1"/>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lassic,</a:t>
                      </a:r>
                    </a:p>
                    <a:p>
                      <a:pPr algn="ctr"/>
                      <a:r>
                        <a:rPr lang="en-US" sz="800" b="0" spc="0" baseline="0">
                          <a:solidFill>
                            <a:schemeClr val="tx1"/>
                          </a:solidFill>
                          <a:latin typeface="+mn-lt"/>
                        </a:rPr>
                        <a:t>Pursui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Prowl H</a:t>
                      </a:r>
                      <a:r>
                        <a:rPr lang="en-US" sz="800" b="0" spc="0" baseline="-25000">
                          <a:solidFill>
                            <a:schemeClr val="tx1"/>
                          </a:solidFill>
                          <a:latin typeface="+mn-lt"/>
                        </a:rPr>
                        <a:t>2</a:t>
                      </a:r>
                      <a:r>
                        <a:rPr lang="en-US" sz="800" b="0" spc="0" baseline="0">
                          <a:solidFill>
                            <a:schemeClr val="tx1"/>
                          </a:solidFill>
                          <a:latin typeface="+mn-lt"/>
                        </a:rPr>
                        <a:t>O,</a:t>
                      </a:r>
                    </a:p>
                    <a:p>
                      <a:pPr algn="ctr"/>
                      <a:r>
                        <a:rPr lang="en-US" sz="800" b="0" spc="0" baseline="0" err="1">
                          <a:solidFill>
                            <a:schemeClr val="tx1"/>
                          </a:solidFill>
                          <a:latin typeface="+mn-lt"/>
                        </a:rPr>
                        <a:t>Treflan</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2,4-D, Clarity</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quinclorac</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trazine, metribuzin,</a:t>
                      </a:r>
                    </a:p>
                    <a:p>
                      <a:pPr algn="ctr"/>
                      <a:r>
                        <a:rPr lang="en-US" sz="800" b="0" spc="0" baseline="0" err="1">
                          <a:solidFill>
                            <a:schemeClr val="tx1"/>
                          </a:solidFill>
                          <a:latin typeface="+mn-lt"/>
                        </a:rPr>
                        <a:t>Basagran</a:t>
                      </a:r>
                      <a:r>
                        <a:rPr lang="en-US" sz="800" b="0" spc="0" baseline="0">
                          <a:solidFill>
                            <a:schemeClr val="tx1"/>
                          </a:solidFill>
                          <a:latin typeface="+mn-lt"/>
                        </a:rPr>
                        <a:t>, </a:t>
                      </a:r>
                      <a:r>
                        <a:rPr lang="en-US" sz="800" b="0" spc="0" baseline="0" err="1">
                          <a:solidFill>
                            <a:schemeClr val="tx1"/>
                          </a:solidFill>
                          <a:latin typeface="+mn-lt"/>
                        </a:rPr>
                        <a:t>Linex</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Far-Go</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Roundup,</a:t>
                      </a:r>
                    </a:p>
                    <a:p>
                      <a:pPr algn="ctr"/>
                      <a:r>
                        <a:rPr lang="en-US" sz="800" b="0" spc="0" baseline="0">
                          <a:solidFill>
                            <a:schemeClr val="tx1"/>
                          </a:solidFill>
                          <a:latin typeface="+mn-lt"/>
                        </a:rPr>
                        <a:t>(glyphosate)</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Liberty</a:t>
                      </a:r>
                      <a:r>
                        <a:rPr lang="en-US" sz="800" b="0" spc="0" baseline="30000">
                          <a:solidFill>
                            <a:schemeClr val="tx1"/>
                          </a:solidFill>
                          <a:latin typeface="+mn-lt"/>
                        </a:rPr>
                        <a:t>®</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ommand</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Flexstar</a:t>
                      </a:r>
                      <a:r>
                        <a:rPr lang="en-US" sz="800" b="0" spc="0" baseline="0">
                          <a:solidFill>
                            <a:schemeClr val="tx1"/>
                          </a:solidFill>
                          <a:latin typeface="+mn-lt"/>
                        </a:rPr>
                        <a:t>,</a:t>
                      </a:r>
                    </a:p>
                    <a:p>
                      <a:pPr algn="ctr"/>
                      <a:r>
                        <a:rPr lang="en-US" sz="800" b="0" spc="0" baseline="0">
                          <a:solidFill>
                            <a:schemeClr val="tx1"/>
                          </a:solidFill>
                          <a:latin typeface="+mn-lt"/>
                        </a:rPr>
                        <a:t>Cobra</a:t>
                      </a:r>
                      <a:r>
                        <a:rPr lang="en-US" sz="800" b="0" spc="0" baseline="30000">
                          <a:solidFill>
                            <a:schemeClr val="tx1"/>
                          </a:solidFill>
                          <a:latin typeface="+mn-lt"/>
                        </a:rPr>
                        <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Dual, Harness</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Gramoxone</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paraqu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Callisto</a:t>
                      </a:r>
                      <a:r>
                        <a:rPr lang="en-US" sz="800" b="0" spc="0" baseline="0">
                          <a:solidFill>
                            <a:schemeClr val="tx1"/>
                          </a:solidFill>
                          <a:latin typeface="+mn-lt"/>
                        </a:rPr>
                        <a:t>,</a:t>
                      </a:r>
                    </a:p>
                    <a:p>
                      <a:pPr algn="ctr"/>
                      <a:r>
                        <a:rPr lang="en-US" sz="800" b="0" spc="0" baseline="0" err="1">
                          <a:solidFill>
                            <a:schemeClr val="tx1"/>
                          </a:solidFill>
                          <a:latin typeface="+mn-lt"/>
                        </a:rPr>
                        <a:t>Laudis</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216" name="Oval 215">
            <a:extLst>
              <a:ext uri="{FF2B5EF4-FFF2-40B4-BE49-F238E27FC236}">
                <a16:creationId xmlns:a16="http://schemas.microsoft.com/office/drawing/2014/main" id="{F21BDF6C-F254-4CB3-AE6F-541DCDF3B281}"/>
              </a:ext>
            </a:extLst>
          </p:cNvPr>
          <p:cNvSpPr/>
          <p:nvPr/>
        </p:nvSpPr>
        <p:spPr>
          <a:xfrm>
            <a:off x="112213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a:t>
            </a:r>
          </a:p>
        </p:txBody>
      </p:sp>
      <p:sp>
        <p:nvSpPr>
          <p:cNvPr id="217" name="Oval 216">
            <a:extLst>
              <a:ext uri="{FF2B5EF4-FFF2-40B4-BE49-F238E27FC236}">
                <a16:creationId xmlns:a16="http://schemas.microsoft.com/office/drawing/2014/main" id="{CF98D4CD-6C78-46C5-8C33-597B873D2420}"/>
              </a:ext>
            </a:extLst>
          </p:cNvPr>
          <p:cNvSpPr/>
          <p:nvPr/>
        </p:nvSpPr>
        <p:spPr>
          <a:xfrm>
            <a:off x="1851158"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a:t>
            </a:r>
          </a:p>
        </p:txBody>
      </p:sp>
      <p:sp>
        <p:nvSpPr>
          <p:cNvPr id="218" name="Oval 217">
            <a:extLst>
              <a:ext uri="{FF2B5EF4-FFF2-40B4-BE49-F238E27FC236}">
                <a16:creationId xmlns:a16="http://schemas.microsoft.com/office/drawing/2014/main" id="{D5AD951D-F13A-4511-9CB0-CA451795509A}"/>
              </a:ext>
            </a:extLst>
          </p:cNvPr>
          <p:cNvSpPr/>
          <p:nvPr/>
        </p:nvSpPr>
        <p:spPr>
          <a:xfrm>
            <a:off x="265092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3</a:t>
            </a:r>
          </a:p>
        </p:txBody>
      </p:sp>
      <p:sp>
        <p:nvSpPr>
          <p:cNvPr id="219" name="Oval 218">
            <a:extLst>
              <a:ext uri="{FF2B5EF4-FFF2-40B4-BE49-F238E27FC236}">
                <a16:creationId xmlns:a16="http://schemas.microsoft.com/office/drawing/2014/main" id="{DC2E6585-9595-4254-A4E3-F5A14D2C2194}"/>
              </a:ext>
            </a:extLst>
          </p:cNvPr>
          <p:cNvSpPr/>
          <p:nvPr/>
        </p:nvSpPr>
        <p:spPr>
          <a:xfrm>
            <a:off x="346111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4</a:t>
            </a:r>
          </a:p>
        </p:txBody>
      </p:sp>
      <p:sp>
        <p:nvSpPr>
          <p:cNvPr id="220" name="Oval 219">
            <a:extLst>
              <a:ext uri="{FF2B5EF4-FFF2-40B4-BE49-F238E27FC236}">
                <a16:creationId xmlns:a16="http://schemas.microsoft.com/office/drawing/2014/main" id="{F7DB4806-C0A8-42C9-9D7F-5735B4E42AAB}"/>
              </a:ext>
            </a:extLst>
          </p:cNvPr>
          <p:cNvSpPr/>
          <p:nvPr/>
        </p:nvSpPr>
        <p:spPr>
          <a:xfrm>
            <a:off x="407674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5</a:t>
            </a:r>
          </a:p>
        </p:txBody>
      </p:sp>
      <p:sp>
        <p:nvSpPr>
          <p:cNvPr id="221" name="Oval 220">
            <a:extLst>
              <a:ext uri="{FF2B5EF4-FFF2-40B4-BE49-F238E27FC236}">
                <a16:creationId xmlns:a16="http://schemas.microsoft.com/office/drawing/2014/main" id="{B8C32C6C-CA3B-4769-8256-2EB0548E3700}"/>
              </a:ext>
            </a:extLst>
          </p:cNvPr>
          <p:cNvSpPr/>
          <p:nvPr/>
        </p:nvSpPr>
        <p:spPr>
          <a:xfrm>
            <a:off x="4381873"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6</a:t>
            </a:r>
          </a:p>
        </p:txBody>
      </p:sp>
      <p:sp>
        <p:nvSpPr>
          <p:cNvPr id="222" name="Oval 221">
            <a:extLst>
              <a:ext uri="{FF2B5EF4-FFF2-40B4-BE49-F238E27FC236}">
                <a16:creationId xmlns:a16="http://schemas.microsoft.com/office/drawing/2014/main" id="{5610B1DB-54A8-4D07-B90C-243B2C23FA08}"/>
              </a:ext>
            </a:extLst>
          </p:cNvPr>
          <p:cNvSpPr/>
          <p:nvPr/>
        </p:nvSpPr>
        <p:spPr>
          <a:xfrm>
            <a:off x="7322354"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0</a:t>
            </a:r>
          </a:p>
        </p:txBody>
      </p:sp>
      <p:sp>
        <p:nvSpPr>
          <p:cNvPr id="223" name="Oval 222">
            <a:extLst>
              <a:ext uri="{FF2B5EF4-FFF2-40B4-BE49-F238E27FC236}">
                <a16:creationId xmlns:a16="http://schemas.microsoft.com/office/drawing/2014/main" id="{51F8C5D5-75BE-4ACB-847C-8A251AB2DF01}"/>
              </a:ext>
            </a:extLst>
          </p:cNvPr>
          <p:cNvSpPr/>
          <p:nvPr/>
        </p:nvSpPr>
        <p:spPr>
          <a:xfrm>
            <a:off x="468128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7</a:t>
            </a:r>
          </a:p>
        </p:txBody>
      </p:sp>
      <p:sp>
        <p:nvSpPr>
          <p:cNvPr id="224" name="Oval 223">
            <a:extLst>
              <a:ext uri="{FF2B5EF4-FFF2-40B4-BE49-F238E27FC236}">
                <a16:creationId xmlns:a16="http://schemas.microsoft.com/office/drawing/2014/main" id="{1D87181F-4801-49F9-8F4F-E9E71F4A6C1B}"/>
              </a:ext>
            </a:extLst>
          </p:cNvPr>
          <p:cNvSpPr/>
          <p:nvPr/>
        </p:nvSpPr>
        <p:spPr>
          <a:xfrm>
            <a:off x="544216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8</a:t>
            </a:r>
          </a:p>
        </p:txBody>
      </p:sp>
      <p:sp>
        <p:nvSpPr>
          <p:cNvPr id="225" name="Oval 224">
            <a:extLst>
              <a:ext uri="{FF2B5EF4-FFF2-40B4-BE49-F238E27FC236}">
                <a16:creationId xmlns:a16="http://schemas.microsoft.com/office/drawing/2014/main" id="{658DF298-4512-4785-B057-ED8818A3942C}"/>
              </a:ext>
            </a:extLst>
          </p:cNvPr>
          <p:cNvSpPr/>
          <p:nvPr/>
        </p:nvSpPr>
        <p:spPr>
          <a:xfrm>
            <a:off x="642606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9</a:t>
            </a:r>
          </a:p>
        </p:txBody>
      </p:sp>
      <p:sp>
        <p:nvSpPr>
          <p:cNvPr id="226" name="Oval 225">
            <a:extLst>
              <a:ext uri="{FF2B5EF4-FFF2-40B4-BE49-F238E27FC236}">
                <a16:creationId xmlns:a16="http://schemas.microsoft.com/office/drawing/2014/main" id="{A152EBB9-3FB8-4661-8CBE-0EB3A960CA4F}"/>
              </a:ext>
            </a:extLst>
          </p:cNvPr>
          <p:cNvSpPr/>
          <p:nvPr/>
        </p:nvSpPr>
        <p:spPr>
          <a:xfrm>
            <a:off x="81807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3</a:t>
            </a:r>
          </a:p>
        </p:txBody>
      </p:sp>
      <p:sp>
        <p:nvSpPr>
          <p:cNvPr id="227" name="Oval 226">
            <a:extLst>
              <a:ext uri="{FF2B5EF4-FFF2-40B4-BE49-F238E27FC236}">
                <a16:creationId xmlns:a16="http://schemas.microsoft.com/office/drawing/2014/main" id="{F310B25A-56A0-41A0-AA86-1F8FDB33F897}"/>
              </a:ext>
            </a:extLst>
          </p:cNvPr>
          <p:cNvSpPr/>
          <p:nvPr/>
        </p:nvSpPr>
        <p:spPr>
          <a:xfrm>
            <a:off x="89865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4</a:t>
            </a:r>
          </a:p>
        </p:txBody>
      </p:sp>
      <p:sp>
        <p:nvSpPr>
          <p:cNvPr id="228" name="Oval 227">
            <a:extLst>
              <a:ext uri="{FF2B5EF4-FFF2-40B4-BE49-F238E27FC236}">
                <a16:creationId xmlns:a16="http://schemas.microsoft.com/office/drawing/2014/main" id="{46D3E6CC-A16E-4A2F-82FD-B4C9033C3B47}"/>
              </a:ext>
            </a:extLst>
          </p:cNvPr>
          <p:cNvSpPr/>
          <p:nvPr/>
        </p:nvSpPr>
        <p:spPr>
          <a:xfrm>
            <a:off x="985824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5</a:t>
            </a:r>
          </a:p>
        </p:txBody>
      </p:sp>
      <p:sp>
        <p:nvSpPr>
          <p:cNvPr id="229" name="Oval 228">
            <a:extLst>
              <a:ext uri="{FF2B5EF4-FFF2-40B4-BE49-F238E27FC236}">
                <a16:creationId xmlns:a16="http://schemas.microsoft.com/office/drawing/2014/main" id="{ACF0719F-6B7A-4793-943D-64E69619B9F2}"/>
              </a:ext>
            </a:extLst>
          </p:cNvPr>
          <p:cNvSpPr/>
          <p:nvPr/>
        </p:nvSpPr>
        <p:spPr>
          <a:xfrm>
            <a:off x="1084058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2</a:t>
            </a:r>
          </a:p>
        </p:txBody>
      </p:sp>
      <p:sp>
        <p:nvSpPr>
          <p:cNvPr id="230" name="Oval 229">
            <a:extLst>
              <a:ext uri="{FF2B5EF4-FFF2-40B4-BE49-F238E27FC236}">
                <a16:creationId xmlns:a16="http://schemas.microsoft.com/office/drawing/2014/main" id="{3E1E6405-346B-4BEA-BBD3-2EBB5358715C}"/>
              </a:ext>
            </a:extLst>
          </p:cNvPr>
          <p:cNvSpPr/>
          <p:nvPr/>
        </p:nvSpPr>
        <p:spPr>
          <a:xfrm>
            <a:off x="1168605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7</a:t>
            </a:r>
          </a:p>
        </p:txBody>
      </p:sp>
      <p:grpSp>
        <p:nvGrpSpPr>
          <p:cNvPr id="44" name="3: Palmer Amaranth">
            <a:extLst>
              <a:ext uri="{FF2B5EF4-FFF2-40B4-BE49-F238E27FC236}">
                <a16:creationId xmlns:a16="http://schemas.microsoft.com/office/drawing/2014/main" id="{3A60FA0B-F78E-49D5-A39A-331316634081}"/>
              </a:ext>
            </a:extLst>
          </p:cNvPr>
          <p:cNvGrpSpPr/>
          <p:nvPr/>
        </p:nvGrpSpPr>
        <p:grpSpPr>
          <a:xfrm>
            <a:off x="2209913" y="1141155"/>
            <a:ext cx="7772174" cy="2807745"/>
            <a:chOff x="1762543" y="1141155"/>
            <a:chExt cx="7772174" cy="2807745"/>
          </a:xfrm>
        </p:grpSpPr>
        <p:sp>
          <p:nvSpPr>
            <p:cNvPr id="45" name="Rectangle 44">
              <a:extLst>
                <a:ext uri="{FF2B5EF4-FFF2-40B4-BE49-F238E27FC236}">
                  <a16:creationId xmlns:a16="http://schemas.microsoft.com/office/drawing/2014/main" id="{17F3FBBF-DFF4-41B4-B135-323C2B1BE5E6}"/>
                </a:ext>
              </a:extLst>
            </p:cNvPr>
            <p:cNvSpPr/>
            <p:nvPr/>
          </p:nvSpPr>
          <p:spPr>
            <a:xfrm>
              <a:off x="4903776" y="1141155"/>
              <a:ext cx="4630941" cy="2807745"/>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47" name="Rectangle 46">
              <a:extLst>
                <a:ext uri="{FF2B5EF4-FFF2-40B4-BE49-F238E27FC236}">
                  <a16:creationId xmlns:a16="http://schemas.microsoft.com/office/drawing/2014/main" id="{54FAA558-FE09-43CF-8208-01B12F7A90E3}"/>
                </a:ext>
              </a:extLst>
            </p:cNvPr>
            <p:cNvSpPr/>
            <p:nvPr/>
          </p:nvSpPr>
          <p:spPr>
            <a:xfrm>
              <a:off x="1762543" y="1141155"/>
              <a:ext cx="3141233" cy="280774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48" name="TextBox 47">
              <a:extLst>
                <a:ext uri="{FF2B5EF4-FFF2-40B4-BE49-F238E27FC236}">
                  <a16:creationId xmlns:a16="http://schemas.microsoft.com/office/drawing/2014/main" id="{CFC4BE9E-3467-4FFC-9EB6-2F444BDEA77F}"/>
                </a:ext>
              </a:extLst>
            </p:cNvPr>
            <p:cNvSpPr txBox="1"/>
            <p:nvPr/>
          </p:nvSpPr>
          <p:spPr>
            <a:xfrm>
              <a:off x="5210290" y="2690802"/>
              <a:ext cx="1833101" cy="7848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Narrow" panose="020B0606020202030204" pitchFamily="34" charset="0"/>
                  <a:ea typeface="+mj-ea"/>
                  <a:cs typeface="+mj-cs"/>
                </a:rPr>
                <a:t>SEEDS/PLANT</a:t>
              </a:r>
            </a:p>
            <a:p>
              <a:pPr marL="0" marR="0" lvl="0" indent="0" defTabSz="914400"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a:ln>
                    <a:noFill/>
                  </a:ln>
                  <a:solidFill>
                    <a:sysClr val="windowText" lastClr="000000"/>
                  </a:solidFill>
                  <a:effectLst/>
                  <a:uLnTx/>
                  <a:uFillTx/>
                  <a:latin typeface="+mj-lt"/>
                </a:rPr>
                <a:t>600K</a:t>
              </a:r>
            </a:p>
          </p:txBody>
        </p:sp>
        <p:sp>
          <p:nvSpPr>
            <p:cNvPr id="49" name="TextBox 48">
              <a:extLst>
                <a:ext uri="{FF2B5EF4-FFF2-40B4-BE49-F238E27FC236}">
                  <a16:creationId xmlns:a16="http://schemas.microsoft.com/office/drawing/2014/main" id="{F1E7B4EE-035B-445F-8B7B-188CD9E4BB6B}"/>
                </a:ext>
              </a:extLst>
            </p:cNvPr>
            <p:cNvSpPr txBox="1"/>
            <p:nvPr/>
          </p:nvSpPr>
          <p:spPr>
            <a:xfrm>
              <a:off x="5210290" y="1445298"/>
              <a:ext cx="3827941" cy="7294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ysClr val="windowText" lastClr="000000"/>
                  </a:solidFill>
                  <a:effectLst/>
                  <a:uLnTx/>
                  <a:uFillTx/>
                  <a:latin typeface="+mj-lt"/>
                </a:rPr>
                <a:t>PALMER AMARANTH</a:t>
              </a:r>
            </a:p>
            <a:p>
              <a:pPr marL="0" marR="0" lvl="0" indent="0" defTabSz="91440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a:ln>
                    <a:noFill/>
                  </a:ln>
                  <a:solidFill>
                    <a:schemeClr val="accent6"/>
                  </a:solidFill>
                  <a:effectLst/>
                  <a:uLnTx/>
                  <a:uFillTx/>
                  <a:latin typeface="Arial Narrow" panose="020B0606020202030204" pitchFamily="34" charset="0"/>
                </a:rPr>
                <a:t>Amaranthus </a:t>
              </a:r>
              <a:r>
                <a:rPr kumimoji="0" lang="en-US" sz="2200" b="0" i="0" u="none" strike="noStrike" kern="0" cap="none" spc="0" normalizeH="0" baseline="0" noProof="0" err="1">
                  <a:ln>
                    <a:noFill/>
                  </a:ln>
                  <a:solidFill>
                    <a:schemeClr val="accent6"/>
                  </a:solidFill>
                  <a:effectLst/>
                  <a:uLnTx/>
                  <a:uFillTx/>
                  <a:latin typeface="Arial Narrow" panose="020B0606020202030204" pitchFamily="34" charset="0"/>
                </a:rPr>
                <a:t>palmeri</a:t>
              </a:r>
              <a:endParaRPr kumimoji="0" lang="en-US" sz="2200" b="0" i="0" u="none" strike="noStrike" kern="0" cap="none" spc="0" normalizeH="0" baseline="0" noProof="0">
                <a:ln>
                  <a:noFill/>
                </a:ln>
                <a:solidFill>
                  <a:schemeClr val="accent6"/>
                </a:solidFill>
                <a:effectLst/>
                <a:uLnTx/>
                <a:uFillTx/>
                <a:latin typeface="Arial Narrow" panose="020B0606020202030204" pitchFamily="34" charset="0"/>
              </a:endParaRPr>
            </a:p>
          </p:txBody>
        </p:sp>
        <p:cxnSp>
          <p:nvCxnSpPr>
            <p:cNvPr id="50" name="Straight Connector 49">
              <a:extLst>
                <a:ext uri="{FF2B5EF4-FFF2-40B4-BE49-F238E27FC236}">
                  <a16:creationId xmlns:a16="http://schemas.microsoft.com/office/drawing/2014/main" id="{3B199DCA-63A1-4B9A-A339-D1334B5ECC5B}"/>
                </a:ext>
              </a:extLst>
            </p:cNvPr>
            <p:cNvCxnSpPr>
              <a:cxnSpLocks/>
            </p:cNvCxnSpPr>
            <p:nvPr/>
          </p:nvCxnSpPr>
          <p:spPr>
            <a:xfrm flipV="1">
              <a:off x="5207008" y="2396381"/>
              <a:ext cx="4007133"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D6C1164E-2FC5-424D-BC6C-BE407DE25613}"/>
              </a:ext>
            </a:extLst>
          </p:cNvPr>
          <p:cNvSpPr/>
          <p:nvPr/>
        </p:nvSpPr>
        <p:spPr>
          <a:xfrm>
            <a:off x="0" y="4494078"/>
            <a:ext cx="12199350" cy="132171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39" name="Table 38">
            <a:extLst>
              <a:ext uri="{FF2B5EF4-FFF2-40B4-BE49-F238E27FC236}">
                <a16:creationId xmlns:a16="http://schemas.microsoft.com/office/drawing/2014/main" id="{A82BE464-E79C-420C-AB9F-D18E353C6BFF}"/>
              </a:ext>
            </a:extLst>
          </p:cNvPr>
          <p:cNvGraphicFramePr>
            <a:graphicFrameLocks noGrp="1"/>
          </p:cNvGraphicFramePr>
          <p:nvPr>
            <p:extLst>
              <p:ext uri="{D42A27DB-BD31-4B8C-83A1-F6EECF244321}">
                <p14:modId xmlns:p14="http://schemas.microsoft.com/office/powerpoint/2010/main" val="1512968616"/>
              </p:ext>
            </p:extLst>
          </p:nvPr>
        </p:nvGraphicFramePr>
        <p:xfrm>
          <a:off x="1853192" y="4385705"/>
          <a:ext cx="8492966" cy="1554480"/>
        </p:xfrm>
        <a:graphic>
          <a:graphicData uri="http://schemas.openxmlformats.org/drawingml/2006/table">
            <a:tbl>
              <a:tblPr firstCol="1" bandRow="1">
                <a:tableStyleId>{5C22544A-7EE6-4342-B048-85BDC9FD1C3A}</a:tableStyleId>
              </a:tblPr>
              <a:tblGrid>
                <a:gridCol w="1213281">
                  <a:extLst>
                    <a:ext uri="{9D8B030D-6E8A-4147-A177-3AD203B41FA5}">
                      <a16:colId xmlns:a16="http://schemas.microsoft.com/office/drawing/2014/main" val="859317391"/>
                    </a:ext>
                  </a:extLst>
                </a:gridCol>
                <a:gridCol w="1493269">
                  <a:extLst>
                    <a:ext uri="{9D8B030D-6E8A-4147-A177-3AD203B41FA5}">
                      <a16:colId xmlns:a16="http://schemas.microsoft.com/office/drawing/2014/main" val="3425404963"/>
                    </a:ext>
                  </a:extLst>
                </a:gridCol>
                <a:gridCol w="1679927">
                  <a:extLst>
                    <a:ext uri="{9D8B030D-6E8A-4147-A177-3AD203B41FA5}">
                      <a16:colId xmlns:a16="http://schemas.microsoft.com/office/drawing/2014/main" val="894326951"/>
                    </a:ext>
                  </a:extLst>
                </a:gridCol>
                <a:gridCol w="1679927">
                  <a:extLst>
                    <a:ext uri="{9D8B030D-6E8A-4147-A177-3AD203B41FA5}">
                      <a16:colId xmlns:a16="http://schemas.microsoft.com/office/drawing/2014/main" val="1494173614"/>
                    </a:ext>
                  </a:extLst>
                </a:gridCol>
                <a:gridCol w="1213281">
                  <a:extLst>
                    <a:ext uri="{9D8B030D-6E8A-4147-A177-3AD203B41FA5}">
                      <a16:colId xmlns:a16="http://schemas.microsoft.com/office/drawing/2014/main" val="2948541803"/>
                    </a:ext>
                  </a:extLst>
                </a:gridCol>
                <a:gridCol w="1213281">
                  <a:extLst>
                    <a:ext uri="{9D8B030D-6E8A-4147-A177-3AD203B41FA5}">
                      <a16:colId xmlns:a16="http://schemas.microsoft.com/office/drawing/2014/main" val="3747364226"/>
                    </a:ext>
                  </a:extLst>
                </a:gridCol>
              </a:tblGrid>
              <a:tr h="1097280">
                <a:tc>
                  <a:txBody>
                    <a:bodyPr/>
                    <a:lstStyle/>
                    <a:p>
                      <a:pPr algn="ctr"/>
                      <a:r>
                        <a:rPr lang="en-US" sz="1600" b="1" spc="0" baseline="0">
                          <a:solidFill>
                            <a:schemeClr val="bg1"/>
                          </a:solidFill>
                          <a:latin typeface="Arial Narrow" panose="020B0606020202030204" pitchFamily="34" charset="0"/>
                        </a:rPr>
                        <a:t>ALS</a:t>
                      </a:r>
                    </a:p>
                    <a:p>
                      <a:pPr algn="ctr"/>
                      <a:r>
                        <a:rPr lang="en-US" sz="1600" b="1" spc="0" baseline="0">
                          <a:solidFill>
                            <a:schemeClr val="bg1"/>
                          </a:solidFill>
                          <a:latin typeface="Arial Narrow" panose="020B0606020202030204" pitchFamily="34" charset="0"/>
                        </a:rPr>
                        <a:t>INHIBITORS</a:t>
                      </a:r>
                    </a:p>
                  </a:txBody>
                  <a:tcPr anchor="b">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MICROTUBULE</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HOTOSYSTEM II</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EPSP SYNTHASE</a:t>
                      </a:r>
                    </a:p>
                    <a:p>
                      <a:pPr algn="ctr"/>
                      <a:r>
                        <a:rPr lang="en-US" sz="16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PO</a:t>
                      </a:r>
                      <a:br>
                        <a:rPr lang="en-US" sz="1600" b="1" kern="1200" spc="0" baseline="0">
                          <a:solidFill>
                            <a:schemeClr val="bg1"/>
                          </a:solidFill>
                          <a:latin typeface="Arial Narrow" panose="020B0606020202030204" pitchFamily="34" charset="0"/>
                          <a:ea typeface="+mn-ea"/>
                          <a:cs typeface="+mn-cs"/>
                        </a:rPr>
                      </a:b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HPPD</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034289678"/>
                  </a:ext>
                </a:extLst>
              </a:tr>
              <a:tr h="457200">
                <a:tc gridSpan="6">
                  <a:txBody>
                    <a:bodyPr/>
                    <a:lstStyle/>
                    <a:p>
                      <a:pPr algn="ctr">
                        <a:lnSpc>
                          <a:spcPct val="90000"/>
                        </a:lnSpc>
                      </a:pPr>
                      <a:r>
                        <a:rPr lang="en-US" sz="1800" b="0" kern="1200">
                          <a:solidFill>
                            <a:schemeClr val="tx1"/>
                          </a:solidFill>
                          <a:latin typeface="Arial Narrow" panose="020B0606020202030204" pitchFamily="34" charset="0"/>
                          <a:ea typeface="+mn-ea"/>
                          <a:cs typeface="+mn-cs"/>
                        </a:rPr>
                        <a:t>KNOWN RESISTANCE</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algn="ctr">
                        <a:lnSpc>
                          <a:spcPct val="90000"/>
                        </a:lnSpc>
                      </a:pPr>
                      <a:endParaRPr lang="en-US" sz="1800" b="0" kern="1200">
                        <a:solidFill>
                          <a:schemeClr val="tx1"/>
                        </a:solidFill>
                        <a:latin typeface="Arial Narrow" panose="020B0606020202030204" pitchFamily="34" charset="0"/>
                        <a:ea typeface="+mj-ea"/>
                        <a:cs typeface="+mj-cs"/>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40" name="Rectangle 39">
            <a:extLst>
              <a:ext uri="{FF2B5EF4-FFF2-40B4-BE49-F238E27FC236}">
                <a16:creationId xmlns:a16="http://schemas.microsoft.com/office/drawing/2014/main" id="{6BBE7ED9-E5C6-4604-9C19-99DE879DCDE7}"/>
              </a:ext>
            </a:extLst>
          </p:cNvPr>
          <p:cNvSpPr/>
          <p:nvPr/>
        </p:nvSpPr>
        <p:spPr>
          <a:xfrm>
            <a:off x="1849516" y="4385706"/>
            <a:ext cx="8492968" cy="155448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Oval 41">
            <a:extLst>
              <a:ext uri="{FF2B5EF4-FFF2-40B4-BE49-F238E27FC236}">
                <a16:creationId xmlns:a16="http://schemas.microsoft.com/office/drawing/2014/main" id="{3324C01A-D75F-41A4-A3F2-C61B92AD74F8}"/>
              </a:ext>
            </a:extLst>
          </p:cNvPr>
          <p:cNvSpPr/>
          <p:nvPr/>
        </p:nvSpPr>
        <p:spPr>
          <a:xfrm>
            <a:off x="2231414"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sp>
        <p:nvSpPr>
          <p:cNvPr id="43" name="Oval 42">
            <a:extLst>
              <a:ext uri="{FF2B5EF4-FFF2-40B4-BE49-F238E27FC236}">
                <a16:creationId xmlns:a16="http://schemas.microsoft.com/office/drawing/2014/main" id="{808C7283-F09A-4AC6-9674-42588C017D18}"/>
              </a:ext>
            </a:extLst>
          </p:cNvPr>
          <p:cNvSpPr/>
          <p:nvPr/>
        </p:nvSpPr>
        <p:spPr>
          <a:xfrm>
            <a:off x="3602921"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3</a:t>
            </a:r>
          </a:p>
        </p:txBody>
      </p:sp>
      <p:sp>
        <p:nvSpPr>
          <p:cNvPr id="51" name="Oval 50">
            <a:extLst>
              <a:ext uri="{FF2B5EF4-FFF2-40B4-BE49-F238E27FC236}">
                <a16:creationId xmlns:a16="http://schemas.microsoft.com/office/drawing/2014/main" id="{62EA9250-8673-4352-BEDF-266963633E3B}"/>
              </a:ext>
            </a:extLst>
          </p:cNvPr>
          <p:cNvSpPr/>
          <p:nvPr/>
        </p:nvSpPr>
        <p:spPr>
          <a:xfrm>
            <a:off x="6879790"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9</a:t>
            </a:r>
          </a:p>
        </p:txBody>
      </p:sp>
      <p:sp>
        <p:nvSpPr>
          <p:cNvPr id="52" name="Oval 51">
            <a:extLst>
              <a:ext uri="{FF2B5EF4-FFF2-40B4-BE49-F238E27FC236}">
                <a16:creationId xmlns:a16="http://schemas.microsoft.com/office/drawing/2014/main" id="{360BF4E1-1F8B-4117-82C6-8CD1C9BFA60E}"/>
              </a:ext>
            </a:extLst>
          </p:cNvPr>
          <p:cNvSpPr/>
          <p:nvPr/>
        </p:nvSpPr>
        <p:spPr>
          <a:xfrm>
            <a:off x="5192932"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5</a:t>
            </a:r>
          </a:p>
        </p:txBody>
      </p:sp>
      <p:sp>
        <p:nvSpPr>
          <p:cNvPr id="53" name="Oval 52">
            <a:extLst>
              <a:ext uri="{FF2B5EF4-FFF2-40B4-BE49-F238E27FC236}">
                <a16:creationId xmlns:a16="http://schemas.microsoft.com/office/drawing/2014/main" id="{D3091035-F72D-49F5-9306-66D6EB5F7CE7}"/>
              </a:ext>
            </a:extLst>
          </p:cNvPr>
          <p:cNvSpPr/>
          <p:nvPr/>
        </p:nvSpPr>
        <p:spPr>
          <a:xfrm>
            <a:off x="8321467"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4</a:t>
            </a:r>
          </a:p>
        </p:txBody>
      </p:sp>
      <p:sp>
        <p:nvSpPr>
          <p:cNvPr id="46" name="Oval 45">
            <a:extLst>
              <a:ext uri="{FF2B5EF4-FFF2-40B4-BE49-F238E27FC236}">
                <a16:creationId xmlns:a16="http://schemas.microsoft.com/office/drawing/2014/main" id="{7C08103A-01E3-4056-BFF2-9AA39A5BBF6A}"/>
              </a:ext>
            </a:extLst>
          </p:cNvPr>
          <p:cNvSpPr/>
          <p:nvPr/>
        </p:nvSpPr>
        <p:spPr>
          <a:xfrm>
            <a:off x="9544394"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7</a:t>
            </a:r>
          </a:p>
        </p:txBody>
      </p:sp>
      <p:pic>
        <p:nvPicPr>
          <p:cNvPr id="3" name="Picture 2">
            <a:extLst>
              <a:ext uri="{FF2B5EF4-FFF2-40B4-BE49-F238E27FC236}">
                <a16:creationId xmlns:a16="http://schemas.microsoft.com/office/drawing/2014/main" id="{1D7000DC-3DC2-4B5F-8FDC-D3D5FDFA0508}"/>
              </a:ext>
            </a:extLst>
          </p:cNvPr>
          <p:cNvPicPr>
            <a:picLocks noChangeAspect="1"/>
          </p:cNvPicPr>
          <p:nvPr/>
        </p:nvPicPr>
        <p:blipFill>
          <a:blip r:embed="rId5"/>
          <a:stretch>
            <a:fillRect/>
          </a:stretch>
        </p:blipFill>
        <p:spPr>
          <a:xfrm>
            <a:off x="859448" y="6362700"/>
            <a:ext cx="1171575" cy="495300"/>
          </a:xfrm>
          <a:prstGeom prst="rect">
            <a:avLst/>
          </a:prstGeom>
        </p:spPr>
      </p:pic>
      <p:pic>
        <p:nvPicPr>
          <p:cNvPr id="55" name="Picture 54">
            <a:extLst>
              <a:ext uri="{FF2B5EF4-FFF2-40B4-BE49-F238E27FC236}">
                <a16:creationId xmlns:a16="http://schemas.microsoft.com/office/drawing/2014/main" id="{7CFBF88C-E1B3-4EFC-94E9-E266977A2970}"/>
              </a:ext>
            </a:extLst>
          </p:cNvPr>
          <p:cNvPicPr>
            <a:picLocks noChangeAspect="1"/>
          </p:cNvPicPr>
          <p:nvPr/>
        </p:nvPicPr>
        <p:blipFill>
          <a:blip r:embed="rId6"/>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399907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 calcmode="lin" valueType="num">
                                      <p:cBhvr>
                                        <p:cTn id="11" dur="500" fill="hold"/>
                                        <p:tgtEl>
                                          <p:spTgt spid="39"/>
                                        </p:tgtEl>
                                        <p:attrNameLst>
                                          <p:attrName>ppt_w</p:attrName>
                                        </p:attrNameLst>
                                      </p:cBhvr>
                                      <p:tavLst>
                                        <p:tav tm="0">
                                          <p:val>
                                            <p:fltVal val="0"/>
                                          </p:val>
                                        </p:tav>
                                        <p:tav tm="100000">
                                          <p:val>
                                            <p:strVal val="#ppt_w"/>
                                          </p:val>
                                        </p:tav>
                                      </p:tavLst>
                                    </p:anim>
                                    <p:anim calcmode="lin" valueType="num">
                                      <p:cBhvr>
                                        <p:cTn id="12" dur="500" fill="hold"/>
                                        <p:tgtEl>
                                          <p:spTgt spid="39"/>
                                        </p:tgtEl>
                                        <p:attrNameLst>
                                          <p:attrName>ppt_h</p:attrName>
                                        </p:attrNameLst>
                                      </p:cBhvr>
                                      <p:tavLst>
                                        <p:tav tm="0">
                                          <p:val>
                                            <p:fltVal val="0"/>
                                          </p:val>
                                        </p:tav>
                                        <p:tav tm="100000">
                                          <p:val>
                                            <p:strVal val="#ppt_h"/>
                                          </p:val>
                                        </p:tav>
                                      </p:tavLst>
                                    </p:anim>
                                    <p:animEffect transition="in" filter="fade">
                                      <p:cBhvr>
                                        <p:cTn id="13" dur="500"/>
                                        <p:tgtEl>
                                          <p:spTgt spid="39"/>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 calcmode="lin" valueType="num">
                                      <p:cBhvr>
                                        <p:cTn id="16" dur="500" fill="hold"/>
                                        <p:tgtEl>
                                          <p:spTgt spid="40"/>
                                        </p:tgtEl>
                                        <p:attrNameLst>
                                          <p:attrName>ppt_w</p:attrName>
                                        </p:attrNameLst>
                                      </p:cBhvr>
                                      <p:tavLst>
                                        <p:tav tm="0">
                                          <p:val>
                                            <p:fltVal val="0"/>
                                          </p:val>
                                        </p:tav>
                                        <p:tav tm="100000">
                                          <p:val>
                                            <p:strVal val="#ppt_w"/>
                                          </p:val>
                                        </p:tav>
                                      </p:tavLst>
                                    </p:anim>
                                    <p:anim calcmode="lin" valueType="num">
                                      <p:cBhvr>
                                        <p:cTn id="17" dur="500" fill="hold"/>
                                        <p:tgtEl>
                                          <p:spTgt spid="40"/>
                                        </p:tgtEl>
                                        <p:attrNameLst>
                                          <p:attrName>ppt_h</p:attrName>
                                        </p:attrNameLst>
                                      </p:cBhvr>
                                      <p:tavLst>
                                        <p:tav tm="0">
                                          <p:val>
                                            <p:fltVal val="0"/>
                                          </p:val>
                                        </p:tav>
                                        <p:tav tm="100000">
                                          <p:val>
                                            <p:strVal val="#ppt_h"/>
                                          </p:val>
                                        </p:tav>
                                      </p:tavLst>
                                    </p:anim>
                                    <p:animEffect transition="in" filter="fade">
                                      <p:cBhvr>
                                        <p:cTn id="18" dur="500"/>
                                        <p:tgtEl>
                                          <p:spTgt spid="40"/>
                                        </p:tgtEl>
                                      </p:cBhvr>
                                    </p:animEffect>
                                  </p:childTnLst>
                                </p:cTn>
                              </p:par>
                            </p:childTnLst>
                          </p:cTn>
                        </p:par>
                        <p:par>
                          <p:cTn id="19" fill="hold">
                            <p:stCondLst>
                              <p:cond delay="1000"/>
                            </p:stCondLst>
                            <p:childTnLst>
                              <p:par>
                                <p:cTn id="20" presetID="42" presetClass="entr" presetSubtype="0" fill="hold" grpId="0"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250"/>
                                        <p:tgtEl>
                                          <p:spTgt spid="42"/>
                                        </p:tgtEl>
                                      </p:cBhvr>
                                    </p:animEffect>
                                    <p:anim calcmode="lin" valueType="num">
                                      <p:cBhvr>
                                        <p:cTn id="23" dur="250" fill="hold"/>
                                        <p:tgtEl>
                                          <p:spTgt spid="42"/>
                                        </p:tgtEl>
                                        <p:attrNameLst>
                                          <p:attrName>ppt_x</p:attrName>
                                        </p:attrNameLst>
                                      </p:cBhvr>
                                      <p:tavLst>
                                        <p:tav tm="0">
                                          <p:val>
                                            <p:strVal val="#ppt_x"/>
                                          </p:val>
                                        </p:tav>
                                        <p:tav tm="100000">
                                          <p:val>
                                            <p:strVal val="#ppt_x"/>
                                          </p:val>
                                        </p:tav>
                                      </p:tavLst>
                                    </p:anim>
                                    <p:anim calcmode="lin" valueType="num">
                                      <p:cBhvr>
                                        <p:cTn id="24" dur="250" fill="hold"/>
                                        <p:tgtEl>
                                          <p:spTgt spid="42"/>
                                        </p:tgtEl>
                                        <p:attrNameLst>
                                          <p:attrName>ppt_y</p:attrName>
                                        </p:attrNameLst>
                                      </p:cBhvr>
                                      <p:tavLst>
                                        <p:tav tm="0">
                                          <p:val>
                                            <p:strVal val="#ppt_y+.1"/>
                                          </p:val>
                                        </p:tav>
                                        <p:tav tm="100000">
                                          <p:val>
                                            <p:strVal val="#ppt_y"/>
                                          </p:val>
                                        </p:tav>
                                      </p:tavLst>
                                    </p:anim>
                                  </p:childTnLst>
                                </p:cTn>
                              </p:par>
                            </p:childTnLst>
                          </p:cTn>
                        </p:par>
                        <p:par>
                          <p:cTn id="25" fill="hold">
                            <p:stCondLst>
                              <p:cond delay="1250"/>
                            </p:stCondLst>
                            <p:childTnLst>
                              <p:par>
                                <p:cTn id="26" presetID="42" presetClass="entr" presetSubtype="0" fill="hold" grpId="0" nodeType="after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250"/>
                                        <p:tgtEl>
                                          <p:spTgt spid="43"/>
                                        </p:tgtEl>
                                      </p:cBhvr>
                                    </p:animEffect>
                                    <p:anim calcmode="lin" valueType="num">
                                      <p:cBhvr>
                                        <p:cTn id="29" dur="250" fill="hold"/>
                                        <p:tgtEl>
                                          <p:spTgt spid="43"/>
                                        </p:tgtEl>
                                        <p:attrNameLst>
                                          <p:attrName>ppt_x</p:attrName>
                                        </p:attrNameLst>
                                      </p:cBhvr>
                                      <p:tavLst>
                                        <p:tav tm="0">
                                          <p:val>
                                            <p:strVal val="#ppt_x"/>
                                          </p:val>
                                        </p:tav>
                                        <p:tav tm="100000">
                                          <p:val>
                                            <p:strVal val="#ppt_x"/>
                                          </p:val>
                                        </p:tav>
                                      </p:tavLst>
                                    </p:anim>
                                    <p:anim calcmode="lin" valueType="num">
                                      <p:cBhvr>
                                        <p:cTn id="30" dur="250" fill="hold"/>
                                        <p:tgtEl>
                                          <p:spTgt spid="43"/>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42" presetClass="entr" presetSubtype="0" fill="hold" grpId="0" nodeType="after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250"/>
                                        <p:tgtEl>
                                          <p:spTgt spid="52"/>
                                        </p:tgtEl>
                                      </p:cBhvr>
                                    </p:animEffect>
                                    <p:anim calcmode="lin" valueType="num">
                                      <p:cBhvr>
                                        <p:cTn id="35" dur="250" fill="hold"/>
                                        <p:tgtEl>
                                          <p:spTgt spid="52"/>
                                        </p:tgtEl>
                                        <p:attrNameLst>
                                          <p:attrName>ppt_x</p:attrName>
                                        </p:attrNameLst>
                                      </p:cBhvr>
                                      <p:tavLst>
                                        <p:tav tm="0">
                                          <p:val>
                                            <p:strVal val="#ppt_x"/>
                                          </p:val>
                                        </p:tav>
                                        <p:tav tm="100000">
                                          <p:val>
                                            <p:strVal val="#ppt_x"/>
                                          </p:val>
                                        </p:tav>
                                      </p:tavLst>
                                    </p:anim>
                                    <p:anim calcmode="lin" valueType="num">
                                      <p:cBhvr>
                                        <p:cTn id="36" dur="250" fill="hold"/>
                                        <p:tgtEl>
                                          <p:spTgt spid="52"/>
                                        </p:tgtEl>
                                        <p:attrNameLst>
                                          <p:attrName>ppt_y</p:attrName>
                                        </p:attrNameLst>
                                      </p:cBhvr>
                                      <p:tavLst>
                                        <p:tav tm="0">
                                          <p:val>
                                            <p:strVal val="#ppt_y+.1"/>
                                          </p:val>
                                        </p:tav>
                                        <p:tav tm="100000">
                                          <p:val>
                                            <p:strVal val="#ppt_y"/>
                                          </p:val>
                                        </p:tav>
                                      </p:tavLst>
                                    </p:anim>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51"/>
                                        </p:tgtEl>
                                        <p:attrNameLst>
                                          <p:attrName>style.visibility</p:attrName>
                                        </p:attrNameLst>
                                      </p:cBhvr>
                                      <p:to>
                                        <p:strVal val="visible"/>
                                      </p:to>
                                    </p:set>
                                    <p:animEffect transition="in" filter="fade">
                                      <p:cBhvr>
                                        <p:cTn id="40" dur="250"/>
                                        <p:tgtEl>
                                          <p:spTgt spid="51"/>
                                        </p:tgtEl>
                                      </p:cBhvr>
                                    </p:animEffect>
                                    <p:anim calcmode="lin" valueType="num">
                                      <p:cBhvr>
                                        <p:cTn id="41" dur="250" fill="hold"/>
                                        <p:tgtEl>
                                          <p:spTgt spid="51"/>
                                        </p:tgtEl>
                                        <p:attrNameLst>
                                          <p:attrName>ppt_x</p:attrName>
                                        </p:attrNameLst>
                                      </p:cBhvr>
                                      <p:tavLst>
                                        <p:tav tm="0">
                                          <p:val>
                                            <p:strVal val="#ppt_x"/>
                                          </p:val>
                                        </p:tav>
                                        <p:tav tm="100000">
                                          <p:val>
                                            <p:strVal val="#ppt_x"/>
                                          </p:val>
                                        </p:tav>
                                      </p:tavLst>
                                    </p:anim>
                                    <p:anim calcmode="lin" valueType="num">
                                      <p:cBhvr>
                                        <p:cTn id="42" dur="250" fill="hold"/>
                                        <p:tgtEl>
                                          <p:spTgt spid="51"/>
                                        </p:tgtEl>
                                        <p:attrNameLst>
                                          <p:attrName>ppt_y</p:attrName>
                                        </p:attrNameLst>
                                      </p:cBhvr>
                                      <p:tavLst>
                                        <p:tav tm="0">
                                          <p:val>
                                            <p:strVal val="#ppt_y+.1"/>
                                          </p:val>
                                        </p:tav>
                                        <p:tav tm="100000">
                                          <p:val>
                                            <p:strVal val="#ppt_y"/>
                                          </p:val>
                                        </p:tav>
                                      </p:tavLst>
                                    </p:anim>
                                  </p:childTnLst>
                                </p:cTn>
                              </p:par>
                            </p:childTnLst>
                          </p:cTn>
                        </p:par>
                        <p:par>
                          <p:cTn id="43" fill="hold">
                            <p:stCondLst>
                              <p:cond delay="2000"/>
                            </p:stCondLst>
                            <p:childTnLst>
                              <p:par>
                                <p:cTn id="44" presetID="42" presetClass="entr" presetSubtype="0" fill="hold" grpId="0" nodeType="afterEffect">
                                  <p:stCondLst>
                                    <p:cond delay="0"/>
                                  </p:stCondLst>
                                  <p:childTnLst>
                                    <p:set>
                                      <p:cBhvr>
                                        <p:cTn id="45" dur="1" fill="hold">
                                          <p:stCondLst>
                                            <p:cond delay="0"/>
                                          </p:stCondLst>
                                        </p:cTn>
                                        <p:tgtEl>
                                          <p:spTgt spid="53"/>
                                        </p:tgtEl>
                                        <p:attrNameLst>
                                          <p:attrName>style.visibility</p:attrName>
                                        </p:attrNameLst>
                                      </p:cBhvr>
                                      <p:to>
                                        <p:strVal val="visible"/>
                                      </p:to>
                                    </p:set>
                                    <p:animEffect transition="in" filter="fade">
                                      <p:cBhvr>
                                        <p:cTn id="46" dur="250"/>
                                        <p:tgtEl>
                                          <p:spTgt spid="53"/>
                                        </p:tgtEl>
                                      </p:cBhvr>
                                    </p:animEffect>
                                    <p:anim calcmode="lin" valueType="num">
                                      <p:cBhvr>
                                        <p:cTn id="47" dur="250" fill="hold"/>
                                        <p:tgtEl>
                                          <p:spTgt spid="53"/>
                                        </p:tgtEl>
                                        <p:attrNameLst>
                                          <p:attrName>ppt_x</p:attrName>
                                        </p:attrNameLst>
                                      </p:cBhvr>
                                      <p:tavLst>
                                        <p:tav tm="0">
                                          <p:val>
                                            <p:strVal val="#ppt_x"/>
                                          </p:val>
                                        </p:tav>
                                        <p:tav tm="100000">
                                          <p:val>
                                            <p:strVal val="#ppt_x"/>
                                          </p:val>
                                        </p:tav>
                                      </p:tavLst>
                                    </p:anim>
                                    <p:anim calcmode="lin" valueType="num">
                                      <p:cBhvr>
                                        <p:cTn id="48" dur="250" fill="hold"/>
                                        <p:tgtEl>
                                          <p:spTgt spid="53"/>
                                        </p:tgtEl>
                                        <p:attrNameLst>
                                          <p:attrName>ppt_y</p:attrName>
                                        </p:attrNameLst>
                                      </p:cBhvr>
                                      <p:tavLst>
                                        <p:tav tm="0">
                                          <p:val>
                                            <p:strVal val="#ppt_y+.1"/>
                                          </p:val>
                                        </p:tav>
                                        <p:tav tm="100000">
                                          <p:val>
                                            <p:strVal val="#ppt_y"/>
                                          </p:val>
                                        </p:tav>
                                      </p:tavLst>
                                    </p:anim>
                                  </p:childTnLst>
                                </p:cTn>
                              </p:par>
                            </p:childTnLst>
                          </p:cTn>
                        </p:par>
                        <p:par>
                          <p:cTn id="49" fill="hold">
                            <p:stCondLst>
                              <p:cond delay="2250"/>
                            </p:stCondLst>
                            <p:childTnLst>
                              <p:par>
                                <p:cTn id="50" presetID="42"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250"/>
                                        <p:tgtEl>
                                          <p:spTgt spid="46"/>
                                        </p:tgtEl>
                                      </p:cBhvr>
                                    </p:animEffect>
                                    <p:anim calcmode="lin" valueType="num">
                                      <p:cBhvr>
                                        <p:cTn id="53" dur="250" fill="hold"/>
                                        <p:tgtEl>
                                          <p:spTgt spid="46"/>
                                        </p:tgtEl>
                                        <p:attrNameLst>
                                          <p:attrName>ppt_x</p:attrName>
                                        </p:attrNameLst>
                                      </p:cBhvr>
                                      <p:tavLst>
                                        <p:tav tm="0">
                                          <p:val>
                                            <p:strVal val="#ppt_x"/>
                                          </p:val>
                                        </p:tav>
                                        <p:tav tm="100000">
                                          <p:val>
                                            <p:strVal val="#ppt_x"/>
                                          </p:val>
                                        </p:tav>
                                      </p:tavLst>
                                    </p:anim>
                                    <p:anim calcmode="lin" valueType="num">
                                      <p:cBhvr>
                                        <p:cTn id="54" dur="25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P spid="42" grpId="0" animBg="1"/>
      <p:bldP spid="43" grpId="0" animBg="1"/>
      <p:bldP spid="51" grpId="0" animBg="1"/>
      <p:bldP spid="52" grpId="0" animBg="1"/>
      <p:bldP spid="53" grpId="0" animBg="1"/>
      <p:bldP spid="4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p:cNvSpPr>
            <a:spLocks noGrp="1"/>
          </p:cNvSpPr>
          <p:nvPr>
            <p:ph type="sldNum" sz="quarter" idx="11"/>
          </p:nvPr>
        </p:nvSpPr>
        <p:spPr/>
        <p:txBody>
          <a:bodyPr/>
          <a:lstStyle/>
          <a:p>
            <a:fld id="{5382645D-9DD6-408C-B0EA-C65795F9B1DE}" type="slidenum">
              <a:rPr lang="en-US" smtClean="0"/>
              <a:pPr/>
              <a:t>5</a:t>
            </a:fld>
            <a:endParaRPr lang="en-US"/>
          </a:p>
        </p:txBody>
      </p:sp>
      <p:sp>
        <p:nvSpPr>
          <p:cNvPr id="11" name="Text Placeholder 10">
            <a:extLst>
              <a:ext uri="{FF2B5EF4-FFF2-40B4-BE49-F238E27FC236}">
                <a16:creationId xmlns:a16="http://schemas.microsoft.com/office/drawing/2014/main" id="{67399808-702B-4508-BE6B-C82D41C88672}"/>
              </a:ext>
            </a:extLst>
          </p:cNvPr>
          <p:cNvSpPr>
            <a:spLocks noGrp="1"/>
          </p:cNvSpPr>
          <p:nvPr>
            <p:ph type="body" sz="quarter" idx="14"/>
          </p:nvPr>
        </p:nvSpPr>
        <p:spPr/>
        <p:txBody>
          <a:bodyPr/>
          <a:lstStyle/>
          <a:p>
            <a:r>
              <a:rPr lang="en-US"/>
              <a:t>ALWAYS FOLLOW ALL LABELING FOR PRODUCT BEING APPLIED</a:t>
            </a:r>
          </a:p>
        </p:txBody>
      </p:sp>
      <p:sp>
        <p:nvSpPr>
          <p:cNvPr id="2" name="Title 1"/>
          <p:cNvSpPr>
            <a:spLocks noGrp="1"/>
          </p:cNvSpPr>
          <p:nvPr>
            <p:ph type="title"/>
          </p:nvPr>
        </p:nvSpPr>
        <p:spPr/>
        <p:txBody>
          <a:bodyPr/>
          <a:lstStyle/>
          <a:p>
            <a:r>
              <a:rPr lang="en-US"/>
              <a:t>Product Labels</a:t>
            </a:r>
          </a:p>
        </p:txBody>
      </p:sp>
      <p:sp>
        <p:nvSpPr>
          <p:cNvPr id="18" name="Content Placeholder 5">
            <a:extLst>
              <a:ext uri="{FF2B5EF4-FFF2-40B4-BE49-F238E27FC236}">
                <a16:creationId xmlns:a16="http://schemas.microsoft.com/office/drawing/2014/main" id="{F1092FBF-17DB-407C-ABDF-20A32C529BB8}"/>
              </a:ext>
            </a:extLst>
          </p:cNvPr>
          <p:cNvSpPr txBox="1">
            <a:spLocks/>
          </p:cNvSpPr>
          <p:nvPr/>
        </p:nvSpPr>
        <p:spPr>
          <a:xfrm>
            <a:off x="1017645" y="1559766"/>
            <a:ext cx="4403478" cy="646331"/>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err="1"/>
              <a:t>XtendiMax</a:t>
            </a:r>
            <a:r>
              <a:rPr lang="en-US" baseline="30000"/>
              <a:t>®</a:t>
            </a:r>
            <a:r>
              <a:rPr lang="en-US"/>
              <a:t> Herbicide with </a:t>
            </a:r>
            <a:r>
              <a:rPr lang="en-US" err="1"/>
              <a:t>VaporGrip</a:t>
            </a:r>
            <a:r>
              <a:rPr lang="en-US" baseline="30000"/>
              <a:t>®</a:t>
            </a:r>
            <a:r>
              <a:rPr lang="en-US"/>
              <a:t> Technology </a:t>
            </a:r>
            <a:r>
              <a:rPr lang="en-US" sz="1800" b="1"/>
              <a:t>(Bayer)</a:t>
            </a:r>
          </a:p>
        </p:txBody>
      </p:sp>
      <p:sp>
        <p:nvSpPr>
          <p:cNvPr id="19" name="Rectangle 18">
            <a:extLst>
              <a:ext uri="{FF2B5EF4-FFF2-40B4-BE49-F238E27FC236}">
                <a16:creationId xmlns:a16="http://schemas.microsoft.com/office/drawing/2014/main" id="{A449087C-BEE0-4BCA-A776-50300DD337D4}"/>
              </a:ext>
            </a:extLst>
          </p:cNvPr>
          <p:cNvSpPr/>
          <p:nvPr/>
        </p:nvSpPr>
        <p:spPr>
          <a:xfrm>
            <a:off x="990292" y="1448314"/>
            <a:ext cx="4430831" cy="869234"/>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98866CB7-8064-4D31-9E3F-4BD9FA9C13C8}"/>
              </a:ext>
            </a:extLst>
          </p:cNvPr>
          <p:cNvSpPr/>
          <p:nvPr/>
        </p:nvSpPr>
        <p:spPr>
          <a:xfrm rot="5400000">
            <a:off x="5352979" y="1817326"/>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5">
            <a:extLst>
              <a:ext uri="{FF2B5EF4-FFF2-40B4-BE49-F238E27FC236}">
                <a16:creationId xmlns:a16="http://schemas.microsoft.com/office/drawing/2014/main" id="{353651B3-53AF-4661-98F5-6E6FD8C41E4C}"/>
              </a:ext>
            </a:extLst>
          </p:cNvPr>
          <p:cNvSpPr txBox="1">
            <a:spLocks/>
          </p:cNvSpPr>
          <p:nvPr/>
        </p:nvSpPr>
        <p:spPr>
          <a:xfrm>
            <a:off x="5864399" y="1706885"/>
            <a:ext cx="4946737" cy="341632"/>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u="sng"/>
              <a:t>www.xtendimaxapplicationrequirements.com</a:t>
            </a:r>
          </a:p>
        </p:txBody>
      </p:sp>
      <p:sp>
        <p:nvSpPr>
          <p:cNvPr id="35" name="Content Placeholder 5">
            <a:extLst>
              <a:ext uri="{FF2B5EF4-FFF2-40B4-BE49-F238E27FC236}">
                <a16:creationId xmlns:a16="http://schemas.microsoft.com/office/drawing/2014/main" id="{9BFAAED9-CC1E-479D-966C-6D98CD3E7357}"/>
              </a:ext>
            </a:extLst>
          </p:cNvPr>
          <p:cNvSpPr txBox="1">
            <a:spLocks/>
          </p:cNvSpPr>
          <p:nvPr/>
        </p:nvSpPr>
        <p:spPr>
          <a:xfrm>
            <a:off x="1017645" y="4687516"/>
            <a:ext cx="3751782" cy="369332"/>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t>Engenia</a:t>
            </a:r>
            <a:r>
              <a:rPr lang="en-US" baseline="30000"/>
              <a:t>®</a:t>
            </a:r>
            <a:r>
              <a:rPr lang="en-US"/>
              <a:t> Herbicide </a:t>
            </a:r>
            <a:r>
              <a:rPr lang="en-US" sz="1800" b="1"/>
              <a:t>(BASF)</a:t>
            </a:r>
          </a:p>
        </p:txBody>
      </p:sp>
      <p:sp>
        <p:nvSpPr>
          <p:cNvPr id="36" name="Rectangle 35">
            <a:extLst>
              <a:ext uri="{FF2B5EF4-FFF2-40B4-BE49-F238E27FC236}">
                <a16:creationId xmlns:a16="http://schemas.microsoft.com/office/drawing/2014/main" id="{63E54A29-5D53-4432-8D7E-65ED4ED02D04}"/>
              </a:ext>
            </a:extLst>
          </p:cNvPr>
          <p:cNvSpPr/>
          <p:nvPr/>
        </p:nvSpPr>
        <p:spPr>
          <a:xfrm>
            <a:off x="990292" y="4437565"/>
            <a:ext cx="4430831" cy="869234"/>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Isosceles Triangle 36">
            <a:extLst>
              <a:ext uri="{FF2B5EF4-FFF2-40B4-BE49-F238E27FC236}">
                <a16:creationId xmlns:a16="http://schemas.microsoft.com/office/drawing/2014/main" id="{79177347-83BD-4F67-9F20-93D4A329B8A7}"/>
              </a:ext>
            </a:extLst>
          </p:cNvPr>
          <p:cNvSpPr/>
          <p:nvPr/>
        </p:nvSpPr>
        <p:spPr>
          <a:xfrm rot="5400000">
            <a:off x="5352979" y="4806577"/>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Content Placeholder 5">
            <a:extLst>
              <a:ext uri="{FF2B5EF4-FFF2-40B4-BE49-F238E27FC236}">
                <a16:creationId xmlns:a16="http://schemas.microsoft.com/office/drawing/2014/main" id="{BF846B57-DB04-49AB-8133-369B2FBC87FE}"/>
              </a:ext>
            </a:extLst>
          </p:cNvPr>
          <p:cNvSpPr txBox="1">
            <a:spLocks/>
          </p:cNvSpPr>
          <p:nvPr/>
        </p:nvSpPr>
        <p:spPr>
          <a:xfrm>
            <a:off x="5864399" y="4312330"/>
            <a:ext cx="5413202" cy="1162369"/>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None/>
            </a:pPr>
            <a:r>
              <a:rPr lang="en-US" sz="1800" b="1"/>
              <a:t>Stewardship:</a:t>
            </a:r>
            <a:r>
              <a:rPr lang="en-US" sz="1800"/>
              <a:t> </a:t>
            </a:r>
            <a:br>
              <a:rPr lang="en-US" sz="1800"/>
            </a:br>
            <a:r>
              <a:rPr lang="en-US" sz="1800" u="sng"/>
              <a:t>www.engeniastewardship.com</a:t>
            </a:r>
          </a:p>
          <a:p>
            <a:pPr marL="0" indent="0">
              <a:lnSpc>
                <a:spcPct val="85000"/>
              </a:lnSpc>
              <a:buNone/>
            </a:pPr>
            <a:r>
              <a:rPr lang="en-US" sz="1800" b="1"/>
              <a:t>Tank Mix: </a:t>
            </a:r>
            <a:r>
              <a:rPr lang="en-US" sz="1800"/>
              <a:t/>
            </a:r>
            <a:br>
              <a:rPr lang="en-US" sz="1800"/>
            </a:br>
            <a:r>
              <a:rPr lang="en-US" sz="1800" u="sng"/>
              <a:t>www.engeniatankmix.com</a:t>
            </a:r>
          </a:p>
        </p:txBody>
      </p:sp>
      <p:sp>
        <p:nvSpPr>
          <p:cNvPr id="22" name="Content Placeholder 5">
            <a:extLst>
              <a:ext uri="{FF2B5EF4-FFF2-40B4-BE49-F238E27FC236}">
                <a16:creationId xmlns:a16="http://schemas.microsoft.com/office/drawing/2014/main" id="{9952B3F5-8A21-451A-B586-0286A6CFEEBD}"/>
              </a:ext>
            </a:extLst>
          </p:cNvPr>
          <p:cNvSpPr txBox="1">
            <a:spLocks/>
          </p:cNvSpPr>
          <p:nvPr/>
        </p:nvSpPr>
        <p:spPr>
          <a:xfrm>
            <a:off x="838200" y="2973046"/>
            <a:ext cx="4376126" cy="707886"/>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lvl="1" indent="0">
              <a:lnSpc>
                <a:spcPct val="100000"/>
              </a:lnSpc>
              <a:spcBef>
                <a:spcPts val="600"/>
              </a:spcBef>
              <a:spcAft>
                <a:spcPts val="600"/>
              </a:spcAft>
              <a:buNone/>
            </a:pPr>
            <a:r>
              <a:rPr lang="en-US" sz="2000" err="1"/>
              <a:t>Tavium</a:t>
            </a:r>
            <a:r>
              <a:rPr lang="en-US" sz="2000" baseline="30000"/>
              <a:t>®</a:t>
            </a:r>
            <a:r>
              <a:rPr lang="en-US" sz="2000"/>
              <a:t> Plus </a:t>
            </a:r>
            <a:r>
              <a:rPr lang="en-US" sz="2000" err="1"/>
              <a:t>VaporGrip</a:t>
            </a:r>
            <a:r>
              <a:rPr lang="en-US" sz="2000" baseline="30000"/>
              <a:t>® </a:t>
            </a:r>
            <a:r>
              <a:rPr lang="en-US" sz="2000"/>
              <a:t>Technology herbicide </a:t>
            </a:r>
            <a:r>
              <a:rPr lang="en-US" sz="2000" b="1"/>
              <a:t>(Syngenta)</a:t>
            </a:r>
          </a:p>
        </p:txBody>
      </p:sp>
      <p:sp>
        <p:nvSpPr>
          <p:cNvPr id="23" name="Rectangle 22">
            <a:extLst>
              <a:ext uri="{FF2B5EF4-FFF2-40B4-BE49-F238E27FC236}">
                <a16:creationId xmlns:a16="http://schemas.microsoft.com/office/drawing/2014/main" id="{539BFE9C-2C68-4221-A0AD-8DC764F5756E}"/>
              </a:ext>
            </a:extLst>
          </p:cNvPr>
          <p:cNvSpPr/>
          <p:nvPr/>
        </p:nvSpPr>
        <p:spPr>
          <a:xfrm>
            <a:off x="1017645" y="2894061"/>
            <a:ext cx="4430831" cy="869234"/>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a:extLst>
              <a:ext uri="{FF2B5EF4-FFF2-40B4-BE49-F238E27FC236}">
                <a16:creationId xmlns:a16="http://schemas.microsoft.com/office/drawing/2014/main" id="{6079D740-B8A0-4DF0-B5C0-BD070088A065}"/>
              </a:ext>
            </a:extLst>
          </p:cNvPr>
          <p:cNvSpPr/>
          <p:nvPr/>
        </p:nvSpPr>
        <p:spPr>
          <a:xfrm rot="5400000">
            <a:off x="5380332" y="326306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ontent Placeholder 5">
            <a:extLst>
              <a:ext uri="{FF2B5EF4-FFF2-40B4-BE49-F238E27FC236}">
                <a16:creationId xmlns:a16="http://schemas.microsoft.com/office/drawing/2014/main" id="{F3010D44-37F8-4AF9-B32D-405F8FD61A15}"/>
              </a:ext>
            </a:extLst>
          </p:cNvPr>
          <p:cNvSpPr txBox="1">
            <a:spLocks/>
          </p:cNvSpPr>
          <p:nvPr/>
        </p:nvSpPr>
        <p:spPr>
          <a:xfrm>
            <a:off x="5891752" y="2604792"/>
            <a:ext cx="6300248" cy="1397819"/>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None/>
            </a:pPr>
            <a:r>
              <a:rPr lang="en-US" sz="1800" b="1"/>
              <a:t>Stewardship:</a:t>
            </a:r>
            <a:r>
              <a:rPr lang="en-US" sz="1800"/>
              <a:t> </a:t>
            </a:r>
            <a:br>
              <a:rPr lang="en-US" sz="1800"/>
            </a:br>
            <a:r>
              <a:rPr lang="en-US" sz="1800" u="sng"/>
              <a:t>www.syngenta-us.com/herbicides/tavium-application-stewardship</a:t>
            </a:r>
          </a:p>
          <a:p>
            <a:pPr marL="0" indent="0">
              <a:lnSpc>
                <a:spcPct val="85000"/>
              </a:lnSpc>
              <a:buNone/>
            </a:pPr>
            <a:r>
              <a:rPr lang="en-US" sz="1800" b="1"/>
              <a:t>Tank Mix: </a:t>
            </a:r>
            <a:r>
              <a:rPr lang="en-US" sz="1800"/>
              <a:t/>
            </a:r>
            <a:br>
              <a:rPr lang="en-US" sz="1800"/>
            </a:br>
            <a:r>
              <a:rPr lang="en-US" sz="1800" u="sng"/>
              <a:t>www.TaviumTankMix.com</a:t>
            </a:r>
          </a:p>
        </p:txBody>
      </p:sp>
      <p:sp>
        <p:nvSpPr>
          <p:cNvPr id="27" name="Content Placeholder 5">
            <a:extLst>
              <a:ext uri="{FF2B5EF4-FFF2-40B4-BE49-F238E27FC236}">
                <a16:creationId xmlns:a16="http://schemas.microsoft.com/office/drawing/2014/main" id="{6C6D3F44-07F0-5F47-9561-35992023653E}"/>
              </a:ext>
            </a:extLst>
          </p:cNvPr>
          <p:cNvSpPr txBox="1">
            <a:spLocks/>
          </p:cNvSpPr>
          <p:nvPr/>
        </p:nvSpPr>
        <p:spPr>
          <a:xfrm>
            <a:off x="6423072" y="107287"/>
            <a:ext cx="5413201" cy="701731"/>
          </a:xfrm>
          <a:prstGeom prst="rect">
            <a:avLst/>
          </a:prstGeom>
          <a:ln>
            <a:solidFill>
              <a:schemeClr val="accent1"/>
            </a:solidFill>
          </a:ln>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a:t>* Website addresses are extensions of each product label and are subject to change.  Certified Applicators are required to visit these website addresses no more than 7 days prior to application of respective product.  The information is not a substitute for reading and following all product labelling.</a:t>
            </a:r>
            <a:endParaRPr lang="en-US" sz="1100" b="1">
              <a:solidFill>
                <a:srgbClr val="002060"/>
              </a:solidFill>
            </a:endParaRPr>
          </a:p>
        </p:txBody>
      </p:sp>
    </p:spTree>
    <p:extLst>
      <p:ext uri="{BB962C8B-B14F-4D97-AF65-F5344CB8AC3E}">
        <p14:creationId xmlns:p14="http://schemas.microsoft.com/office/powerpoint/2010/main" val="125271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D2A590E-ADF8-4D25-8CFB-CF7A58CFF57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566737"/>
            <a:ext cx="3946174" cy="4087372"/>
          </a:xfrm>
          <a:prstGeom prst="rect">
            <a:avLst/>
          </a:prstGeom>
        </p:spPr>
      </p:pic>
      <p:grpSp>
        <p:nvGrpSpPr>
          <p:cNvPr id="15" name="Group 14">
            <a:extLst>
              <a:ext uri="{FF2B5EF4-FFF2-40B4-BE49-F238E27FC236}">
                <a16:creationId xmlns:a16="http://schemas.microsoft.com/office/drawing/2014/main" id="{5FE1A5E9-1B1A-474E-B255-42D338771DB1}"/>
              </a:ext>
            </a:extLst>
          </p:cNvPr>
          <p:cNvGrpSpPr>
            <a:grpSpLocks noChangeAspect="1"/>
          </p:cNvGrpSpPr>
          <p:nvPr/>
        </p:nvGrpSpPr>
        <p:grpSpPr>
          <a:xfrm>
            <a:off x="298334" y="1831154"/>
            <a:ext cx="656906" cy="658368"/>
            <a:chOff x="-1143000" y="-2349500"/>
            <a:chExt cx="2139950" cy="2144712"/>
          </a:xfrm>
        </p:grpSpPr>
        <p:sp>
          <p:nvSpPr>
            <p:cNvPr id="16" name="Oval 15">
              <a:extLst>
                <a:ext uri="{FF2B5EF4-FFF2-40B4-BE49-F238E27FC236}">
                  <a16:creationId xmlns:a16="http://schemas.microsoft.com/office/drawing/2014/main" id="{44533BE2-7E5D-4281-9A00-02BBB61D0E0B}"/>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CDB573C5-A891-4CF6-B692-C19C7F7CBC06}"/>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Picture 4">
            <a:extLst>
              <a:ext uri="{FF2B5EF4-FFF2-40B4-BE49-F238E27FC236}">
                <a16:creationId xmlns:a16="http://schemas.microsoft.com/office/drawing/2014/main" id="{150F02E9-7D7C-48E3-BF98-0EA0A5808AA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119378" y="1566737"/>
            <a:ext cx="3939553" cy="4087372"/>
          </a:xfrm>
          <a:prstGeom prst="rect">
            <a:avLst/>
          </a:prstGeom>
        </p:spPr>
      </p:pic>
      <p:pic>
        <p:nvPicPr>
          <p:cNvPr id="9" name="Picture 8">
            <a:extLst>
              <a:ext uri="{FF2B5EF4-FFF2-40B4-BE49-F238E27FC236}">
                <a16:creationId xmlns:a16="http://schemas.microsoft.com/office/drawing/2014/main" id="{932D236C-6777-4C67-8E6D-1B22673B38A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41137" y="1566737"/>
            <a:ext cx="3939553" cy="4087372"/>
          </a:xfrm>
          <a:prstGeom prst="rect">
            <a:avLst/>
          </a:prstGeom>
        </p:spPr>
      </p:pic>
      <p:sp>
        <p:nvSpPr>
          <p:cNvPr id="13" name="Text Placeholder 12">
            <a:extLst>
              <a:ext uri="{FF2B5EF4-FFF2-40B4-BE49-F238E27FC236}">
                <a16:creationId xmlns:a16="http://schemas.microsoft.com/office/drawing/2014/main" id="{80138B7A-B551-46D0-8AD8-732354DC4581}"/>
              </a:ext>
            </a:extLst>
          </p:cNvPr>
          <p:cNvSpPr>
            <a:spLocks noGrp="1"/>
          </p:cNvSpPr>
          <p:nvPr>
            <p:ph type="body" sz="quarter" idx="14"/>
          </p:nvPr>
        </p:nvSpPr>
        <p:spPr/>
        <p:txBody>
          <a:bodyPr/>
          <a:lstStyle/>
          <a:p>
            <a:r>
              <a:rPr lang="en-US"/>
              <a:t>Weed Height</a:t>
            </a:r>
          </a:p>
        </p:txBody>
      </p:sp>
      <p:sp>
        <p:nvSpPr>
          <p:cNvPr id="8" name="Footer Placeholder 7">
            <a:extLst>
              <a:ext uri="{FF2B5EF4-FFF2-40B4-BE49-F238E27FC236}">
                <a16:creationId xmlns:a16="http://schemas.microsoft.com/office/drawing/2014/main" id="{FC7A076D-DA51-436B-9AE4-5190AAC2794C}"/>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0" name="Slide Number Placeholder 9">
            <a:extLst>
              <a:ext uri="{FF2B5EF4-FFF2-40B4-BE49-F238E27FC236}">
                <a16:creationId xmlns:a16="http://schemas.microsoft.com/office/drawing/2014/main" id="{A110D21F-4B31-4BA4-9CFC-FB3BE5F3E1BC}"/>
              </a:ext>
            </a:extLst>
          </p:cNvPr>
          <p:cNvSpPr>
            <a:spLocks noGrp="1"/>
          </p:cNvSpPr>
          <p:nvPr>
            <p:ph type="sldNum" sz="quarter" idx="16"/>
          </p:nvPr>
        </p:nvSpPr>
        <p:spPr/>
        <p:txBody>
          <a:bodyPr/>
          <a:lstStyle/>
          <a:p>
            <a:fld id="{5A1C2420-D500-4FDF-A245-39DCF46675EA}" type="slidenum">
              <a:rPr lang="en-US" smtClean="0"/>
              <a:pPr/>
              <a:t>50</a:t>
            </a:fld>
            <a:endParaRPr lang="en-US"/>
          </a:p>
        </p:txBody>
      </p:sp>
      <p:sp>
        <p:nvSpPr>
          <p:cNvPr id="2" name="Title 1">
            <a:extLst>
              <a:ext uri="{FF2B5EF4-FFF2-40B4-BE49-F238E27FC236}">
                <a16:creationId xmlns:a16="http://schemas.microsoft.com/office/drawing/2014/main" id="{EAABAB63-057C-453E-9126-345DD05F5D5E}"/>
              </a:ext>
            </a:extLst>
          </p:cNvPr>
          <p:cNvSpPr>
            <a:spLocks noGrp="1"/>
          </p:cNvSpPr>
          <p:nvPr>
            <p:ph type="title"/>
          </p:nvPr>
        </p:nvSpPr>
        <p:spPr/>
        <p:txBody>
          <a:bodyPr/>
          <a:lstStyle/>
          <a:p>
            <a:r>
              <a:rPr lang="en-US"/>
              <a:t>Effective Applications</a:t>
            </a:r>
          </a:p>
        </p:txBody>
      </p:sp>
      <p:sp>
        <p:nvSpPr>
          <p:cNvPr id="32" name="TextBox 31">
            <a:extLst>
              <a:ext uri="{FF2B5EF4-FFF2-40B4-BE49-F238E27FC236}">
                <a16:creationId xmlns:a16="http://schemas.microsoft.com/office/drawing/2014/main" id="{B11D39E2-777D-4CA1-A34C-976923A4C3E1}"/>
              </a:ext>
            </a:extLst>
          </p:cNvPr>
          <p:cNvSpPr txBox="1"/>
          <p:nvPr/>
        </p:nvSpPr>
        <p:spPr>
          <a:xfrm>
            <a:off x="1849646" y="5813727"/>
            <a:ext cx="8317148" cy="338554"/>
          </a:xfrm>
          <a:prstGeom prst="rect">
            <a:avLst/>
          </a:prstGeom>
          <a:solidFill>
            <a:schemeClr val="bg1"/>
          </a:solidFill>
          <a:ln w="38100">
            <a:solidFill>
              <a:schemeClr val="tx1"/>
            </a:solidFill>
            <a:miter lim="800000"/>
          </a:ln>
        </p:spPr>
        <p:txBody>
          <a:bodyPr wrap="square" rtlCol="0">
            <a:spAutoFit/>
          </a:bodyPr>
          <a:lstStyle/>
          <a:p>
            <a:pPr algn="ctr"/>
            <a:r>
              <a:rPr lang="en-US" sz="1600" b="1" spc="300">
                <a:latin typeface="Arial Narrow" panose="020B0604020202020204" pitchFamily="34" charset="0"/>
                <a:ea typeface="Arial Narrow" charset="0"/>
                <a:cs typeface="Arial Narrow" panose="020B0604020202020204" pitchFamily="34" charset="0"/>
              </a:rPr>
              <a:t>FOR BEST RESULTS, SPRAY WEEDS THAT ARE 4 INCHES OR SHORTER</a:t>
            </a:r>
          </a:p>
        </p:txBody>
      </p:sp>
      <p:grpSp>
        <p:nvGrpSpPr>
          <p:cNvPr id="18" name="Group 17">
            <a:extLst>
              <a:ext uri="{FF2B5EF4-FFF2-40B4-BE49-F238E27FC236}">
                <a16:creationId xmlns:a16="http://schemas.microsoft.com/office/drawing/2014/main" id="{15811D61-B19F-4766-8753-736312911ED9}"/>
              </a:ext>
            </a:extLst>
          </p:cNvPr>
          <p:cNvGrpSpPr>
            <a:grpSpLocks noChangeAspect="1"/>
          </p:cNvGrpSpPr>
          <p:nvPr/>
        </p:nvGrpSpPr>
        <p:grpSpPr>
          <a:xfrm>
            <a:off x="4429674" y="1831154"/>
            <a:ext cx="656906" cy="658368"/>
            <a:chOff x="-1143000" y="-2349500"/>
            <a:chExt cx="2139950" cy="2144712"/>
          </a:xfrm>
        </p:grpSpPr>
        <p:sp>
          <p:nvSpPr>
            <p:cNvPr id="19" name="Oval 18">
              <a:extLst>
                <a:ext uri="{FF2B5EF4-FFF2-40B4-BE49-F238E27FC236}">
                  <a16:creationId xmlns:a16="http://schemas.microsoft.com/office/drawing/2014/main" id="{08AF9185-B664-42A9-B8B8-1EE0959A6459}"/>
                </a:ext>
              </a:extLst>
            </p:cNvPr>
            <p:cNvSpPr>
              <a:spLocks noChangeArrowheads="1"/>
            </p:cNvSpPr>
            <p:nvPr/>
          </p:nvSpPr>
          <p:spPr bwMode="auto">
            <a:xfrm>
              <a:off x="-1143000" y="-2349500"/>
              <a:ext cx="2139950" cy="214471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91FAEDD2-8018-4A8E-A5BA-71BC9C6FA2F0}"/>
                </a:ext>
              </a:extLst>
            </p:cNvPr>
            <p:cNvSpPr>
              <a:spLocks/>
            </p:cNvSpPr>
            <p:nvPr/>
          </p:nvSpPr>
          <p:spPr bwMode="auto">
            <a:xfrm>
              <a:off x="-736600" y="-1782763"/>
              <a:ext cx="1328738" cy="1006475"/>
            </a:xfrm>
            <a:custGeom>
              <a:avLst/>
              <a:gdLst>
                <a:gd name="T0" fmla="*/ 128 w 436"/>
                <a:gd name="T1" fmla="*/ 329 h 329"/>
                <a:gd name="T2" fmla="*/ 126 w 436"/>
                <a:gd name="T3" fmla="*/ 329 h 329"/>
                <a:gd name="T4" fmla="*/ 110 w 436"/>
                <a:gd name="T5" fmla="*/ 319 h 329"/>
                <a:gd name="T6" fmla="*/ 6 w 436"/>
                <a:gd name="T7" fmla="*/ 150 h 329"/>
                <a:gd name="T8" fmla="*/ 13 w 436"/>
                <a:gd name="T9" fmla="*/ 121 h 329"/>
                <a:gd name="T10" fmla="*/ 41 w 436"/>
                <a:gd name="T11" fmla="*/ 128 h 329"/>
                <a:gd name="T12" fmla="*/ 132 w 436"/>
                <a:gd name="T13" fmla="*/ 275 h 329"/>
                <a:gd name="T14" fmla="*/ 398 w 436"/>
                <a:gd name="T15" fmla="*/ 8 h 329"/>
                <a:gd name="T16" fmla="*/ 427 w 436"/>
                <a:gd name="T17" fmla="*/ 8 h 329"/>
                <a:gd name="T18" fmla="*/ 427 w 436"/>
                <a:gd name="T19" fmla="*/ 38 h 329"/>
                <a:gd name="T20" fmla="*/ 143 w 436"/>
                <a:gd name="T21" fmla="*/ 323 h 329"/>
                <a:gd name="T22" fmla="*/ 128 w 436"/>
                <a:gd name="T23"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 h="329">
                  <a:moveTo>
                    <a:pt x="128" y="329"/>
                  </a:moveTo>
                  <a:cubicBezTo>
                    <a:pt x="127" y="329"/>
                    <a:pt x="126" y="329"/>
                    <a:pt x="126" y="329"/>
                  </a:cubicBezTo>
                  <a:cubicBezTo>
                    <a:pt x="119" y="328"/>
                    <a:pt x="114" y="324"/>
                    <a:pt x="110" y="319"/>
                  </a:cubicBezTo>
                  <a:cubicBezTo>
                    <a:pt x="6" y="150"/>
                    <a:pt x="6" y="150"/>
                    <a:pt x="6" y="150"/>
                  </a:cubicBezTo>
                  <a:cubicBezTo>
                    <a:pt x="0" y="140"/>
                    <a:pt x="3" y="127"/>
                    <a:pt x="13" y="121"/>
                  </a:cubicBezTo>
                  <a:cubicBezTo>
                    <a:pt x="23" y="115"/>
                    <a:pt x="35" y="118"/>
                    <a:pt x="41" y="128"/>
                  </a:cubicBezTo>
                  <a:cubicBezTo>
                    <a:pt x="132" y="275"/>
                    <a:pt x="132" y="275"/>
                    <a:pt x="132" y="275"/>
                  </a:cubicBezTo>
                  <a:cubicBezTo>
                    <a:pt x="398" y="8"/>
                    <a:pt x="398" y="8"/>
                    <a:pt x="398" y="8"/>
                  </a:cubicBezTo>
                  <a:cubicBezTo>
                    <a:pt x="406" y="0"/>
                    <a:pt x="419" y="0"/>
                    <a:pt x="427" y="8"/>
                  </a:cubicBezTo>
                  <a:cubicBezTo>
                    <a:pt x="436" y="17"/>
                    <a:pt x="436" y="30"/>
                    <a:pt x="427" y="38"/>
                  </a:cubicBezTo>
                  <a:cubicBezTo>
                    <a:pt x="143" y="323"/>
                    <a:pt x="143" y="323"/>
                    <a:pt x="143" y="323"/>
                  </a:cubicBezTo>
                  <a:cubicBezTo>
                    <a:pt x="139" y="327"/>
                    <a:pt x="133" y="329"/>
                    <a:pt x="12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 name="Picture 2">
            <a:extLst>
              <a:ext uri="{FF2B5EF4-FFF2-40B4-BE49-F238E27FC236}">
                <a16:creationId xmlns:a16="http://schemas.microsoft.com/office/drawing/2014/main" id="{D175F416-466F-4B4B-B95E-FD0E2DD17981}"/>
              </a:ext>
            </a:extLst>
          </p:cNvPr>
          <p:cNvPicPr>
            <a:picLocks noChangeAspect="1"/>
          </p:cNvPicPr>
          <p:nvPr/>
        </p:nvPicPr>
        <p:blipFill>
          <a:blip r:embed="rId6"/>
          <a:stretch>
            <a:fillRect/>
          </a:stretch>
        </p:blipFill>
        <p:spPr>
          <a:xfrm>
            <a:off x="914400" y="6362700"/>
            <a:ext cx="1171575" cy="495300"/>
          </a:xfrm>
          <a:prstGeom prst="rect">
            <a:avLst/>
          </a:prstGeom>
        </p:spPr>
      </p:pic>
      <p:pic>
        <p:nvPicPr>
          <p:cNvPr id="21" name="Picture 20">
            <a:extLst>
              <a:ext uri="{FF2B5EF4-FFF2-40B4-BE49-F238E27FC236}">
                <a16:creationId xmlns:a16="http://schemas.microsoft.com/office/drawing/2014/main" id="{CD9D7CDE-D9BD-4616-BABF-062B9F0588F2}"/>
              </a:ext>
            </a:extLst>
          </p:cNvPr>
          <p:cNvPicPr>
            <a:picLocks noChangeAspect="1"/>
          </p:cNvPicPr>
          <p:nvPr/>
        </p:nvPicPr>
        <p:blipFill>
          <a:blip r:embed="rId7"/>
          <a:stretch>
            <a:fillRect/>
          </a:stretch>
        </p:blipFill>
        <p:spPr>
          <a:xfrm>
            <a:off x="838200" y="6393164"/>
            <a:ext cx="1333500" cy="378995"/>
          </a:xfrm>
          <a:prstGeom prst="rect">
            <a:avLst/>
          </a:prstGeom>
        </p:spPr>
      </p:pic>
      <p:sp>
        <p:nvSpPr>
          <p:cNvPr id="22" name="Content Placeholder 2">
            <a:extLst>
              <a:ext uri="{FF2B5EF4-FFF2-40B4-BE49-F238E27FC236}">
                <a16:creationId xmlns:a16="http://schemas.microsoft.com/office/drawing/2014/main" id="{5120CA3F-5986-4AD1-99E6-85B046C55472}"/>
              </a:ext>
            </a:extLst>
          </p:cNvPr>
          <p:cNvSpPr txBox="1">
            <a:spLocks/>
          </p:cNvSpPr>
          <p:nvPr/>
        </p:nvSpPr>
        <p:spPr>
          <a:xfrm>
            <a:off x="0" y="5760165"/>
            <a:ext cx="1735934" cy="7850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US" sz="1400"/>
              <a:t>*2018. Tennessee. Palmer Pigweed</a:t>
            </a:r>
          </a:p>
        </p:txBody>
      </p:sp>
    </p:spTree>
    <p:extLst>
      <p:ext uri="{BB962C8B-B14F-4D97-AF65-F5344CB8AC3E}">
        <p14:creationId xmlns:p14="http://schemas.microsoft.com/office/powerpoint/2010/main" val="149145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anim calcmode="lin" valueType="num">
                                      <p:cBhvr>
                                        <p:cTn id="8" dur="500" fill="hold"/>
                                        <p:tgtEl>
                                          <p:spTgt spid="15"/>
                                        </p:tgtEl>
                                        <p:attrNameLst>
                                          <p:attrName>ppt_x</p:attrName>
                                        </p:attrNameLst>
                                      </p:cBhvr>
                                      <p:tavLst>
                                        <p:tav tm="0">
                                          <p:val>
                                            <p:strVal val="#ppt_x"/>
                                          </p:val>
                                        </p:tav>
                                        <p:tav tm="100000">
                                          <p:val>
                                            <p:strVal val="#ppt_x"/>
                                          </p:val>
                                        </p:tav>
                                      </p:tavLst>
                                    </p:anim>
                                    <p:anim calcmode="lin" valueType="num">
                                      <p:cBhvr>
                                        <p:cTn id="9" dur="5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anim calcmode="lin" valueType="num">
                                      <p:cBhvr>
                                        <p:cTn id="13" dur="500" fill="hold"/>
                                        <p:tgtEl>
                                          <p:spTgt spid="18"/>
                                        </p:tgtEl>
                                        <p:attrNameLst>
                                          <p:attrName>ppt_x</p:attrName>
                                        </p:attrNameLst>
                                      </p:cBhvr>
                                      <p:tavLst>
                                        <p:tav tm="0">
                                          <p:val>
                                            <p:strVal val="#ppt_x"/>
                                          </p:val>
                                        </p:tav>
                                        <p:tav tm="100000">
                                          <p:val>
                                            <p:strVal val="#ppt_x"/>
                                          </p:val>
                                        </p:tav>
                                      </p:tavLst>
                                    </p:anim>
                                    <p:anim calcmode="lin" valueType="num">
                                      <p:cBhvr>
                                        <p:cTn id="14" dur="500" fill="hold"/>
                                        <p:tgtEl>
                                          <p:spTgt spid="18"/>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a:extLst>
              <a:ext uri="{FF2B5EF4-FFF2-40B4-BE49-F238E27FC236}">
                <a16:creationId xmlns:a16="http://schemas.microsoft.com/office/drawing/2014/main" id="{61B39C24-5F47-4B2B-AB5F-38F07F465984}"/>
              </a:ext>
            </a:extLst>
          </p:cNvPr>
          <p:cNvSpPr/>
          <p:nvPr/>
        </p:nvSpPr>
        <p:spPr>
          <a:xfrm>
            <a:off x="3114245" y="1576912"/>
            <a:ext cx="2081774" cy="2081774"/>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7" name="Oval 36">
            <a:extLst>
              <a:ext uri="{FF2B5EF4-FFF2-40B4-BE49-F238E27FC236}">
                <a16:creationId xmlns:a16="http://schemas.microsoft.com/office/drawing/2014/main" id="{04E19E09-76B1-4367-A421-A3CC86FC4368}"/>
              </a:ext>
            </a:extLst>
          </p:cNvPr>
          <p:cNvSpPr/>
          <p:nvPr/>
        </p:nvSpPr>
        <p:spPr>
          <a:xfrm>
            <a:off x="8599572" y="1579660"/>
            <a:ext cx="2081774" cy="2081774"/>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5" name="Rectangle 54">
            <a:extLst>
              <a:ext uri="{FF2B5EF4-FFF2-40B4-BE49-F238E27FC236}">
                <a16:creationId xmlns:a16="http://schemas.microsoft.com/office/drawing/2014/main" id="{B58086AB-9DE0-4BEA-8BAC-0E2A6595E045}"/>
              </a:ext>
            </a:extLst>
          </p:cNvPr>
          <p:cNvSpPr/>
          <p:nvPr/>
        </p:nvSpPr>
        <p:spPr>
          <a:xfrm>
            <a:off x="0" y="3712266"/>
            <a:ext cx="12192000" cy="2474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9AC8D06-9198-49ED-985E-050E9A9AA283}"/>
              </a:ext>
            </a:extLst>
          </p:cNvPr>
          <p:cNvSpPr/>
          <p:nvPr/>
        </p:nvSpPr>
        <p:spPr>
          <a:xfrm flipV="1">
            <a:off x="0" y="2692230"/>
            <a:ext cx="12192000" cy="966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3" name="Straight Connector 52">
            <a:extLst>
              <a:ext uri="{FF2B5EF4-FFF2-40B4-BE49-F238E27FC236}">
                <a16:creationId xmlns:a16="http://schemas.microsoft.com/office/drawing/2014/main" id="{689C59AB-6803-4315-A1E0-D6D399E63123}"/>
              </a:ext>
            </a:extLst>
          </p:cNvPr>
          <p:cNvCxnSpPr>
            <a:cxnSpLocks/>
          </p:cNvCxnSpPr>
          <p:nvPr/>
        </p:nvCxnSpPr>
        <p:spPr>
          <a:xfrm>
            <a:off x="7579850" y="2620670"/>
            <a:ext cx="0" cy="111536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1887973" y="2799690"/>
            <a:ext cx="4565030" cy="757130"/>
          </a:xfrm>
        </p:spPr>
        <p:txBody>
          <a:bodyPr wrap="square">
            <a:spAutoFit/>
          </a:bodyPr>
          <a:lstStyle/>
          <a:p>
            <a:pPr marL="0" indent="0">
              <a:buNone/>
            </a:pPr>
            <a:r>
              <a:rPr lang="en-US" sz="2400">
                <a:solidFill>
                  <a:schemeClr val="bg1"/>
                </a:solidFill>
              </a:rPr>
              <a:t>Use </a:t>
            </a:r>
            <a:r>
              <a:rPr lang="en-US" sz="2400">
                <a:solidFill>
                  <a:schemeClr val="bg1"/>
                </a:solidFill>
                <a:latin typeface="+mj-lt"/>
              </a:rPr>
              <a:t>LABELED RATE </a:t>
            </a:r>
            <a:r>
              <a:rPr lang="en-US" sz="2400">
                <a:solidFill>
                  <a:schemeClr val="bg1"/>
                </a:solidFill>
              </a:rPr>
              <a:t>for </a:t>
            </a:r>
            <a:br>
              <a:rPr lang="en-US" sz="2400">
                <a:solidFill>
                  <a:schemeClr val="bg1"/>
                </a:solidFill>
              </a:rPr>
            </a:br>
            <a:r>
              <a:rPr lang="en-US" sz="2400">
                <a:solidFill>
                  <a:schemeClr val="bg1"/>
                </a:solidFill>
              </a:rPr>
              <a:t>in-crop applications (0.5 </a:t>
            </a:r>
            <a:r>
              <a:rPr lang="en-US" sz="2400" err="1">
                <a:solidFill>
                  <a:schemeClr val="bg1"/>
                </a:solidFill>
              </a:rPr>
              <a:t>lb</a:t>
            </a:r>
            <a:r>
              <a:rPr lang="en-US" sz="2400">
                <a:solidFill>
                  <a:schemeClr val="bg1"/>
                </a:solidFill>
              </a:rPr>
              <a:t> ae/A)</a:t>
            </a:r>
          </a:p>
        </p:txBody>
      </p:sp>
      <p:sp>
        <p:nvSpPr>
          <p:cNvPr id="4" name="Content Placeholder 3">
            <a:extLst>
              <a:ext uri="{FF2B5EF4-FFF2-40B4-BE49-F238E27FC236}">
                <a16:creationId xmlns:a16="http://schemas.microsoft.com/office/drawing/2014/main" id="{3FFF5B97-9322-4494-B729-208865F17AFE}"/>
              </a:ext>
            </a:extLst>
          </p:cNvPr>
          <p:cNvSpPr>
            <a:spLocks noGrp="1"/>
          </p:cNvSpPr>
          <p:nvPr>
            <p:ph sz="half" idx="2"/>
          </p:nvPr>
        </p:nvSpPr>
        <p:spPr>
          <a:xfrm>
            <a:off x="7667050" y="2766310"/>
            <a:ext cx="4903751" cy="817584"/>
          </a:xfrm>
        </p:spPr>
        <p:txBody>
          <a:bodyPr>
            <a:normAutofit/>
          </a:bodyPr>
          <a:lstStyle/>
          <a:p>
            <a:pPr marL="0" indent="0">
              <a:spcBef>
                <a:spcPts val="600"/>
              </a:spcBef>
              <a:spcAft>
                <a:spcPts val="600"/>
              </a:spcAft>
              <a:buNone/>
            </a:pPr>
            <a:r>
              <a:rPr lang="en-US" sz="2400">
                <a:solidFill>
                  <a:schemeClr val="bg1"/>
                </a:solidFill>
              </a:rPr>
              <a:t>Consider </a:t>
            </a:r>
            <a:r>
              <a:rPr lang="en-US" sz="2400">
                <a:solidFill>
                  <a:schemeClr val="bg1"/>
                </a:solidFill>
                <a:latin typeface="+mj-lt"/>
              </a:rPr>
              <a:t>ENVIRONMENTAL FACTORS</a:t>
            </a:r>
            <a:r>
              <a:rPr lang="en-US" sz="2400">
                <a:solidFill>
                  <a:schemeClr val="bg1"/>
                </a:solidFill>
              </a:rPr>
              <a:t> for applications</a:t>
            </a:r>
            <a:endParaRPr lang="en-US"/>
          </a:p>
        </p:txBody>
      </p:sp>
      <p:sp>
        <p:nvSpPr>
          <p:cNvPr id="9" name="Footer Placeholder 8">
            <a:extLst>
              <a:ext uri="{FF2B5EF4-FFF2-40B4-BE49-F238E27FC236}">
                <a16:creationId xmlns:a16="http://schemas.microsoft.com/office/drawing/2014/main" id="{EAB46AD9-AAAB-4ABE-914D-EEE2A5933047}"/>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0" name="Slide Number Placeholder 9">
            <a:extLst>
              <a:ext uri="{FF2B5EF4-FFF2-40B4-BE49-F238E27FC236}">
                <a16:creationId xmlns:a16="http://schemas.microsoft.com/office/drawing/2014/main" id="{1B0F5832-C30F-483F-B30F-AB28E505AB17}"/>
              </a:ext>
            </a:extLst>
          </p:cNvPr>
          <p:cNvSpPr>
            <a:spLocks noGrp="1"/>
          </p:cNvSpPr>
          <p:nvPr>
            <p:ph type="sldNum" sz="quarter" idx="16"/>
          </p:nvPr>
        </p:nvSpPr>
        <p:spPr/>
        <p:txBody>
          <a:bodyPr/>
          <a:lstStyle/>
          <a:p>
            <a:fld id="{5A1C2420-D500-4FDF-A245-39DCF46675EA}" type="slidenum">
              <a:rPr lang="en-US" smtClean="0"/>
              <a:pPr/>
              <a:t>51</a:t>
            </a:fld>
            <a:endParaRPr lang="en-US"/>
          </a:p>
        </p:txBody>
      </p:sp>
      <p:sp>
        <p:nvSpPr>
          <p:cNvPr id="27" name="Freeform 5">
            <a:extLst>
              <a:ext uri="{FF2B5EF4-FFF2-40B4-BE49-F238E27FC236}">
                <a16:creationId xmlns:a16="http://schemas.microsoft.com/office/drawing/2014/main" id="{FE728265-D119-4D28-AE39-48ED99245904}"/>
              </a:ext>
            </a:extLst>
          </p:cNvPr>
          <p:cNvSpPr>
            <a:spLocks noEditPoints="1"/>
          </p:cNvSpPr>
          <p:nvPr/>
        </p:nvSpPr>
        <p:spPr bwMode="auto">
          <a:xfrm>
            <a:off x="3820416" y="1868734"/>
            <a:ext cx="695938" cy="698266"/>
          </a:xfrm>
          <a:custGeom>
            <a:avLst/>
            <a:gdLst>
              <a:gd name="T0" fmla="*/ 688 w 748"/>
              <a:gd name="T1" fmla="*/ 238 h 748"/>
              <a:gd name="T2" fmla="*/ 109 w 748"/>
              <a:gd name="T3" fmla="*/ 0 h 748"/>
              <a:gd name="T4" fmla="*/ 6 w 748"/>
              <a:gd name="T5" fmla="*/ 283 h 748"/>
              <a:gd name="T6" fmla="*/ 9 w 748"/>
              <a:gd name="T7" fmla="*/ 530 h 748"/>
              <a:gd name="T8" fmla="*/ 107 w 748"/>
              <a:gd name="T9" fmla="*/ 552 h 748"/>
              <a:gd name="T10" fmla="*/ 184 w 748"/>
              <a:gd name="T11" fmla="*/ 516 h 748"/>
              <a:gd name="T12" fmla="*/ 232 w 748"/>
              <a:gd name="T13" fmla="*/ 584 h 748"/>
              <a:gd name="T14" fmla="*/ 325 w 748"/>
              <a:gd name="T15" fmla="*/ 748 h 748"/>
              <a:gd name="T16" fmla="*/ 374 w 748"/>
              <a:gd name="T17" fmla="*/ 688 h 748"/>
              <a:gd name="T18" fmla="*/ 421 w 748"/>
              <a:gd name="T19" fmla="*/ 748 h 748"/>
              <a:gd name="T20" fmla="*/ 516 w 748"/>
              <a:gd name="T21" fmla="*/ 584 h 748"/>
              <a:gd name="T22" fmla="*/ 564 w 748"/>
              <a:gd name="T23" fmla="*/ 516 h 748"/>
              <a:gd name="T24" fmla="*/ 639 w 748"/>
              <a:gd name="T25" fmla="*/ 552 h 748"/>
              <a:gd name="T26" fmla="*/ 738 w 748"/>
              <a:gd name="T27" fmla="*/ 529 h 748"/>
              <a:gd name="T28" fmla="*/ 738 w 748"/>
              <a:gd name="T29" fmla="*/ 280 h 748"/>
              <a:gd name="T30" fmla="*/ 638 w 748"/>
              <a:gd name="T31" fmla="*/ 28 h 748"/>
              <a:gd name="T32" fmla="*/ 660 w 748"/>
              <a:gd name="T33" fmla="*/ 280 h 748"/>
              <a:gd name="T34" fmla="*/ 113 w 748"/>
              <a:gd name="T35" fmla="*/ 312 h 748"/>
              <a:gd name="T36" fmla="*/ 76 w 748"/>
              <a:gd name="T37" fmla="*/ 58 h 748"/>
              <a:gd name="T38" fmla="*/ 200 w 748"/>
              <a:gd name="T39" fmla="*/ 484 h 748"/>
              <a:gd name="T40" fmla="*/ 132 w 748"/>
              <a:gd name="T41" fmla="*/ 340 h 748"/>
              <a:gd name="T42" fmla="*/ 575 w 748"/>
              <a:gd name="T43" fmla="*/ 484 h 748"/>
              <a:gd name="T44" fmla="*/ 49 w 748"/>
              <a:gd name="T45" fmla="*/ 524 h 748"/>
              <a:gd name="T46" fmla="*/ 28 w 748"/>
              <a:gd name="T47" fmla="*/ 508 h 748"/>
              <a:gd name="T48" fmla="*/ 48 w 748"/>
              <a:gd name="T49" fmla="*/ 279 h 748"/>
              <a:gd name="T50" fmla="*/ 53 w 748"/>
              <a:gd name="T51" fmla="*/ 290 h 748"/>
              <a:gd name="T52" fmla="*/ 57 w 748"/>
              <a:gd name="T53" fmla="*/ 301 h 748"/>
              <a:gd name="T54" fmla="*/ 67 w 748"/>
              <a:gd name="T55" fmla="*/ 317 h 748"/>
              <a:gd name="T56" fmla="*/ 75 w 748"/>
              <a:gd name="T57" fmla="*/ 324 h 748"/>
              <a:gd name="T58" fmla="*/ 91 w 748"/>
              <a:gd name="T59" fmla="*/ 333 h 748"/>
              <a:gd name="T60" fmla="*/ 102 w 748"/>
              <a:gd name="T61" fmla="*/ 335 h 748"/>
              <a:gd name="T62" fmla="*/ 108 w 748"/>
              <a:gd name="T63" fmla="*/ 526 h 748"/>
              <a:gd name="T64" fmla="*/ 436 w 748"/>
              <a:gd name="T65" fmla="*/ 720 h 748"/>
              <a:gd name="T66" fmla="*/ 281 w 748"/>
              <a:gd name="T67" fmla="*/ 720 h 748"/>
              <a:gd name="T68" fmla="*/ 484 w 748"/>
              <a:gd name="T69" fmla="*/ 584 h 748"/>
              <a:gd name="T70" fmla="*/ 527 w 748"/>
              <a:gd name="T71" fmla="*/ 552 h 748"/>
              <a:gd name="T72" fmla="*/ 219 w 748"/>
              <a:gd name="T73" fmla="*/ 552 h 748"/>
              <a:gd name="T74" fmla="*/ 532 w 748"/>
              <a:gd name="T75" fmla="*/ 516 h 748"/>
              <a:gd name="T76" fmla="*/ 718 w 748"/>
              <a:gd name="T77" fmla="*/ 509 h 748"/>
              <a:gd name="T78" fmla="*/ 639 w 748"/>
              <a:gd name="T79" fmla="*/ 524 h 748"/>
              <a:gd name="T80" fmla="*/ 645 w 748"/>
              <a:gd name="T81" fmla="*/ 335 h 748"/>
              <a:gd name="T82" fmla="*/ 655 w 748"/>
              <a:gd name="T83" fmla="*/ 333 h 748"/>
              <a:gd name="T84" fmla="*/ 671 w 748"/>
              <a:gd name="T85" fmla="*/ 324 h 748"/>
              <a:gd name="T86" fmla="*/ 679 w 748"/>
              <a:gd name="T87" fmla="*/ 317 h 748"/>
              <a:gd name="T88" fmla="*/ 689 w 748"/>
              <a:gd name="T89" fmla="*/ 301 h 748"/>
              <a:gd name="T90" fmla="*/ 690 w 748"/>
              <a:gd name="T91" fmla="*/ 290 h 748"/>
              <a:gd name="T92" fmla="*/ 716 w 748"/>
              <a:gd name="T93" fmla="*/ 30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48" h="748">
                <a:moveTo>
                  <a:pt x="738" y="280"/>
                </a:moveTo>
                <a:cubicBezTo>
                  <a:pt x="736" y="280"/>
                  <a:pt x="736" y="280"/>
                  <a:pt x="736" y="280"/>
                </a:cubicBezTo>
                <a:cubicBezTo>
                  <a:pt x="688" y="238"/>
                  <a:pt x="688" y="238"/>
                  <a:pt x="688" y="238"/>
                </a:cubicBezTo>
                <a:cubicBezTo>
                  <a:pt x="688" y="58"/>
                  <a:pt x="688" y="58"/>
                  <a:pt x="688" y="58"/>
                </a:cubicBezTo>
                <a:cubicBezTo>
                  <a:pt x="688" y="27"/>
                  <a:pt x="668" y="0"/>
                  <a:pt x="638" y="0"/>
                </a:cubicBezTo>
                <a:cubicBezTo>
                  <a:pt x="109" y="0"/>
                  <a:pt x="109" y="0"/>
                  <a:pt x="109" y="0"/>
                </a:cubicBezTo>
                <a:cubicBezTo>
                  <a:pt x="78" y="0"/>
                  <a:pt x="48" y="27"/>
                  <a:pt x="48" y="58"/>
                </a:cubicBezTo>
                <a:cubicBezTo>
                  <a:pt x="48" y="238"/>
                  <a:pt x="48" y="238"/>
                  <a:pt x="48" y="238"/>
                </a:cubicBezTo>
                <a:cubicBezTo>
                  <a:pt x="6" y="283"/>
                  <a:pt x="6" y="283"/>
                  <a:pt x="6" y="283"/>
                </a:cubicBezTo>
                <a:cubicBezTo>
                  <a:pt x="0" y="289"/>
                  <a:pt x="0" y="297"/>
                  <a:pt x="0" y="305"/>
                </a:cubicBezTo>
                <a:cubicBezTo>
                  <a:pt x="0" y="508"/>
                  <a:pt x="0" y="508"/>
                  <a:pt x="0" y="508"/>
                </a:cubicBezTo>
                <a:cubicBezTo>
                  <a:pt x="0" y="516"/>
                  <a:pt x="3" y="524"/>
                  <a:pt x="9" y="530"/>
                </a:cubicBezTo>
                <a:cubicBezTo>
                  <a:pt x="27" y="546"/>
                  <a:pt x="27" y="546"/>
                  <a:pt x="27" y="546"/>
                </a:cubicBezTo>
                <a:cubicBezTo>
                  <a:pt x="33" y="552"/>
                  <a:pt x="41" y="552"/>
                  <a:pt x="49" y="552"/>
                </a:cubicBezTo>
                <a:cubicBezTo>
                  <a:pt x="107" y="552"/>
                  <a:pt x="107" y="552"/>
                  <a:pt x="107" y="552"/>
                </a:cubicBezTo>
                <a:cubicBezTo>
                  <a:pt x="114" y="552"/>
                  <a:pt x="121" y="552"/>
                  <a:pt x="127" y="547"/>
                </a:cubicBezTo>
                <a:cubicBezTo>
                  <a:pt x="165" y="516"/>
                  <a:pt x="165" y="516"/>
                  <a:pt x="165" y="516"/>
                </a:cubicBezTo>
                <a:cubicBezTo>
                  <a:pt x="184" y="516"/>
                  <a:pt x="184" y="516"/>
                  <a:pt x="184" y="516"/>
                </a:cubicBezTo>
                <a:cubicBezTo>
                  <a:pt x="184" y="551"/>
                  <a:pt x="184" y="551"/>
                  <a:pt x="184" y="551"/>
                </a:cubicBezTo>
                <a:cubicBezTo>
                  <a:pt x="184" y="570"/>
                  <a:pt x="201" y="584"/>
                  <a:pt x="219" y="584"/>
                </a:cubicBezTo>
                <a:cubicBezTo>
                  <a:pt x="232" y="584"/>
                  <a:pt x="232" y="584"/>
                  <a:pt x="232" y="584"/>
                </a:cubicBezTo>
                <a:cubicBezTo>
                  <a:pt x="232" y="701"/>
                  <a:pt x="232" y="701"/>
                  <a:pt x="232" y="701"/>
                </a:cubicBezTo>
                <a:cubicBezTo>
                  <a:pt x="232" y="728"/>
                  <a:pt x="254" y="748"/>
                  <a:pt x="281" y="748"/>
                </a:cubicBezTo>
                <a:cubicBezTo>
                  <a:pt x="325" y="748"/>
                  <a:pt x="325" y="748"/>
                  <a:pt x="325" y="748"/>
                </a:cubicBezTo>
                <a:cubicBezTo>
                  <a:pt x="333" y="748"/>
                  <a:pt x="340" y="743"/>
                  <a:pt x="340" y="735"/>
                </a:cubicBezTo>
                <a:cubicBezTo>
                  <a:pt x="340" y="722"/>
                  <a:pt x="340" y="722"/>
                  <a:pt x="340" y="722"/>
                </a:cubicBezTo>
                <a:cubicBezTo>
                  <a:pt x="340" y="703"/>
                  <a:pt x="356" y="688"/>
                  <a:pt x="374" y="688"/>
                </a:cubicBezTo>
                <a:cubicBezTo>
                  <a:pt x="392" y="688"/>
                  <a:pt x="408" y="703"/>
                  <a:pt x="408" y="722"/>
                </a:cubicBezTo>
                <a:cubicBezTo>
                  <a:pt x="408" y="735"/>
                  <a:pt x="408" y="735"/>
                  <a:pt x="408" y="735"/>
                </a:cubicBezTo>
                <a:cubicBezTo>
                  <a:pt x="408" y="743"/>
                  <a:pt x="413" y="748"/>
                  <a:pt x="421" y="748"/>
                </a:cubicBezTo>
                <a:cubicBezTo>
                  <a:pt x="465" y="748"/>
                  <a:pt x="465" y="748"/>
                  <a:pt x="465" y="748"/>
                </a:cubicBezTo>
                <a:cubicBezTo>
                  <a:pt x="492" y="748"/>
                  <a:pt x="516" y="728"/>
                  <a:pt x="516" y="701"/>
                </a:cubicBezTo>
                <a:cubicBezTo>
                  <a:pt x="516" y="584"/>
                  <a:pt x="516" y="584"/>
                  <a:pt x="516" y="584"/>
                </a:cubicBezTo>
                <a:cubicBezTo>
                  <a:pt x="527" y="584"/>
                  <a:pt x="527" y="584"/>
                  <a:pt x="527" y="584"/>
                </a:cubicBezTo>
                <a:cubicBezTo>
                  <a:pt x="545" y="584"/>
                  <a:pt x="564" y="570"/>
                  <a:pt x="564" y="551"/>
                </a:cubicBezTo>
                <a:cubicBezTo>
                  <a:pt x="564" y="516"/>
                  <a:pt x="564" y="516"/>
                  <a:pt x="564" y="516"/>
                </a:cubicBezTo>
                <a:cubicBezTo>
                  <a:pt x="581" y="516"/>
                  <a:pt x="581" y="516"/>
                  <a:pt x="581" y="516"/>
                </a:cubicBezTo>
                <a:cubicBezTo>
                  <a:pt x="619" y="547"/>
                  <a:pt x="619" y="547"/>
                  <a:pt x="619" y="547"/>
                </a:cubicBezTo>
                <a:cubicBezTo>
                  <a:pt x="625" y="552"/>
                  <a:pt x="632" y="552"/>
                  <a:pt x="639" y="552"/>
                </a:cubicBezTo>
                <a:cubicBezTo>
                  <a:pt x="697" y="552"/>
                  <a:pt x="697" y="552"/>
                  <a:pt x="697" y="552"/>
                </a:cubicBezTo>
                <a:cubicBezTo>
                  <a:pt x="705" y="552"/>
                  <a:pt x="713" y="552"/>
                  <a:pt x="719" y="546"/>
                </a:cubicBezTo>
                <a:cubicBezTo>
                  <a:pt x="738" y="529"/>
                  <a:pt x="738" y="529"/>
                  <a:pt x="738" y="529"/>
                </a:cubicBezTo>
                <a:cubicBezTo>
                  <a:pt x="744" y="523"/>
                  <a:pt x="748" y="516"/>
                  <a:pt x="748" y="508"/>
                </a:cubicBezTo>
                <a:cubicBezTo>
                  <a:pt x="748" y="305"/>
                  <a:pt x="748" y="305"/>
                  <a:pt x="748" y="305"/>
                </a:cubicBezTo>
                <a:cubicBezTo>
                  <a:pt x="748" y="297"/>
                  <a:pt x="744" y="292"/>
                  <a:pt x="738" y="280"/>
                </a:cubicBezTo>
                <a:close/>
                <a:moveTo>
                  <a:pt x="76" y="58"/>
                </a:moveTo>
                <a:cubicBezTo>
                  <a:pt x="76" y="44"/>
                  <a:pt x="94" y="28"/>
                  <a:pt x="109" y="28"/>
                </a:cubicBezTo>
                <a:cubicBezTo>
                  <a:pt x="638" y="28"/>
                  <a:pt x="638" y="28"/>
                  <a:pt x="638" y="28"/>
                </a:cubicBezTo>
                <a:cubicBezTo>
                  <a:pt x="652" y="28"/>
                  <a:pt x="660" y="44"/>
                  <a:pt x="660" y="58"/>
                </a:cubicBezTo>
                <a:cubicBezTo>
                  <a:pt x="660" y="244"/>
                  <a:pt x="660" y="244"/>
                  <a:pt x="660" y="244"/>
                </a:cubicBezTo>
                <a:cubicBezTo>
                  <a:pt x="660" y="280"/>
                  <a:pt x="660" y="280"/>
                  <a:pt x="660" y="280"/>
                </a:cubicBezTo>
                <a:cubicBezTo>
                  <a:pt x="660" y="295"/>
                  <a:pt x="652" y="312"/>
                  <a:pt x="638" y="312"/>
                </a:cubicBezTo>
                <a:cubicBezTo>
                  <a:pt x="633" y="312"/>
                  <a:pt x="633" y="312"/>
                  <a:pt x="633" y="312"/>
                </a:cubicBezTo>
                <a:cubicBezTo>
                  <a:pt x="113" y="312"/>
                  <a:pt x="113" y="312"/>
                  <a:pt x="113" y="312"/>
                </a:cubicBezTo>
                <a:cubicBezTo>
                  <a:pt x="109" y="312"/>
                  <a:pt x="109" y="312"/>
                  <a:pt x="109" y="312"/>
                </a:cubicBezTo>
                <a:cubicBezTo>
                  <a:pt x="94" y="312"/>
                  <a:pt x="76" y="295"/>
                  <a:pt x="76" y="280"/>
                </a:cubicBezTo>
                <a:lnTo>
                  <a:pt x="76" y="58"/>
                </a:lnTo>
                <a:close/>
                <a:moveTo>
                  <a:pt x="575" y="484"/>
                </a:moveTo>
                <a:cubicBezTo>
                  <a:pt x="546" y="484"/>
                  <a:pt x="546" y="484"/>
                  <a:pt x="546" y="484"/>
                </a:cubicBezTo>
                <a:cubicBezTo>
                  <a:pt x="200" y="484"/>
                  <a:pt x="200" y="484"/>
                  <a:pt x="200" y="484"/>
                </a:cubicBezTo>
                <a:cubicBezTo>
                  <a:pt x="171" y="484"/>
                  <a:pt x="171" y="484"/>
                  <a:pt x="171" y="484"/>
                </a:cubicBezTo>
                <a:cubicBezTo>
                  <a:pt x="151" y="409"/>
                  <a:pt x="151" y="409"/>
                  <a:pt x="151" y="409"/>
                </a:cubicBezTo>
                <a:cubicBezTo>
                  <a:pt x="132" y="340"/>
                  <a:pt x="132" y="340"/>
                  <a:pt x="132" y="340"/>
                </a:cubicBezTo>
                <a:cubicBezTo>
                  <a:pt x="614" y="340"/>
                  <a:pt x="614" y="340"/>
                  <a:pt x="614" y="340"/>
                </a:cubicBezTo>
                <a:cubicBezTo>
                  <a:pt x="595" y="411"/>
                  <a:pt x="595" y="411"/>
                  <a:pt x="595" y="411"/>
                </a:cubicBezTo>
                <a:lnTo>
                  <a:pt x="575" y="484"/>
                </a:lnTo>
                <a:close/>
                <a:moveTo>
                  <a:pt x="108" y="526"/>
                </a:moveTo>
                <a:cubicBezTo>
                  <a:pt x="108" y="526"/>
                  <a:pt x="107" y="524"/>
                  <a:pt x="107" y="524"/>
                </a:cubicBezTo>
                <a:cubicBezTo>
                  <a:pt x="49" y="524"/>
                  <a:pt x="49" y="524"/>
                  <a:pt x="49" y="524"/>
                </a:cubicBezTo>
                <a:cubicBezTo>
                  <a:pt x="49" y="524"/>
                  <a:pt x="48" y="526"/>
                  <a:pt x="48" y="526"/>
                </a:cubicBezTo>
                <a:cubicBezTo>
                  <a:pt x="29" y="508"/>
                  <a:pt x="29" y="508"/>
                  <a:pt x="29" y="508"/>
                </a:cubicBezTo>
                <a:cubicBezTo>
                  <a:pt x="28" y="508"/>
                  <a:pt x="28" y="509"/>
                  <a:pt x="28" y="508"/>
                </a:cubicBezTo>
                <a:cubicBezTo>
                  <a:pt x="28" y="305"/>
                  <a:pt x="28" y="305"/>
                  <a:pt x="28" y="305"/>
                </a:cubicBezTo>
                <a:cubicBezTo>
                  <a:pt x="28" y="304"/>
                  <a:pt x="26" y="304"/>
                  <a:pt x="26" y="303"/>
                </a:cubicBezTo>
                <a:cubicBezTo>
                  <a:pt x="48" y="279"/>
                  <a:pt x="48" y="279"/>
                  <a:pt x="48" y="279"/>
                </a:cubicBezTo>
                <a:cubicBezTo>
                  <a:pt x="48" y="280"/>
                  <a:pt x="48" y="280"/>
                  <a:pt x="48" y="280"/>
                </a:cubicBezTo>
                <a:cubicBezTo>
                  <a:pt x="48" y="280"/>
                  <a:pt x="51" y="280"/>
                  <a:pt x="51" y="280"/>
                </a:cubicBezTo>
                <a:cubicBezTo>
                  <a:pt x="51" y="284"/>
                  <a:pt x="52" y="287"/>
                  <a:pt x="53" y="290"/>
                </a:cubicBezTo>
                <a:cubicBezTo>
                  <a:pt x="53" y="290"/>
                  <a:pt x="53" y="291"/>
                  <a:pt x="54" y="291"/>
                </a:cubicBezTo>
                <a:cubicBezTo>
                  <a:pt x="54" y="294"/>
                  <a:pt x="55" y="297"/>
                  <a:pt x="56" y="299"/>
                </a:cubicBezTo>
                <a:cubicBezTo>
                  <a:pt x="56" y="300"/>
                  <a:pt x="57" y="300"/>
                  <a:pt x="57" y="301"/>
                </a:cubicBezTo>
                <a:cubicBezTo>
                  <a:pt x="58" y="303"/>
                  <a:pt x="59" y="306"/>
                  <a:pt x="61" y="308"/>
                </a:cubicBezTo>
                <a:cubicBezTo>
                  <a:pt x="61" y="309"/>
                  <a:pt x="61" y="309"/>
                  <a:pt x="62" y="310"/>
                </a:cubicBezTo>
                <a:cubicBezTo>
                  <a:pt x="63" y="312"/>
                  <a:pt x="65" y="314"/>
                  <a:pt x="67" y="317"/>
                </a:cubicBezTo>
                <a:cubicBezTo>
                  <a:pt x="67" y="317"/>
                  <a:pt x="67" y="317"/>
                  <a:pt x="68" y="318"/>
                </a:cubicBezTo>
                <a:cubicBezTo>
                  <a:pt x="70" y="320"/>
                  <a:pt x="72" y="322"/>
                  <a:pt x="74" y="323"/>
                </a:cubicBezTo>
                <a:cubicBezTo>
                  <a:pt x="74" y="324"/>
                  <a:pt x="75" y="324"/>
                  <a:pt x="75" y="324"/>
                </a:cubicBezTo>
                <a:cubicBezTo>
                  <a:pt x="77" y="326"/>
                  <a:pt x="80" y="328"/>
                  <a:pt x="82" y="329"/>
                </a:cubicBezTo>
                <a:cubicBezTo>
                  <a:pt x="82" y="329"/>
                  <a:pt x="83" y="329"/>
                  <a:pt x="83" y="329"/>
                </a:cubicBezTo>
                <a:cubicBezTo>
                  <a:pt x="85" y="331"/>
                  <a:pt x="88" y="332"/>
                  <a:pt x="91" y="333"/>
                </a:cubicBezTo>
                <a:cubicBezTo>
                  <a:pt x="91" y="333"/>
                  <a:pt x="92" y="333"/>
                  <a:pt x="92" y="333"/>
                </a:cubicBezTo>
                <a:cubicBezTo>
                  <a:pt x="95" y="334"/>
                  <a:pt x="98" y="335"/>
                  <a:pt x="101" y="335"/>
                </a:cubicBezTo>
                <a:cubicBezTo>
                  <a:pt x="101" y="335"/>
                  <a:pt x="101" y="335"/>
                  <a:pt x="102" y="335"/>
                </a:cubicBezTo>
                <a:cubicBezTo>
                  <a:pt x="123" y="418"/>
                  <a:pt x="123" y="418"/>
                  <a:pt x="123" y="418"/>
                </a:cubicBezTo>
                <a:cubicBezTo>
                  <a:pt x="144" y="496"/>
                  <a:pt x="144" y="496"/>
                  <a:pt x="144" y="496"/>
                </a:cubicBezTo>
                <a:lnTo>
                  <a:pt x="108" y="526"/>
                </a:lnTo>
                <a:close/>
                <a:moveTo>
                  <a:pt x="484" y="701"/>
                </a:moveTo>
                <a:cubicBezTo>
                  <a:pt x="484" y="712"/>
                  <a:pt x="476" y="720"/>
                  <a:pt x="465" y="720"/>
                </a:cubicBezTo>
                <a:cubicBezTo>
                  <a:pt x="436" y="720"/>
                  <a:pt x="436" y="720"/>
                  <a:pt x="436" y="720"/>
                </a:cubicBezTo>
                <a:cubicBezTo>
                  <a:pt x="435" y="688"/>
                  <a:pt x="407" y="659"/>
                  <a:pt x="373" y="659"/>
                </a:cubicBezTo>
                <a:cubicBezTo>
                  <a:pt x="339" y="659"/>
                  <a:pt x="311" y="688"/>
                  <a:pt x="311" y="720"/>
                </a:cubicBezTo>
                <a:cubicBezTo>
                  <a:pt x="281" y="720"/>
                  <a:pt x="281" y="720"/>
                  <a:pt x="281" y="720"/>
                </a:cubicBezTo>
                <a:cubicBezTo>
                  <a:pt x="270" y="720"/>
                  <a:pt x="264" y="712"/>
                  <a:pt x="264" y="701"/>
                </a:cubicBezTo>
                <a:cubicBezTo>
                  <a:pt x="264" y="584"/>
                  <a:pt x="264" y="584"/>
                  <a:pt x="264" y="584"/>
                </a:cubicBezTo>
                <a:cubicBezTo>
                  <a:pt x="484" y="584"/>
                  <a:pt x="484" y="584"/>
                  <a:pt x="484" y="584"/>
                </a:cubicBezTo>
                <a:lnTo>
                  <a:pt x="484" y="701"/>
                </a:lnTo>
                <a:close/>
                <a:moveTo>
                  <a:pt x="532" y="551"/>
                </a:moveTo>
                <a:cubicBezTo>
                  <a:pt x="532" y="554"/>
                  <a:pt x="529" y="552"/>
                  <a:pt x="527" y="552"/>
                </a:cubicBezTo>
                <a:cubicBezTo>
                  <a:pt x="499" y="552"/>
                  <a:pt x="499" y="552"/>
                  <a:pt x="499" y="552"/>
                </a:cubicBezTo>
                <a:cubicBezTo>
                  <a:pt x="247" y="552"/>
                  <a:pt x="247" y="552"/>
                  <a:pt x="247" y="552"/>
                </a:cubicBezTo>
                <a:cubicBezTo>
                  <a:pt x="219" y="552"/>
                  <a:pt x="219" y="552"/>
                  <a:pt x="219" y="552"/>
                </a:cubicBezTo>
                <a:cubicBezTo>
                  <a:pt x="217" y="552"/>
                  <a:pt x="212" y="554"/>
                  <a:pt x="212" y="551"/>
                </a:cubicBezTo>
                <a:cubicBezTo>
                  <a:pt x="212" y="516"/>
                  <a:pt x="212" y="516"/>
                  <a:pt x="212" y="516"/>
                </a:cubicBezTo>
                <a:cubicBezTo>
                  <a:pt x="532" y="516"/>
                  <a:pt x="532" y="516"/>
                  <a:pt x="532" y="516"/>
                </a:cubicBezTo>
                <a:lnTo>
                  <a:pt x="532" y="551"/>
                </a:lnTo>
                <a:close/>
                <a:moveTo>
                  <a:pt x="720" y="508"/>
                </a:moveTo>
                <a:cubicBezTo>
                  <a:pt x="720" y="509"/>
                  <a:pt x="719" y="509"/>
                  <a:pt x="718" y="509"/>
                </a:cubicBezTo>
                <a:cubicBezTo>
                  <a:pt x="699" y="526"/>
                  <a:pt x="699" y="526"/>
                  <a:pt x="699" y="526"/>
                </a:cubicBezTo>
                <a:cubicBezTo>
                  <a:pt x="699" y="526"/>
                  <a:pt x="697" y="524"/>
                  <a:pt x="697" y="524"/>
                </a:cubicBezTo>
                <a:cubicBezTo>
                  <a:pt x="639" y="524"/>
                  <a:pt x="639" y="524"/>
                  <a:pt x="639" y="524"/>
                </a:cubicBezTo>
                <a:cubicBezTo>
                  <a:pt x="639" y="524"/>
                  <a:pt x="639" y="526"/>
                  <a:pt x="638" y="526"/>
                </a:cubicBezTo>
                <a:cubicBezTo>
                  <a:pt x="602" y="496"/>
                  <a:pt x="602" y="496"/>
                  <a:pt x="602" y="496"/>
                </a:cubicBezTo>
                <a:cubicBezTo>
                  <a:pt x="645" y="335"/>
                  <a:pt x="645" y="335"/>
                  <a:pt x="645" y="335"/>
                </a:cubicBezTo>
                <a:cubicBezTo>
                  <a:pt x="645" y="335"/>
                  <a:pt x="645" y="335"/>
                  <a:pt x="645" y="335"/>
                </a:cubicBezTo>
                <a:cubicBezTo>
                  <a:pt x="648" y="334"/>
                  <a:pt x="651" y="334"/>
                  <a:pt x="654" y="333"/>
                </a:cubicBezTo>
                <a:cubicBezTo>
                  <a:pt x="655" y="333"/>
                  <a:pt x="655" y="333"/>
                  <a:pt x="655" y="333"/>
                </a:cubicBezTo>
                <a:cubicBezTo>
                  <a:pt x="658" y="332"/>
                  <a:pt x="661" y="331"/>
                  <a:pt x="663" y="329"/>
                </a:cubicBezTo>
                <a:cubicBezTo>
                  <a:pt x="664" y="329"/>
                  <a:pt x="664" y="329"/>
                  <a:pt x="664" y="329"/>
                </a:cubicBezTo>
                <a:cubicBezTo>
                  <a:pt x="666" y="328"/>
                  <a:pt x="669" y="326"/>
                  <a:pt x="671" y="324"/>
                </a:cubicBezTo>
                <a:cubicBezTo>
                  <a:pt x="672" y="324"/>
                  <a:pt x="672" y="324"/>
                  <a:pt x="672" y="323"/>
                </a:cubicBezTo>
                <a:cubicBezTo>
                  <a:pt x="674" y="322"/>
                  <a:pt x="677" y="320"/>
                  <a:pt x="678" y="318"/>
                </a:cubicBezTo>
                <a:cubicBezTo>
                  <a:pt x="679" y="317"/>
                  <a:pt x="679" y="317"/>
                  <a:pt x="679" y="317"/>
                </a:cubicBezTo>
                <a:cubicBezTo>
                  <a:pt x="681" y="314"/>
                  <a:pt x="683" y="312"/>
                  <a:pt x="684" y="310"/>
                </a:cubicBezTo>
                <a:cubicBezTo>
                  <a:pt x="685" y="309"/>
                  <a:pt x="685" y="309"/>
                  <a:pt x="685" y="308"/>
                </a:cubicBezTo>
                <a:cubicBezTo>
                  <a:pt x="687" y="306"/>
                  <a:pt x="688" y="303"/>
                  <a:pt x="689" y="301"/>
                </a:cubicBezTo>
                <a:cubicBezTo>
                  <a:pt x="689" y="300"/>
                  <a:pt x="689" y="300"/>
                  <a:pt x="689" y="299"/>
                </a:cubicBezTo>
                <a:cubicBezTo>
                  <a:pt x="691" y="297"/>
                  <a:pt x="691" y="294"/>
                  <a:pt x="692" y="291"/>
                </a:cubicBezTo>
                <a:cubicBezTo>
                  <a:pt x="692" y="291"/>
                  <a:pt x="690" y="290"/>
                  <a:pt x="690" y="290"/>
                </a:cubicBezTo>
                <a:cubicBezTo>
                  <a:pt x="690" y="287"/>
                  <a:pt x="688" y="284"/>
                  <a:pt x="688" y="280"/>
                </a:cubicBezTo>
                <a:cubicBezTo>
                  <a:pt x="688" y="279"/>
                  <a:pt x="688" y="279"/>
                  <a:pt x="688" y="279"/>
                </a:cubicBezTo>
                <a:cubicBezTo>
                  <a:pt x="716" y="303"/>
                  <a:pt x="716" y="303"/>
                  <a:pt x="716" y="303"/>
                </a:cubicBezTo>
                <a:cubicBezTo>
                  <a:pt x="716" y="304"/>
                  <a:pt x="720" y="304"/>
                  <a:pt x="720" y="305"/>
                </a:cubicBezTo>
                <a:lnTo>
                  <a:pt x="720" y="508"/>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1" name="Freeform 5">
            <a:extLst>
              <a:ext uri="{FF2B5EF4-FFF2-40B4-BE49-F238E27FC236}">
                <a16:creationId xmlns:a16="http://schemas.microsoft.com/office/drawing/2014/main" id="{202DDE36-FF44-487C-A779-860DF212BE5D}"/>
              </a:ext>
            </a:extLst>
          </p:cNvPr>
          <p:cNvSpPr>
            <a:spLocks noEditPoints="1"/>
          </p:cNvSpPr>
          <p:nvPr/>
        </p:nvSpPr>
        <p:spPr bwMode="auto">
          <a:xfrm>
            <a:off x="8978472" y="1956683"/>
            <a:ext cx="1323974" cy="657225"/>
          </a:xfrm>
          <a:custGeom>
            <a:avLst/>
            <a:gdLst>
              <a:gd name="T0" fmla="*/ 527 w 528"/>
              <a:gd name="T1" fmla="*/ 243 h 260"/>
              <a:gd name="T2" fmla="*/ 519 w 528"/>
              <a:gd name="T3" fmla="*/ 239 h 260"/>
              <a:gd name="T4" fmla="*/ 420 w 528"/>
              <a:gd name="T5" fmla="*/ 239 h 260"/>
              <a:gd name="T6" fmla="*/ 313 w 528"/>
              <a:gd name="T7" fmla="*/ 239 h 260"/>
              <a:gd name="T8" fmla="*/ 270 w 528"/>
              <a:gd name="T9" fmla="*/ 246 h 260"/>
              <a:gd name="T10" fmla="*/ 270 w 528"/>
              <a:gd name="T11" fmla="*/ 214 h 260"/>
              <a:gd name="T12" fmla="*/ 340 w 528"/>
              <a:gd name="T13" fmla="*/ 185 h 260"/>
              <a:gd name="T14" fmla="*/ 370 w 528"/>
              <a:gd name="T15" fmla="*/ 108 h 260"/>
              <a:gd name="T16" fmla="*/ 364 w 528"/>
              <a:gd name="T17" fmla="*/ 102 h 260"/>
              <a:gd name="T18" fmla="*/ 364 w 528"/>
              <a:gd name="T19" fmla="*/ 102 h 260"/>
              <a:gd name="T20" fmla="*/ 315 w 528"/>
              <a:gd name="T21" fmla="*/ 113 h 260"/>
              <a:gd name="T22" fmla="*/ 315 w 528"/>
              <a:gd name="T23" fmla="*/ 108 h 260"/>
              <a:gd name="T24" fmla="*/ 268 w 528"/>
              <a:gd name="T25" fmla="*/ 3 h 260"/>
              <a:gd name="T26" fmla="*/ 259 w 528"/>
              <a:gd name="T27" fmla="*/ 3 h 260"/>
              <a:gd name="T28" fmla="*/ 212 w 528"/>
              <a:gd name="T29" fmla="*/ 108 h 260"/>
              <a:gd name="T30" fmla="*/ 213 w 528"/>
              <a:gd name="T31" fmla="*/ 113 h 260"/>
              <a:gd name="T32" fmla="*/ 164 w 528"/>
              <a:gd name="T33" fmla="*/ 102 h 260"/>
              <a:gd name="T34" fmla="*/ 158 w 528"/>
              <a:gd name="T35" fmla="*/ 108 h 260"/>
              <a:gd name="T36" fmla="*/ 187 w 528"/>
              <a:gd name="T37" fmla="*/ 185 h 260"/>
              <a:gd name="T38" fmla="*/ 228 w 528"/>
              <a:gd name="T39" fmla="*/ 209 h 260"/>
              <a:gd name="T40" fmla="*/ 236 w 528"/>
              <a:gd name="T41" fmla="*/ 205 h 260"/>
              <a:gd name="T42" fmla="*/ 232 w 528"/>
              <a:gd name="T43" fmla="*/ 197 h 260"/>
              <a:gd name="T44" fmla="*/ 195 w 528"/>
              <a:gd name="T45" fmla="*/ 177 h 260"/>
              <a:gd name="T46" fmla="*/ 170 w 528"/>
              <a:gd name="T47" fmla="*/ 115 h 260"/>
              <a:gd name="T48" fmla="*/ 214 w 528"/>
              <a:gd name="T49" fmla="*/ 127 h 260"/>
              <a:gd name="T50" fmla="*/ 230 w 528"/>
              <a:gd name="T51" fmla="*/ 172 h 260"/>
              <a:gd name="T52" fmla="*/ 235 w 528"/>
              <a:gd name="T53" fmla="*/ 175 h 260"/>
              <a:gd name="T54" fmla="*/ 238 w 528"/>
              <a:gd name="T55" fmla="*/ 174 h 260"/>
              <a:gd name="T56" fmla="*/ 241 w 528"/>
              <a:gd name="T57" fmla="*/ 166 h 260"/>
              <a:gd name="T58" fmla="*/ 226 w 528"/>
              <a:gd name="T59" fmla="*/ 123 h 260"/>
              <a:gd name="T60" fmla="*/ 226 w 528"/>
              <a:gd name="T61" fmla="*/ 123 h 260"/>
              <a:gd name="T62" fmla="*/ 225 w 528"/>
              <a:gd name="T63" fmla="*/ 113 h 260"/>
              <a:gd name="T64" fmla="*/ 224 w 528"/>
              <a:gd name="T65" fmla="*/ 108 h 260"/>
              <a:gd name="T66" fmla="*/ 264 w 528"/>
              <a:gd name="T67" fmla="*/ 16 h 260"/>
              <a:gd name="T68" fmla="*/ 303 w 528"/>
              <a:gd name="T69" fmla="*/ 108 h 260"/>
              <a:gd name="T70" fmla="*/ 303 w 528"/>
              <a:gd name="T71" fmla="*/ 111 h 260"/>
              <a:gd name="T72" fmla="*/ 302 w 528"/>
              <a:gd name="T73" fmla="*/ 123 h 260"/>
              <a:gd name="T74" fmla="*/ 302 w 528"/>
              <a:gd name="T75" fmla="*/ 123 h 260"/>
              <a:gd name="T76" fmla="*/ 259 w 528"/>
              <a:gd name="T77" fmla="*/ 204 h 260"/>
              <a:gd name="T78" fmla="*/ 258 w 528"/>
              <a:gd name="T79" fmla="*/ 206 h 260"/>
              <a:gd name="T80" fmla="*/ 258 w 528"/>
              <a:gd name="T81" fmla="*/ 206 h 260"/>
              <a:gd name="T82" fmla="*/ 258 w 528"/>
              <a:gd name="T83" fmla="*/ 208 h 260"/>
              <a:gd name="T84" fmla="*/ 258 w 528"/>
              <a:gd name="T85" fmla="*/ 246 h 260"/>
              <a:gd name="T86" fmla="*/ 214 w 528"/>
              <a:gd name="T87" fmla="*/ 239 h 260"/>
              <a:gd name="T88" fmla="*/ 108 w 528"/>
              <a:gd name="T89" fmla="*/ 239 h 260"/>
              <a:gd name="T90" fmla="*/ 8 w 528"/>
              <a:gd name="T91" fmla="*/ 239 h 260"/>
              <a:gd name="T92" fmla="*/ 1 w 528"/>
              <a:gd name="T93" fmla="*/ 243 h 260"/>
              <a:gd name="T94" fmla="*/ 5 w 528"/>
              <a:gd name="T95" fmla="*/ 250 h 260"/>
              <a:gd name="T96" fmla="*/ 111 w 528"/>
              <a:gd name="T97" fmla="*/ 250 h 260"/>
              <a:gd name="T98" fmla="*/ 211 w 528"/>
              <a:gd name="T99" fmla="*/ 250 h 260"/>
              <a:gd name="T100" fmla="*/ 264 w 528"/>
              <a:gd name="T101" fmla="*/ 258 h 260"/>
              <a:gd name="T102" fmla="*/ 317 w 528"/>
              <a:gd name="T103" fmla="*/ 250 h 260"/>
              <a:gd name="T104" fmla="*/ 416 w 528"/>
              <a:gd name="T105" fmla="*/ 250 h 260"/>
              <a:gd name="T106" fmla="*/ 523 w 528"/>
              <a:gd name="T107" fmla="*/ 250 h 260"/>
              <a:gd name="T108" fmla="*/ 527 w 528"/>
              <a:gd name="T109" fmla="*/ 243 h 260"/>
              <a:gd name="T110" fmla="*/ 313 w 528"/>
              <a:gd name="T111" fmla="*/ 127 h 260"/>
              <a:gd name="T112" fmla="*/ 357 w 528"/>
              <a:gd name="T113" fmla="*/ 115 h 260"/>
              <a:gd name="T114" fmla="*/ 332 w 528"/>
              <a:gd name="T115" fmla="*/ 177 h 260"/>
              <a:gd name="T116" fmla="*/ 278 w 528"/>
              <a:gd name="T117" fmla="*/ 201 h 260"/>
              <a:gd name="T118" fmla="*/ 313 w 528"/>
              <a:gd name="T119" fmla="*/ 12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8" h="260">
                <a:moveTo>
                  <a:pt x="527" y="243"/>
                </a:moveTo>
                <a:cubicBezTo>
                  <a:pt x="526" y="240"/>
                  <a:pt x="522" y="238"/>
                  <a:pt x="519" y="239"/>
                </a:cubicBezTo>
                <a:cubicBezTo>
                  <a:pt x="487" y="248"/>
                  <a:pt x="452" y="248"/>
                  <a:pt x="420" y="239"/>
                </a:cubicBezTo>
                <a:cubicBezTo>
                  <a:pt x="385" y="229"/>
                  <a:pt x="348" y="229"/>
                  <a:pt x="313" y="239"/>
                </a:cubicBezTo>
                <a:cubicBezTo>
                  <a:pt x="299" y="243"/>
                  <a:pt x="284" y="245"/>
                  <a:pt x="270" y="246"/>
                </a:cubicBezTo>
                <a:cubicBezTo>
                  <a:pt x="270" y="214"/>
                  <a:pt x="270" y="214"/>
                  <a:pt x="270" y="214"/>
                </a:cubicBezTo>
                <a:cubicBezTo>
                  <a:pt x="283" y="213"/>
                  <a:pt x="317" y="208"/>
                  <a:pt x="340" y="185"/>
                </a:cubicBezTo>
                <a:cubicBezTo>
                  <a:pt x="369" y="156"/>
                  <a:pt x="370" y="110"/>
                  <a:pt x="370" y="108"/>
                </a:cubicBezTo>
                <a:cubicBezTo>
                  <a:pt x="370" y="105"/>
                  <a:pt x="367" y="102"/>
                  <a:pt x="364" y="102"/>
                </a:cubicBezTo>
                <a:cubicBezTo>
                  <a:pt x="364" y="102"/>
                  <a:pt x="364" y="102"/>
                  <a:pt x="364" y="102"/>
                </a:cubicBezTo>
                <a:cubicBezTo>
                  <a:pt x="362" y="102"/>
                  <a:pt x="339" y="103"/>
                  <a:pt x="315" y="113"/>
                </a:cubicBezTo>
                <a:cubicBezTo>
                  <a:pt x="315" y="111"/>
                  <a:pt x="315" y="109"/>
                  <a:pt x="315" y="108"/>
                </a:cubicBezTo>
                <a:cubicBezTo>
                  <a:pt x="315" y="50"/>
                  <a:pt x="270" y="5"/>
                  <a:pt x="268" y="3"/>
                </a:cubicBezTo>
                <a:cubicBezTo>
                  <a:pt x="266" y="0"/>
                  <a:pt x="262" y="0"/>
                  <a:pt x="259" y="3"/>
                </a:cubicBezTo>
                <a:cubicBezTo>
                  <a:pt x="257" y="5"/>
                  <a:pt x="212" y="50"/>
                  <a:pt x="212" y="108"/>
                </a:cubicBezTo>
                <a:cubicBezTo>
                  <a:pt x="212" y="109"/>
                  <a:pt x="212" y="111"/>
                  <a:pt x="213" y="113"/>
                </a:cubicBezTo>
                <a:cubicBezTo>
                  <a:pt x="188" y="103"/>
                  <a:pt x="165" y="102"/>
                  <a:pt x="164" y="102"/>
                </a:cubicBezTo>
                <a:cubicBezTo>
                  <a:pt x="160" y="102"/>
                  <a:pt x="158" y="105"/>
                  <a:pt x="158" y="108"/>
                </a:cubicBezTo>
                <a:cubicBezTo>
                  <a:pt x="158" y="110"/>
                  <a:pt x="158" y="156"/>
                  <a:pt x="187" y="185"/>
                </a:cubicBezTo>
                <a:cubicBezTo>
                  <a:pt x="197" y="196"/>
                  <a:pt x="211" y="204"/>
                  <a:pt x="228" y="209"/>
                </a:cubicBezTo>
                <a:cubicBezTo>
                  <a:pt x="231" y="210"/>
                  <a:pt x="235" y="208"/>
                  <a:pt x="236" y="205"/>
                </a:cubicBezTo>
                <a:cubicBezTo>
                  <a:pt x="237" y="201"/>
                  <a:pt x="235" y="198"/>
                  <a:pt x="232" y="197"/>
                </a:cubicBezTo>
                <a:cubicBezTo>
                  <a:pt x="217" y="193"/>
                  <a:pt x="205" y="186"/>
                  <a:pt x="195" y="177"/>
                </a:cubicBezTo>
                <a:cubicBezTo>
                  <a:pt x="176" y="157"/>
                  <a:pt x="171" y="128"/>
                  <a:pt x="170" y="115"/>
                </a:cubicBezTo>
                <a:cubicBezTo>
                  <a:pt x="179" y="116"/>
                  <a:pt x="197" y="118"/>
                  <a:pt x="214" y="127"/>
                </a:cubicBezTo>
                <a:cubicBezTo>
                  <a:pt x="217" y="142"/>
                  <a:pt x="222" y="157"/>
                  <a:pt x="230" y="172"/>
                </a:cubicBezTo>
                <a:cubicBezTo>
                  <a:pt x="231" y="174"/>
                  <a:pt x="233" y="175"/>
                  <a:pt x="235" y="175"/>
                </a:cubicBezTo>
                <a:cubicBezTo>
                  <a:pt x="236" y="175"/>
                  <a:pt x="237" y="175"/>
                  <a:pt x="238" y="174"/>
                </a:cubicBezTo>
                <a:cubicBezTo>
                  <a:pt x="241" y="173"/>
                  <a:pt x="242" y="169"/>
                  <a:pt x="241" y="166"/>
                </a:cubicBezTo>
                <a:cubicBezTo>
                  <a:pt x="233" y="152"/>
                  <a:pt x="228" y="137"/>
                  <a:pt x="226" y="123"/>
                </a:cubicBezTo>
                <a:cubicBezTo>
                  <a:pt x="226" y="123"/>
                  <a:pt x="226" y="123"/>
                  <a:pt x="226" y="123"/>
                </a:cubicBezTo>
                <a:cubicBezTo>
                  <a:pt x="225" y="119"/>
                  <a:pt x="225" y="116"/>
                  <a:pt x="225" y="113"/>
                </a:cubicBezTo>
                <a:cubicBezTo>
                  <a:pt x="224" y="111"/>
                  <a:pt x="224" y="109"/>
                  <a:pt x="224" y="108"/>
                </a:cubicBezTo>
                <a:cubicBezTo>
                  <a:pt x="224" y="65"/>
                  <a:pt x="253" y="28"/>
                  <a:pt x="264" y="16"/>
                </a:cubicBezTo>
                <a:cubicBezTo>
                  <a:pt x="275" y="28"/>
                  <a:pt x="303" y="65"/>
                  <a:pt x="303" y="108"/>
                </a:cubicBezTo>
                <a:cubicBezTo>
                  <a:pt x="303" y="109"/>
                  <a:pt x="303" y="110"/>
                  <a:pt x="303" y="111"/>
                </a:cubicBezTo>
                <a:cubicBezTo>
                  <a:pt x="303" y="115"/>
                  <a:pt x="302" y="118"/>
                  <a:pt x="302" y="123"/>
                </a:cubicBezTo>
                <a:cubicBezTo>
                  <a:pt x="302" y="123"/>
                  <a:pt x="302" y="123"/>
                  <a:pt x="302" y="123"/>
                </a:cubicBezTo>
                <a:cubicBezTo>
                  <a:pt x="295" y="168"/>
                  <a:pt x="260" y="204"/>
                  <a:pt x="259" y="204"/>
                </a:cubicBezTo>
                <a:cubicBezTo>
                  <a:pt x="259" y="205"/>
                  <a:pt x="258" y="205"/>
                  <a:pt x="258" y="206"/>
                </a:cubicBezTo>
                <a:cubicBezTo>
                  <a:pt x="258" y="206"/>
                  <a:pt x="258" y="206"/>
                  <a:pt x="258" y="206"/>
                </a:cubicBezTo>
                <a:cubicBezTo>
                  <a:pt x="258" y="207"/>
                  <a:pt x="258" y="208"/>
                  <a:pt x="258" y="208"/>
                </a:cubicBezTo>
                <a:cubicBezTo>
                  <a:pt x="258" y="246"/>
                  <a:pt x="258" y="246"/>
                  <a:pt x="258" y="246"/>
                </a:cubicBezTo>
                <a:cubicBezTo>
                  <a:pt x="243" y="245"/>
                  <a:pt x="228" y="243"/>
                  <a:pt x="214" y="239"/>
                </a:cubicBezTo>
                <a:cubicBezTo>
                  <a:pt x="179" y="229"/>
                  <a:pt x="142" y="229"/>
                  <a:pt x="108" y="239"/>
                </a:cubicBezTo>
                <a:cubicBezTo>
                  <a:pt x="75" y="248"/>
                  <a:pt x="41" y="248"/>
                  <a:pt x="8" y="239"/>
                </a:cubicBezTo>
                <a:cubicBezTo>
                  <a:pt x="5" y="238"/>
                  <a:pt x="2" y="240"/>
                  <a:pt x="1" y="243"/>
                </a:cubicBezTo>
                <a:cubicBezTo>
                  <a:pt x="0" y="246"/>
                  <a:pt x="2" y="250"/>
                  <a:pt x="5" y="250"/>
                </a:cubicBezTo>
                <a:cubicBezTo>
                  <a:pt x="39" y="260"/>
                  <a:pt x="76" y="260"/>
                  <a:pt x="111" y="250"/>
                </a:cubicBezTo>
                <a:cubicBezTo>
                  <a:pt x="144" y="241"/>
                  <a:pt x="178" y="241"/>
                  <a:pt x="211" y="250"/>
                </a:cubicBezTo>
                <a:cubicBezTo>
                  <a:pt x="228" y="255"/>
                  <a:pt x="246" y="258"/>
                  <a:pt x="264" y="258"/>
                </a:cubicBezTo>
                <a:cubicBezTo>
                  <a:pt x="282" y="258"/>
                  <a:pt x="299" y="255"/>
                  <a:pt x="317" y="250"/>
                </a:cubicBezTo>
                <a:cubicBezTo>
                  <a:pt x="349" y="241"/>
                  <a:pt x="384" y="241"/>
                  <a:pt x="416" y="250"/>
                </a:cubicBezTo>
                <a:cubicBezTo>
                  <a:pt x="451" y="260"/>
                  <a:pt x="488" y="260"/>
                  <a:pt x="523" y="250"/>
                </a:cubicBezTo>
                <a:cubicBezTo>
                  <a:pt x="526" y="250"/>
                  <a:pt x="528" y="246"/>
                  <a:pt x="527" y="243"/>
                </a:cubicBezTo>
                <a:close/>
                <a:moveTo>
                  <a:pt x="313" y="127"/>
                </a:moveTo>
                <a:cubicBezTo>
                  <a:pt x="330" y="118"/>
                  <a:pt x="348" y="116"/>
                  <a:pt x="357" y="115"/>
                </a:cubicBezTo>
                <a:cubicBezTo>
                  <a:pt x="356" y="128"/>
                  <a:pt x="351" y="157"/>
                  <a:pt x="332" y="177"/>
                </a:cubicBezTo>
                <a:cubicBezTo>
                  <a:pt x="316" y="193"/>
                  <a:pt x="293" y="199"/>
                  <a:pt x="278" y="201"/>
                </a:cubicBezTo>
                <a:cubicBezTo>
                  <a:pt x="290" y="187"/>
                  <a:pt x="308" y="160"/>
                  <a:pt x="313" y="127"/>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18" name="Content Placeholder 3">
            <a:extLst>
              <a:ext uri="{FF2B5EF4-FFF2-40B4-BE49-F238E27FC236}">
                <a16:creationId xmlns:a16="http://schemas.microsoft.com/office/drawing/2014/main" id="{91F1CC4D-C088-4FE7-BE02-9556147E268C}"/>
              </a:ext>
            </a:extLst>
          </p:cNvPr>
          <p:cNvSpPr txBox="1">
            <a:spLocks/>
          </p:cNvSpPr>
          <p:nvPr/>
        </p:nvSpPr>
        <p:spPr>
          <a:xfrm>
            <a:off x="7937340" y="3810411"/>
            <a:ext cx="3781751" cy="212230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200"/>
              </a:spcBef>
              <a:spcAft>
                <a:spcPts val="1200"/>
              </a:spcAft>
              <a:buNone/>
            </a:pPr>
            <a:r>
              <a:rPr lang="en-US"/>
              <a:t>4 hour </a:t>
            </a:r>
            <a:r>
              <a:rPr lang="en-US" err="1"/>
              <a:t>rainfast</a:t>
            </a:r>
            <a:r>
              <a:rPr lang="en-US"/>
              <a:t> period</a:t>
            </a:r>
          </a:p>
          <a:p>
            <a:pPr marL="0" indent="0">
              <a:spcBef>
                <a:spcPts val="1200"/>
              </a:spcBef>
              <a:spcAft>
                <a:spcPts val="1200"/>
              </a:spcAft>
              <a:buNone/>
            </a:pPr>
            <a:r>
              <a:rPr lang="en-US"/>
              <a:t>Drought and cold stress </a:t>
            </a:r>
            <a:br>
              <a:rPr lang="en-US"/>
            </a:br>
            <a:r>
              <a:rPr lang="en-US"/>
              <a:t>can reduce effectiveness</a:t>
            </a:r>
          </a:p>
          <a:p>
            <a:pPr marL="0" indent="0">
              <a:spcBef>
                <a:spcPts val="1200"/>
              </a:spcBef>
              <a:spcAft>
                <a:spcPts val="1200"/>
              </a:spcAft>
              <a:buNone/>
            </a:pPr>
            <a:r>
              <a:rPr lang="en-US"/>
              <a:t>Spray while weeds are </a:t>
            </a:r>
            <a:br>
              <a:rPr lang="en-US"/>
            </a:br>
            <a:r>
              <a:rPr lang="en-US"/>
              <a:t>actively growing</a:t>
            </a:r>
          </a:p>
        </p:txBody>
      </p:sp>
      <p:grpSp>
        <p:nvGrpSpPr>
          <p:cNvPr id="2" name="Group 1">
            <a:extLst>
              <a:ext uri="{FF2B5EF4-FFF2-40B4-BE49-F238E27FC236}">
                <a16:creationId xmlns:a16="http://schemas.microsoft.com/office/drawing/2014/main" id="{46B80002-B39F-4AA7-80E3-535A89E840C5}"/>
              </a:ext>
            </a:extLst>
          </p:cNvPr>
          <p:cNvGrpSpPr/>
          <p:nvPr/>
        </p:nvGrpSpPr>
        <p:grpSpPr>
          <a:xfrm>
            <a:off x="7937101" y="4280409"/>
            <a:ext cx="2938500" cy="881866"/>
            <a:chOff x="6695523" y="4197274"/>
            <a:chExt cx="3077127" cy="881866"/>
          </a:xfrm>
        </p:grpSpPr>
        <p:cxnSp>
          <p:nvCxnSpPr>
            <p:cNvPr id="13" name="Straight Connector 12">
              <a:extLst>
                <a:ext uri="{FF2B5EF4-FFF2-40B4-BE49-F238E27FC236}">
                  <a16:creationId xmlns:a16="http://schemas.microsoft.com/office/drawing/2014/main" id="{7A7DC0F2-AF1A-4C11-A9E8-EB4CED4033D2}"/>
                </a:ext>
              </a:extLst>
            </p:cNvPr>
            <p:cNvCxnSpPr>
              <a:cxnSpLocks/>
            </p:cNvCxnSpPr>
            <p:nvPr/>
          </p:nvCxnSpPr>
          <p:spPr>
            <a:xfrm>
              <a:off x="6695523" y="4197274"/>
              <a:ext cx="3077127"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CF8A616-8ABC-4316-983D-F7AA364D886E}"/>
                </a:ext>
              </a:extLst>
            </p:cNvPr>
            <p:cNvCxnSpPr>
              <a:cxnSpLocks/>
            </p:cNvCxnSpPr>
            <p:nvPr/>
          </p:nvCxnSpPr>
          <p:spPr>
            <a:xfrm>
              <a:off x="6695523" y="5079140"/>
              <a:ext cx="3077127"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0" name="Content Placeholder 5">
            <a:extLst>
              <a:ext uri="{FF2B5EF4-FFF2-40B4-BE49-F238E27FC236}">
                <a16:creationId xmlns:a16="http://schemas.microsoft.com/office/drawing/2014/main" id="{257AD729-F122-46FB-867D-241418C7AB4F}"/>
              </a:ext>
            </a:extLst>
          </p:cNvPr>
          <p:cNvSpPr txBox="1">
            <a:spLocks/>
          </p:cNvSpPr>
          <p:nvPr/>
        </p:nvSpPr>
        <p:spPr>
          <a:xfrm>
            <a:off x="2285412" y="6022715"/>
            <a:ext cx="5181600" cy="203133"/>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lang="en-US" sz="800">
                <a:latin typeface="Arial Narrow" charset="0"/>
              </a:rPr>
              <a:t>* In-crop labeled rate</a:t>
            </a:r>
            <a:endParaRPr kumimoji="0" lang="en-US" sz="800" b="0" i="0" u="none" strike="noStrike" kern="1200" cap="none" spc="0" normalizeH="0" baseline="0" noProof="0">
              <a:ln>
                <a:noFill/>
              </a:ln>
              <a:solidFill>
                <a:schemeClr val="tx1"/>
              </a:solidFill>
              <a:effectLst/>
              <a:uLnTx/>
              <a:uFillTx/>
              <a:latin typeface="Arial Narrow" charset="0"/>
              <a:ea typeface="+mn-ea"/>
              <a:cs typeface="+mn-cs"/>
            </a:endParaRPr>
          </a:p>
        </p:txBody>
      </p:sp>
      <p:sp>
        <p:nvSpPr>
          <p:cNvPr id="23" name="Title 1">
            <a:extLst>
              <a:ext uri="{FF2B5EF4-FFF2-40B4-BE49-F238E27FC236}">
                <a16:creationId xmlns:a16="http://schemas.microsoft.com/office/drawing/2014/main" id="{A3631F7C-F30D-4D40-B4D7-FFBBB804D82A}"/>
              </a:ext>
            </a:extLst>
          </p:cNvPr>
          <p:cNvSpPr txBox="1">
            <a:spLocks/>
          </p:cNvSpPr>
          <p:nvPr/>
        </p:nvSpPr>
        <p:spPr>
          <a:xfrm>
            <a:off x="838200" y="169608"/>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Applications of low-volatility formulations of dicamba </a:t>
            </a:r>
            <a:endParaRPr kumimoji="0" lang="en-US"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endParaRPr>
          </a:p>
        </p:txBody>
      </p:sp>
      <p:sp>
        <p:nvSpPr>
          <p:cNvPr id="24" name="Text Placeholder 1">
            <a:extLst>
              <a:ext uri="{FF2B5EF4-FFF2-40B4-BE49-F238E27FC236}">
                <a16:creationId xmlns:a16="http://schemas.microsoft.com/office/drawing/2014/main" id="{262E9000-87BA-4FD5-A8BE-F47AB5E9BCDD}"/>
              </a:ext>
            </a:extLst>
          </p:cNvPr>
          <p:cNvSpPr txBox="1">
            <a:spLocks/>
          </p:cNvSpPr>
          <p:nvPr/>
        </p:nvSpPr>
        <p:spPr>
          <a:xfrm>
            <a:off x="838200" y="1233852"/>
            <a:ext cx="10515600" cy="341632"/>
          </a:xfrm>
          <a:prstGeom prst="rect">
            <a:avLst/>
          </a:prstGeom>
        </p:spPr>
        <p:txBody>
          <a:bodyPr vert="horz"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Weed Resistance Management</a:t>
            </a:r>
          </a:p>
        </p:txBody>
      </p:sp>
      <p:graphicFrame>
        <p:nvGraphicFramePr>
          <p:cNvPr id="25" name="Content Placeholder 7">
            <a:extLst>
              <a:ext uri="{FF2B5EF4-FFF2-40B4-BE49-F238E27FC236}">
                <a16:creationId xmlns:a16="http://schemas.microsoft.com/office/drawing/2014/main" id="{A9378483-EC95-4131-AD6F-CC9A1DE6FDFB}"/>
              </a:ext>
            </a:extLst>
          </p:cNvPr>
          <p:cNvGraphicFramePr>
            <a:graphicFrameLocks/>
          </p:cNvGraphicFramePr>
          <p:nvPr>
            <p:extLst>
              <p:ext uri="{D42A27DB-BD31-4B8C-83A1-F6EECF244321}">
                <p14:modId xmlns:p14="http://schemas.microsoft.com/office/powerpoint/2010/main" val="2613616731"/>
              </p:ext>
            </p:extLst>
          </p:nvPr>
        </p:nvGraphicFramePr>
        <p:xfrm>
          <a:off x="86736" y="3716073"/>
          <a:ext cx="4565032" cy="2432441"/>
        </p:xfrm>
        <a:graphic>
          <a:graphicData uri="http://schemas.openxmlformats.org/drawingml/2006/table">
            <a:tbl>
              <a:tblPr firstRow="1" bandRow="1">
                <a:tableStyleId>{5C22544A-7EE6-4342-B048-85BDC9FD1C3A}</a:tableStyleId>
              </a:tblPr>
              <a:tblGrid>
                <a:gridCol w="3005173">
                  <a:extLst>
                    <a:ext uri="{9D8B030D-6E8A-4147-A177-3AD203B41FA5}">
                      <a16:colId xmlns:a16="http://schemas.microsoft.com/office/drawing/2014/main" val="2286531471"/>
                    </a:ext>
                  </a:extLst>
                </a:gridCol>
                <a:gridCol w="1559859">
                  <a:extLst>
                    <a:ext uri="{9D8B030D-6E8A-4147-A177-3AD203B41FA5}">
                      <a16:colId xmlns:a16="http://schemas.microsoft.com/office/drawing/2014/main" val="859317391"/>
                    </a:ext>
                  </a:extLst>
                </a:gridCol>
              </a:tblGrid>
              <a:tr h="365367">
                <a:tc>
                  <a:txBody>
                    <a:bodyPr/>
                    <a:lstStyle/>
                    <a:p>
                      <a:r>
                        <a:rPr lang="en-US" sz="1600" b="0" spc="600" baseline="0">
                          <a:latin typeface="Arial Narrow" panose="020B0606020202030204" pitchFamily="34" charset="0"/>
                        </a:rPr>
                        <a:t>BRAND</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600" b="0" spc="600" baseline="0">
                          <a:latin typeface="Arial Narrow" panose="020B0606020202030204" pitchFamily="34" charset="0"/>
                        </a:rPr>
                        <a:t>RATE</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670449">
                <a:tc>
                  <a:txBody>
                    <a:bodyPr/>
                    <a:lstStyle/>
                    <a:p>
                      <a:r>
                        <a:rPr lang="en-US" sz="1600" err="1">
                          <a:latin typeface="Arial Narrow" panose="020B0606020202030204" pitchFamily="34" charset="0"/>
                        </a:rPr>
                        <a:t>XtendiMax</a:t>
                      </a:r>
                      <a:r>
                        <a:rPr lang="en-US" sz="1600" baseline="30000">
                          <a:latin typeface="Arial Narrow" panose="020B0606020202030204" pitchFamily="34" charset="0"/>
                        </a:rPr>
                        <a:t>®</a:t>
                      </a:r>
                      <a:r>
                        <a:rPr lang="en-US" sz="1600">
                          <a:latin typeface="Arial Narrow" panose="020B0606020202030204" pitchFamily="34" charset="0"/>
                        </a:rPr>
                        <a:t> Herbicide with </a:t>
                      </a:r>
                      <a:r>
                        <a:rPr lang="en-US" sz="1600" err="1">
                          <a:latin typeface="Arial Narrow" panose="020B0606020202030204" pitchFamily="34" charset="0"/>
                        </a:rPr>
                        <a:t>VaporGrip</a:t>
                      </a:r>
                      <a:r>
                        <a:rPr lang="en-US" sz="1600" baseline="30000">
                          <a:latin typeface="Arial Narrow" panose="020B0606020202030204" pitchFamily="34" charset="0"/>
                        </a:rPr>
                        <a:t>®</a:t>
                      </a:r>
                      <a:r>
                        <a:rPr lang="en-US" sz="1600">
                          <a:latin typeface="Arial Narrow" panose="020B0606020202030204" pitchFamily="34" charset="0"/>
                        </a:rPr>
                        <a:t> Technology </a:t>
                      </a:r>
                      <a:r>
                        <a:rPr lang="en-US" sz="1600" b="1">
                          <a:latin typeface="Arial Narrow" panose="020B0606020202030204" pitchFamily="34" charset="0"/>
                        </a:rPr>
                        <a:t>(Bayer)</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a:solidFill>
                            <a:schemeClr val="bg1"/>
                          </a:solidFill>
                          <a:latin typeface="Arial Black" panose="020B0A04020102020204" pitchFamily="34" charset="0"/>
                        </a:rPr>
                        <a:t>22 </a:t>
                      </a:r>
                      <a:r>
                        <a:rPr lang="en-US" sz="1800" err="1">
                          <a:solidFill>
                            <a:schemeClr val="bg1"/>
                          </a:solidFill>
                          <a:latin typeface="Arial Black" panose="020B0A04020102020204" pitchFamily="34" charset="0"/>
                        </a:rPr>
                        <a:t>fl</a:t>
                      </a:r>
                      <a:r>
                        <a:rPr lang="en-US" sz="1800">
                          <a:solidFill>
                            <a:schemeClr val="bg1"/>
                          </a:solidFill>
                          <a:latin typeface="Arial Black" panose="020B0A04020102020204" pitchFamily="34" charset="0"/>
                        </a:rPr>
                        <a:t> </a:t>
                      </a:r>
                      <a:r>
                        <a:rPr lang="en-US" sz="1800" err="1">
                          <a:solidFill>
                            <a:schemeClr val="bg1"/>
                          </a:solidFill>
                          <a:latin typeface="Arial Black" panose="020B0A04020102020204" pitchFamily="34" charset="0"/>
                        </a:rPr>
                        <a:t>oz</a:t>
                      </a:r>
                      <a:r>
                        <a:rPr lang="en-US" sz="1800">
                          <a:solidFill>
                            <a:schemeClr val="bg1"/>
                          </a:solidFill>
                          <a:latin typeface="Arial Black" panose="020B0A04020102020204" pitchFamily="34" charset="0"/>
                        </a:rPr>
                        <a:t>/A</a:t>
                      </a:r>
                      <a:endParaRPr lang="en-US" sz="1800" baseline="30000">
                        <a:solidFill>
                          <a:schemeClr val="bg1"/>
                        </a:solidFill>
                        <a:latin typeface="Arial Black" panose="020B0A04020102020204" pitchFamily="34" charset="0"/>
                      </a:endParaRP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92200886"/>
                  </a:ext>
                </a:extLst>
              </a:tr>
              <a:tr h="615887">
                <a:tc>
                  <a:txBody>
                    <a:bodyPr/>
                    <a:lstStyle/>
                    <a:p>
                      <a:r>
                        <a:rPr lang="en-US" sz="1600" err="1">
                          <a:solidFill>
                            <a:schemeClr val="tx1"/>
                          </a:solidFill>
                          <a:latin typeface="Arial Narrow" panose="020B0606020202030204" pitchFamily="34" charset="0"/>
                        </a:rPr>
                        <a:t>Engenia</a:t>
                      </a:r>
                      <a:r>
                        <a:rPr lang="en-US" sz="1600" baseline="30000">
                          <a:latin typeface="Arial Narrow" panose="020B0606020202030204" pitchFamily="34" charset="0"/>
                        </a:rPr>
                        <a:t>®</a:t>
                      </a:r>
                      <a:r>
                        <a:rPr lang="en-US" sz="1600">
                          <a:solidFill>
                            <a:schemeClr val="tx1"/>
                          </a:solidFill>
                          <a:latin typeface="Arial Narrow" panose="020B0606020202030204" pitchFamily="34" charset="0"/>
                        </a:rPr>
                        <a:t> Herbicide </a:t>
                      </a:r>
                      <a:r>
                        <a:rPr lang="en-US" sz="1600" b="1">
                          <a:solidFill>
                            <a:schemeClr val="tx1"/>
                          </a:solidFill>
                          <a:latin typeface="Arial Narrow" panose="020B0606020202030204" pitchFamily="34" charset="0"/>
                        </a:rPr>
                        <a:t>(BASF)</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a:solidFill>
                            <a:schemeClr val="bg1"/>
                          </a:solidFill>
                          <a:latin typeface="Arial Black" panose="020B0A04020102020204" pitchFamily="34" charset="0"/>
                        </a:rPr>
                        <a:t>12.8 </a:t>
                      </a:r>
                      <a:r>
                        <a:rPr lang="en-US" sz="1800" err="1">
                          <a:solidFill>
                            <a:schemeClr val="bg1"/>
                          </a:solidFill>
                          <a:latin typeface="Arial Black" panose="020B0A04020102020204" pitchFamily="34" charset="0"/>
                        </a:rPr>
                        <a:t>fl</a:t>
                      </a:r>
                      <a:r>
                        <a:rPr lang="en-US" sz="1800">
                          <a:solidFill>
                            <a:schemeClr val="bg1"/>
                          </a:solidFill>
                          <a:latin typeface="Arial Black" panose="020B0A04020102020204" pitchFamily="34" charset="0"/>
                        </a:rPr>
                        <a:t> oz/A</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08942739"/>
                  </a:ext>
                </a:extLst>
              </a:tr>
              <a:tr h="780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Narrow" panose="020B0606020202030204" pitchFamily="34" charset="0"/>
                        </a:rPr>
                        <a:t>Tavium</a:t>
                      </a:r>
                      <a:r>
                        <a:rPr lang="en-US" sz="1600" baseline="30000">
                          <a:solidFill>
                            <a:schemeClr val="tx1"/>
                          </a:solidFill>
                          <a:latin typeface="Arial Narrow" panose="020B0606020202030204" pitchFamily="34" charset="0"/>
                        </a:rPr>
                        <a:t>®</a:t>
                      </a:r>
                      <a:r>
                        <a:rPr lang="en-US" sz="1600">
                          <a:solidFill>
                            <a:schemeClr val="tx1"/>
                          </a:solidFill>
                          <a:latin typeface="Arial Narrow" panose="020B0606020202030204" pitchFamily="34" charset="0"/>
                        </a:rPr>
                        <a:t> Plus VaporGrip</a:t>
                      </a:r>
                      <a:r>
                        <a:rPr lang="en-US" sz="1600" baseline="30000">
                          <a:solidFill>
                            <a:schemeClr val="tx1"/>
                          </a:solidFill>
                          <a:latin typeface="Arial Narrow" panose="020B0606020202030204" pitchFamily="34" charset="0"/>
                        </a:rPr>
                        <a:t>® </a:t>
                      </a:r>
                      <a:r>
                        <a:rPr lang="en-US" sz="1600">
                          <a:solidFill>
                            <a:schemeClr val="tx1"/>
                          </a:solidFill>
                          <a:latin typeface="Arial Narrow" panose="020B0606020202030204" pitchFamily="34" charset="0"/>
                        </a:rPr>
                        <a:t>Technology herbicide </a:t>
                      </a:r>
                      <a:r>
                        <a:rPr lang="en-US" sz="1600" b="1">
                          <a:solidFill>
                            <a:schemeClr val="tx1"/>
                          </a:solidFill>
                          <a:latin typeface="Arial Narrow" panose="020B0606020202030204" pitchFamily="34" charset="0"/>
                        </a:rPr>
                        <a:t>(Syngenta)</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a:solidFill>
                            <a:schemeClr val="bg1"/>
                          </a:solidFill>
                          <a:latin typeface="Arial Black" panose="020B0A04020102020204" pitchFamily="34" charset="0"/>
                        </a:rPr>
                        <a:t>56.5 </a:t>
                      </a:r>
                      <a:r>
                        <a:rPr lang="en-US" sz="1800" err="1">
                          <a:solidFill>
                            <a:schemeClr val="bg1"/>
                          </a:solidFill>
                          <a:latin typeface="Arial Black" panose="020B0A04020102020204" pitchFamily="34" charset="0"/>
                        </a:rPr>
                        <a:t>fl</a:t>
                      </a:r>
                      <a:r>
                        <a:rPr lang="en-US" sz="1800">
                          <a:solidFill>
                            <a:schemeClr val="bg1"/>
                          </a:solidFill>
                          <a:latin typeface="Arial Black" panose="020B0A04020102020204" pitchFamily="34" charset="0"/>
                        </a:rPr>
                        <a:t> oz/A</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19181117"/>
                  </a:ext>
                </a:extLst>
              </a:tr>
            </a:tbl>
          </a:graphicData>
        </a:graphic>
      </p:graphicFrame>
      <p:pic>
        <p:nvPicPr>
          <p:cNvPr id="6" name="Picture 5">
            <a:extLst>
              <a:ext uri="{FF2B5EF4-FFF2-40B4-BE49-F238E27FC236}">
                <a16:creationId xmlns:a16="http://schemas.microsoft.com/office/drawing/2014/main" id="{7ECFEE4E-B2E4-456E-9C9C-8FDE355456D1}"/>
              </a:ext>
            </a:extLst>
          </p:cNvPr>
          <p:cNvPicPr>
            <a:picLocks noChangeAspect="1"/>
          </p:cNvPicPr>
          <p:nvPr/>
        </p:nvPicPr>
        <p:blipFill>
          <a:blip r:embed="rId3"/>
          <a:stretch>
            <a:fillRect/>
          </a:stretch>
        </p:blipFill>
        <p:spPr>
          <a:xfrm>
            <a:off x="889980" y="6362700"/>
            <a:ext cx="1171575" cy="495300"/>
          </a:xfrm>
          <a:prstGeom prst="rect">
            <a:avLst/>
          </a:prstGeom>
        </p:spPr>
      </p:pic>
      <p:pic>
        <p:nvPicPr>
          <p:cNvPr id="26" name="Picture 25">
            <a:extLst>
              <a:ext uri="{FF2B5EF4-FFF2-40B4-BE49-F238E27FC236}">
                <a16:creationId xmlns:a16="http://schemas.microsoft.com/office/drawing/2014/main" id="{5A953D7F-D7C1-4217-A22A-0C0F498523C8}"/>
              </a:ext>
            </a:extLst>
          </p:cNvPr>
          <p:cNvPicPr>
            <a:picLocks noChangeAspect="1"/>
          </p:cNvPicPr>
          <p:nvPr/>
        </p:nvPicPr>
        <p:blipFill>
          <a:blip r:embed="rId4"/>
          <a:stretch>
            <a:fillRect/>
          </a:stretch>
        </p:blipFill>
        <p:spPr>
          <a:xfrm>
            <a:off x="838200" y="6393164"/>
            <a:ext cx="1333500" cy="378995"/>
          </a:xfrm>
          <a:prstGeom prst="rect">
            <a:avLst/>
          </a:prstGeom>
        </p:spPr>
      </p:pic>
      <p:sp>
        <p:nvSpPr>
          <p:cNvPr id="5" name="TextBox 4">
            <a:extLst>
              <a:ext uri="{FF2B5EF4-FFF2-40B4-BE49-F238E27FC236}">
                <a16:creationId xmlns:a16="http://schemas.microsoft.com/office/drawing/2014/main" id="{64FB0C06-8347-4969-9AED-6CFCD7351DFB}"/>
              </a:ext>
            </a:extLst>
          </p:cNvPr>
          <p:cNvSpPr txBox="1"/>
          <p:nvPr/>
        </p:nvSpPr>
        <p:spPr>
          <a:xfrm>
            <a:off x="5128057" y="4641183"/>
            <a:ext cx="2551469"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00B050"/>
                </a:solidFill>
              </a:rPr>
              <a:t>Approved VRA, </a:t>
            </a:r>
          </a:p>
          <a:p>
            <a:r>
              <a:rPr lang="en-US" sz="2000">
                <a:solidFill>
                  <a:srgbClr val="00B050"/>
                </a:solidFill>
              </a:rPr>
              <a:t>and DRA if required*</a:t>
            </a:r>
          </a:p>
        </p:txBody>
      </p:sp>
      <p:sp>
        <p:nvSpPr>
          <p:cNvPr id="7" name="TextBox 6">
            <a:extLst>
              <a:ext uri="{FF2B5EF4-FFF2-40B4-BE49-F238E27FC236}">
                <a16:creationId xmlns:a16="http://schemas.microsoft.com/office/drawing/2014/main" id="{63E82485-6F84-46B9-AAF3-3D93E4CB2875}"/>
              </a:ext>
            </a:extLst>
          </p:cNvPr>
          <p:cNvSpPr txBox="1"/>
          <p:nvPr/>
        </p:nvSpPr>
        <p:spPr>
          <a:xfrm>
            <a:off x="4574152" y="4543275"/>
            <a:ext cx="8832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5400"/>
              <a:t>+</a:t>
            </a:r>
          </a:p>
        </p:txBody>
      </p:sp>
      <p:cxnSp>
        <p:nvCxnSpPr>
          <p:cNvPr id="8" name="Straight Arrow Connector 7">
            <a:extLst>
              <a:ext uri="{FF2B5EF4-FFF2-40B4-BE49-F238E27FC236}">
                <a16:creationId xmlns:a16="http://schemas.microsoft.com/office/drawing/2014/main" id="{7F2BF176-E7DA-4AED-8418-E22DB22823A4}"/>
              </a:ext>
            </a:extLst>
          </p:cNvPr>
          <p:cNvCxnSpPr/>
          <p:nvPr/>
        </p:nvCxnSpPr>
        <p:spPr>
          <a:xfrm flipH="1">
            <a:off x="7559373" y="3770337"/>
            <a:ext cx="21600" cy="213840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DC47424-802C-4E71-978A-B50023C7E1E6}"/>
              </a:ext>
            </a:extLst>
          </p:cNvPr>
          <p:cNvSpPr txBox="1"/>
          <p:nvPr/>
        </p:nvSpPr>
        <p:spPr>
          <a:xfrm>
            <a:off x="4704009" y="5870302"/>
            <a:ext cx="299713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 see product label website for approved tank-mix</a:t>
            </a:r>
            <a:endParaRPr lang="en-US" sz="2400"/>
          </a:p>
          <a:p>
            <a:r>
              <a:rPr lang="en-US" sz="1000"/>
              <a:t>(</a:t>
            </a:r>
            <a:r>
              <a:rPr lang="en-US" sz="1000" err="1"/>
              <a:t>eg</a:t>
            </a:r>
            <a:r>
              <a:rPr lang="en-US" sz="1000"/>
              <a:t> </a:t>
            </a:r>
            <a:r>
              <a:rPr lang="en-US" sz="1000">
                <a:hlinkClick r:id="rId5"/>
              </a:rPr>
              <a:t>www.xtendimaxapplicationrequirements.com</a:t>
            </a:r>
            <a:r>
              <a:rPr lang="en-US" sz="1000"/>
              <a:t> )</a:t>
            </a:r>
            <a:endParaRPr lang="en-US" sz="2400"/>
          </a:p>
        </p:txBody>
      </p:sp>
    </p:spTree>
    <p:extLst>
      <p:ext uri="{BB962C8B-B14F-4D97-AF65-F5344CB8AC3E}">
        <p14:creationId xmlns:p14="http://schemas.microsoft.com/office/powerpoint/2010/main" val="376744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E247DDB-5F3F-4AB7-BB22-84128B555D3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21438373">
            <a:off x="300230" y="2058929"/>
            <a:ext cx="5746988" cy="3787767"/>
          </a:xfrm>
          <a:prstGeom prst="rect">
            <a:avLst/>
          </a:prstGeom>
        </p:spPr>
      </p:pic>
      <p:pic>
        <p:nvPicPr>
          <p:cNvPr id="6" name="Picture 5">
            <a:extLst>
              <a:ext uri="{FF2B5EF4-FFF2-40B4-BE49-F238E27FC236}">
                <a16:creationId xmlns:a16="http://schemas.microsoft.com/office/drawing/2014/main" id="{96709370-CBF2-4604-AA4F-6CAEEA995C8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21446292">
            <a:off x="6220300" y="2023287"/>
            <a:ext cx="5677098" cy="3771928"/>
          </a:xfrm>
          <a:prstGeom prst="rect">
            <a:avLst/>
          </a:prstGeom>
        </p:spPr>
      </p:pic>
      <p:sp>
        <p:nvSpPr>
          <p:cNvPr id="15" name="Text Placeholder 14">
            <a:extLst>
              <a:ext uri="{FF2B5EF4-FFF2-40B4-BE49-F238E27FC236}">
                <a16:creationId xmlns:a16="http://schemas.microsoft.com/office/drawing/2014/main" id="{00CC5341-A45C-4554-90D1-F19AF8B23873}"/>
              </a:ext>
            </a:extLst>
          </p:cNvPr>
          <p:cNvSpPr>
            <a:spLocks noGrp="1"/>
          </p:cNvSpPr>
          <p:nvPr>
            <p:ph type="body" sz="quarter" idx="14"/>
          </p:nvPr>
        </p:nvSpPr>
        <p:spPr>
          <a:xfrm>
            <a:off x="790575" y="534743"/>
            <a:ext cx="10515600" cy="590931"/>
          </a:xfrm>
        </p:spPr>
        <p:txBody>
          <a:bodyPr/>
          <a:lstStyle/>
          <a:p>
            <a:r>
              <a:rPr lang="en-US"/>
              <a:t>Spray pressure should balance weed coverage and production of fine spray particles</a:t>
            </a:r>
          </a:p>
        </p:txBody>
      </p:sp>
      <p:sp>
        <p:nvSpPr>
          <p:cNvPr id="21" name="Footer Placeholder 20">
            <a:extLst>
              <a:ext uri="{FF2B5EF4-FFF2-40B4-BE49-F238E27FC236}">
                <a16:creationId xmlns:a16="http://schemas.microsoft.com/office/drawing/2014/main" id="{EC5EDDE6-7F47-4F89-B1AF-22F6E61D1FE4}"/>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22" name="Slide Number Placeholder 21">
            <a:extLst>
              <a:ext uri="{FF2B5EF4-FFF2-40B4-BE49-F238E27FC236}">
                <a16:creationId xmlns:a16="http://schemas.microsoft.com/office/drawing/2014/main" id="{6F2F4F0C-5F2C-464E-8065-AC5EE746226E}"/>
              </a:ext>
            </a:extLst>
          </p:cNvPr>
          <p:cNvSpPr>
            <a:spLocks noGrp="1"/>
          </p:cNvSpPr>
          <p:nvPr>
            <p:ph type="sldNum" sz="quarter" idx="16"/>
          </p:nvPr>
        </p:nvSpPr>
        <p:spPr/>
        <p:txBody>
          <a:bodyPr/>
          <a:lstStyle/>
          <a:p>
            <a:pPr lvl="0"/>
            <a:fld id="{5A1C2420-D500-4FDF-A245-39DCF46675EA}" type="slidenum">
              <a:rPr lang="en-US" noProof="0" smtClean="0"/>
              <a:pPr lvl="0"/>
              <a:t>52</a:t>
            </a:fld>
            <a:endParaRPr lang="en-US" noProof="0"/>
          </a:p>
        </p:txBody>
      </p:sp>
      <p:sp>
        <p:nvSpPr>
          <p:cNvPr id="31" name="Title 1">
            <a:extLst>
              <a:ext uri="{FF2B5EF4-FFF2-40B4-BE49-F238E27FC236}">
                <a16:creationId xmlns:a16="http://schemas.microsoft.com/office/drawing/2014/main" id="{A91EBFF7-C78B-3E43-91B1-98DA70EFE808}"/>
              </a:ext>
            </a:extLst>
          </p:cNvPr>
          <p:cNvSpPr>
            <a:spLocks noGrp="1"/>
          </p:cNvSpPr>
          <p:nvPr>
            <p:ph type="title"/>
          </p:nvPr>
        </p:nvSpPr>
        <p:spPr>
          <a:xfrm>
            <a:off x="657224" y="108464"/>
            <a:ext cx="10786241" cy="590931"/>
          </a:xfrm>
        </p:spPr>
        <p:txBody>
          <a:bodyPr/>
          <a:lstStyle/>
          <a:p>
            <a:r>
              <a:rPr lang="en-US"/>
              <a:t>Pressure IMPACT ON WEED COVERAGE</a:t>
            </a:r>
          </a:p>
        </p:txBody>
      </p:sp>
      <p:sp>
        <p:nvSpPr>
          <p:cNvPr id="68" name="Content Placeholder 26">
            <a:extLst>
              <a:ext uri="{FF2B5EF4-FFF2-40B4-BE49-F238E27FC236}">
                <a16:creationId xmlns:a16="http://schemas.microsoft.com/office/drawing/2014/main" id="{CBEE4BF5-F464-4613-BF5E-CCD3F456EB45}"/>
              </a:ext>
            </a:extLst>
          </p:cNvPr>
          <p:cNvSpPr txBox="1">
            <a:spLocks/>
          </p:cNvSpPr>
          <p:nvPr/>
        </p:nvSpPr>
        <p:spPr>
          <a:xfrm>
            <a:off x="1179493" y="1109110"/>
            <a:ext cx="5181599" cy="5355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Both pressures shown below are within approved range; yet higher PSI improves coverage</a:t>
            </a:r>
          </a:p>
        </p:txBody>
      </p:sp>
      <p:cxnSp>
        <p:nvCxnSpPr>
          <p:cNvPr id="71" name="Straight Connector 70">
            <a:extLst>
              <a:ext uri="{FF2B5EF4-FFF2-40B4-BE49-F238E27FC236}">
                <a16:creationId xmlns:a16="http://schemas.microsoft.com/office/drawing/2014/main" id="{8B50C6DC-DF3F-4DA6-AD2E-D6CAE0F463A4}"/>
              </a:ext>
            </a:extLst>
          </p:cNvPr>
          <p:cNvCxnSpPr>
            <a:cxnSpLocks/>
          </p:cNvCxnSpPr>
          <p:nvPr/>
        </p:nvCxnSpPr>
        <p:spPr>
          <a:xfrm>
            <a:off x="809624" y="1733782"/>
            <a:ext cx="105156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Content Placeholder 26">
            <a:extLst>
              <a:ext uri="{FF2B5EF4-FFF2-40B4-BE49-F238E27FC236}">
                <a16:creationId xmlns:a16="http://schemas.microsoft.com/office/drawing/2014/main" id="{C86736B5-C290-4CF8-AD92-A7D49002A739}"/>
              </a:ext>
            </a:extLst>
          </p:cNvPr>
          <p:cNvSpPr txBox="1">
            <a:spLocks/>
          </p:cNvSpPr>
          <p:nvPr/>
        </p:nvSpPr>
        <p:spPr>
          <a:xfrm>
            <a:off x="708436" y="1109110"/>
            <a:ext cx="606175" cy="5909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prstClr val="black"/>
                </a:solidFill>
                <a:effectLst/>
                <a:uLnTx/>
                <a:uFillTx/>
                <a:latin typeface="Arial Black"/>
                <a:ea typeface="+mn-ea"/>
                <a:cs typeface="+mn-cs"/>
              </a:rPr>
              <a:t>1</a:t>
            </a:r>
          </a:p>
        </p:txBody>
      </p:sp>
      <p:sp>
        <p:nvSpPr>
          <p:cNvPr id="76" name="Content Placeholder 26">
            <a:extLst>
              <a:ext uri="{FF2B5EF4-FFF2-40B4-BE49-F238E27FC236}">
                <a16:creationId xmlns:a16="http://schemas.microsoft.com/office/drawing/2014/main" id="{F321E4FF-F065-4F24-AE09-8C43C6F8F80D}"/>
              </a:ext>
            </a:extLst>
          </p:cNvPr>
          <p:cNvSpPr txBox="1">
            <a:spLocks/>
          </p:cNvSpPr>
          <p:nvPr/>
        </p:nvSpPr>
        <p:spPr>
          <a:xfrm>
            <a:off x="6715588" y="1109110"/>
            <a:ext cx="4609637" cy="5355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Ensure appropriate sprayer ground </a:t>
            </a:r>
            <a:br>
              <a:rPr kumimoji="0" lang="en-US" sz="1600" b="0" i="0" u="none" strike="noStrike" kern="1200" cap="none" spc="0" normalizeH="0" baseline="0" noProof="0">
                <a:ln>
                  <a:noFill/>
                </a:ln>
                <a:solidFill>
                  <a:prstClr val="black"/>
                </a:solidFill>
                <a:effectLst/>
                <a:uLnTx/>
                <a:uFillTx/>
                <a:latin typeface="Arial"/>
                <a:ea typeface="+mn-ea"/>
                <a:cs typeface="+mn-cs"/>
              </a:rPr>
            </a:br>
            <a:r>
              <a:rPr kumimoji="0" lang="en-US" sz="1600" b="0" i="0" u="none" strike="noStrike" kern="1200" cap="none" spc="0" normalizeH="0" baseline="0" noProof="0">
                <a:ln>
                  <a:noFill/>
                </a:ln>
                <a:solidFill>
                  <a:prstClr val="black"/>
                </a:solidFill>
                <a:effectLst/>
                <a:uLnTx/>
                <a:uFillTx/>
                <a:latin typeface="Arial"/>
                <a:ea typeface="+mn-ea"/>
                <a:cs typeface="+mn-cs"/>
              </a:rPr>
              <a:t>speed and operating pressure</a:t>
            </a:r>
          </a:p>
        </p:txBody>
      </p:sp>
      <p:sp>
        <p:nvSpPr>
          <p:cNvPr id="77" name="Content Placeholder 26">
            <a:extLst>
              <a:ext uri="{FF2B5EF4-FFF2-40B4-BE49-F238E27FC236}">
                <a16:creationId xmlns:a16="http://schemas.microsoft.com/office/drawing/2014/main" id="{F2F358CF-895A-42FF-8F14-E1C46C29D981}"/>
              </a:ext>
            </a:extLst>
          </p:cNvPr>
          <p:cNvSpPr txBox="1">
            <a:spLocks/>
          </p:cNvSpPr>
          <p:nvPr/>
        </p:nvSpPr>
        <p:spPr>
          <a:xfrm>
            <a:off x="6244531" y="1109110"/>
            <a:ext cx="606175" cy="5909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prstClr val="black"/>
                </a:solidFill>
                <a:effectLst/>
                <a:uLnTx/>
                <a:uFillTx/>
                <a:latin typeface="Arial Black"/>
                <a:ea typeface="+mn-ea"/>
                <a:cs typeface="+mn-cs"/>
              </a:rPr>
              <a:t>2</a:t>
            </a:r>
          </a:p>
        </p:txBody>
      </p:sp>
      <p:pic>
        <p:nvPicPr>
          <p:cNvPr id="42" name="Graphic 41">
            <a:extLst>
              <a:ext uri="{FF2B5EF4-FFF2-40B4-BE49-F238E27FC236}">
                <a16:creationId xmlns:a16="http://schemas.microsoft.com/office/drawing/2014/main" id="{58EA8C4C-E437-4CAB-8F39-2DC316519C7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rcRect r="42738"/>
          <a:stretch>
            <a:fillRect/>
          </a:stretch>
        </p:blipFill>
        <p:spPr>
          <a:xfrm rot="2415920">
            <a:off x="2744826" y="3416470"/>
            <a:ext cx="3651770" cy="45719"/>
          </a:xfrm>
          <a:custGeom>
            <a:avLst/>
            <a:gdLst>
              <a:gd name="connsiteX0" fmla="*/ 0 w 3125262"/>
              <a:gd name="connsiteY0" fmla="*/ 0 h 28575"/>
              <a:gd name="connsiteX1" fmla="*/ 3107560 w 3125262"/>
              <a:gd name="connsiteY1" fmla="*/ 0 h 28575"/>
              <a:gd name="connsiteX2" fmla="*/ 3125262 w 3125262"/>
              <a:gd name="connsiteY2" fmla="*/ 28575 h 28575"/>
              <a:gd name="connsiteX3" fmla="*/ 0 w 3125262"/>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5262" h="28575">
                <a:moveTo>
                  <a:pt x="0" y="0"/>
                </a:moveTo>
                <a:lnTo>
                  <a:pt x="3107560" y="0"/>
                </a:lnTo>
                <a:lnTo>
                  <a:pt x="3125262" y="28575"/>
                </a:lnTo>
                <a:lnTo>
                  <a:pt x="0" y="28575"/>
                </a:lnTo>
                <a:close/>
              </a:path>
            </a:pathLst>
          </a:custGeom>
        </p:spPr>
      </p:pic>
      <p:sp>
        <p:nvSpPr>
          <p:cNvPr id="48" name="TextBox 47">
            <a:extLst>
              <a:ext uri="{FF2B5EF4-FFF2-40B4-BE49-F238E27FC236}">
                <a16:creationId xmlns:a16="http://schemas.microsoft.com/office/drawing/2014/main" id="{410C5BB6-BCEB-4BCC-BD84-7F1E634A806B}"/>
              </a:ext>
            </a:extLst>
          </p:cNvPr>
          <p:cNvSpPr txBox="1"/>
          <p:nvPr/>
        </p:nvSpPr>
        <p:spPr>
          <a:xfrm>
            <a:off x="215026" y="1810807"/>
            <a:ext cx="5804774" cy="375825"/>
          </a:xfrm>
          <a:prstGeom prst="rect">
            <a:avLst/>
          </a:prstGeom>
          <a:solidFill>
            <a:schemeClr val="tx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30 PSI - INCOMPLETE PATTERN</a:t>
            </a:r>
            <a:endParaRPr kumimoji="0" lang="en-US" sz="16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49" name="TextBox 48">
            <a:extLst>
              <a:ext uri="{FF2B5EF4-FFF2-40B4-BE49-F238E27FC236}">
                <a16:creationId xmlns:a16="http://schemas.microsoft.com/office/drawing/2014/main" id="{03787319-C5A0-475F-BDDF-51E06B5B3EDF}"/>
              </a:ext>
            </a:extLst>
          </p:cNvPr>
          <p:cNvSpPr txBox="1"/>
          <p:nvPr/>
        </p:nvSpPr>
        <p:spPr>
          <a:xfrm>
            <a:off x="6172199" y="1810807"/>
            <a:ext cx="5699843" cy="375825"/>
          </a:xfrm>
          <a:prstGeom prst="rect">
            <a:avLst/>
          </a:prstGeom>
          <a:solidFill>
            <a:schemeClr val="tx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60 PSI - FULL PATTERN</a:t>
            </a:r>
          </a:p>
        </p:txBody>
      </p:sp>
      <p:pic>
        <p:nvPicPr>
          <p:cNvPr id="2" name="Picture 1">
            <a:extLst>
              <a:ext uri="{FF2B5EF4-FFF2-40B4-BE49-F238E27FC236}">
                <a16:creationId xmlns:a16="http://schemas.microsoft.com/office/drawing/2014/main" id="{486B3B0A-4A2D-4F1A-BDC0-1321401A3FAB}"/>
              </a:ext>
            </a:extLst>
          </p:cNvPr>
          <p:cNvPicPr>
            <a:picLocks noChangeAspect="1"/>
          </p:cNvPicPr>
          <p:nvPr/>
        </p:nvPicPr>
        <p:blipFill>
          <a:blip r:embed="rId7"/>
          <a:stretch>
            <a:fillRect/>
          </a:stretch>
        </p:blipFill>
        <p:spPr>
          <a:xfrm>
            <a:off x="914400" y="6362700"/>
            <a:ext cx="1171575" cy="495300"/>
          </a:xfrm>
          <a:prstGeom prst="rect">
            <a:avLst/>
          </a:prstGeom>
        </p:spPr>
      </p:pic>
      <p:pic>
        <p:nvPicPr>
          <p:cNvPr id="32" name="Picture 31">
            <a:extLst>
              <a:ext uri="{FF2B5EF4-FFF2-40B4-BE49-F238E27FC236}">
                <a16:creationId xmlns:a16="http://schemas.microsoft.com/office/drawing/2014/main" id="{1D060B7E-F18D-4738-AD6F-F655B7B25BD7}"/>
              </a:ext>
            </a:extLst>
          </p:cNvPr>
          <p:cNvPicPr>
            <a:picLocks noChangeAspect="1"/>
          </p:cNvPicPr>
          <p:nvPr/>
        </p:nvPicPr>
        <p:blipFill>
          <a:blip r:embed="rId8"/>
          <a:stretch>
            <a:fillRect/>
          </a:stretch>
        </p:blipFill>
        <p:spPr>
          <a:xfrm>
            <a:off x="838200" y="6393164"/>
            <a:ext cx="1333500" cy="378995"/>
          </a:xfrm>
          <a:prstGeom prst="rect">
            <a:avLst/>
          </a:prstGeom>
        </p:spPr>
      </p:pic>
      <p:sp>
        <p:nvSpPr>
          <p:cNvPr id="46" name="TextBox 45">
            <a:extLst>
              <a:ext uri="{FF2B5EF4-FFF2-40B4-BE49-F238E27FC236}">
                <a16:creationId xmlns:a16="http://schemas.microsoft.com/office/drawing/2014/main" id="{0CF2E4F2-326F-438B-B8A6-ACD40FDDFAD3}"/>
              </a:ext>
            </a:extLst>
          </p:cNvPr>
          <p:cNvSpPr txBox="1"/>
          <p:nvPr/>
        </p:nvSpPr>
        <p:spPr>
          <a:xfrm>
            <a:off x="0" y="5674414"/>
            <a:ext cx="12191999" cy="592485"/>
          </a:xfrm>
          <a:prstGeom prst="rect">
            <a:avLst/>
          </a:prstGeom>
          <a:solidFill>
            <a:schemeClr val="tx2"/>
          </a:solidFill>
          <a:ln>
            <a:noFill/>
          </a:ln>
        </p:spPr>
        <p:txBody>
          <a:bodyPr wrap="square" rtlCol="0" anchor="ctr">
            <a:noAutofit/>
          </a:bodyPr>
          <a:lstStyle/>
          <a:p>
            <a:pPr lvl="0" algn="ctr">
              <a:defRPr/>
            </a:pPr>
            <a:r>
              <a:rPr lang="en-US" sz="1600">
                <a:solidFill>
                  <a:prstClr val="white"/>
                </a:solidFill>
                <a:latin typeface="Arial Narrow" panose="020B0606020202030204" pitchFamily="34" charset="0"/>
              </a:rPr>
              <a:t>Approved Dicamba + Approved Glyphosate + Approved DRA (0.5% v/v) + Approved VRA</a:t>
            </a:r>
            <a:br>
              <a:rPr lang="en-US" sz="1600">
                <a:solidFill>
                  <a:prstClr val="white"/>
                </a:solidFill>
                <a:latin typeface="Arial Narrow" panose="020B0606020202030204" pitchFamily="34" charset="0"/>
              </a:rPr>
            </a:br>
            <a:r>
              <a:rPr lang="en-US" sz="1600">
                <a:solidFill>
                  <a:prstClr val="white"/>
                </a:solidFill>
                <a:latin typeface="Arial Narrow" panose="020B0606020202030204" pitchFamily="34" charset="0"/>
              </a:rPr>
              <a:t>Applied at 15 GPA</a:t>
            </a:r>
            <a:endParaRPr kumimoji="0" lang="en-US" sz="16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47" name="TextBox 46">
            <a:extLst>
              <a:ext uri="{FF2B5EF4-FFF2-40B4-BE49-F238E27FC236}">
                <a16:creationId xmlns:a16="http://schemas.microsoft.com/office/drawing/2014/main" id="{A8AEAE0D-41C4-42CC-B0E1-F1B1527A5536}"/>
              </a:ext>
            </a:extLst>
          </p:cNvPr>
          <p:cNvSpPr txBox="1"/>
          <p:nvPr/>
        </p:nvSpPr>
        <p:spPr>
          <a:xfrm rot="16200000">
            <a:off x="9788153" y="3838828"/>
            <a:ext cx="4431871" cy="375825"/>
          </a:xfrm>
          <a:prstGeom prst="rect">
            <a:avLst/>
          </a:prstGeom>
          <a:solidFill>
            <a:schemeClr val="tx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pic>
        <p:nvPicPr>
          <p:cNvPr id="55" name="Graphic 54">
            <a:extLst>
              <a:ext uri="{FF2B5EF4-FFF2-40B4-BE49-F238E27FC236}">
                <a16:creationId xmlns:a16="http://schemas.microsoft.com/office/drawing/2014/main" id="{D3A7FE74-AD05-45A5-85FA-4CA023F6471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rcRect r="42738"/>
          <a:stretch>
            <a:fillRect/>
          </a:stretch>
        </p:blipFill>
        <p:spPr>
          <a:xfrm rot="8478076" flipV="1">
            <a:off x="-16038" y="3280346"/>
            <a:ext cx="3335045" cy="45719"/>
          </a:xfrm>
          <a:custGeom>
            <a:avLst/>
            <a:gdLst>
              <a:gd name="connsiteX0" fmla="*/ 0 w 3125262"/>
              <a:gd name="connsiteY0" fmla="*/ 0 h 28575"/>
              <a:gd name="connsiteX1" fmla="*/ 3107560 w 3125262"/>
              <a:gd name="connsiteY1" fmla="*/ 0 h 28575"/>
              <a:gd name="connsiteX2" fmla="*/ 3125262 w 3125262"/>
              <a:gd name="connsiteY2" fmla="*/ 28575 h 28575"/>
              <a:gd name="connsiteX3" fmla="*/ 0 w 3125262"/>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5262" h="28575">
                <a:moveTo>
                  <a:pt x="0" y="0"/>
                </a:moveTo>
                <a:lnTo>
                  <a:pt x="3107560" y="0"/>
                </a:lnTo>
                <a:lnTo>
                  <a:pt x="3125262" y="28575"/>
                </a:lnTo>
                <a:lnTo>
                  <a:pt x="0" y="28575"/>
                </a:lnTo>
                <a:close/>
              </a:path>
            </a:pathLst>
          </a:custGeom>
        </p:spPr>
      </p:pic>
      <p:pic>
        <p:nvPicPr>
          <p:cNvPr id="59" name="Graphic 58">
            <a:extLst>
              <a:ext uri="{FF2B5EF4-FFF2-40B4-BE49-F238E27FC236}">
                <a16:creationId xmlns:a16="http://schemas.microsoft.com/office/drawing/2014/main" id="{BF9EC2B0-42C6-4412-B21D-65B09A5A285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rcRect r="42738"/>
          <a:stretch>
            <a:fillRect/>
          </a:stretch>
        </p:blipFill>
        <p:spPr>
          <a:xfrm rot="1954470" flipV="1">
            <a:off x="8709261" y="3160739"/>
            <a:ext cx="3335045" cy="45719"/>
          </a:xfrm>
          <a:custGeom>
            <a:avLst/>
            <a:gdLst>
              <a:gd name="connsiteX0" fmla="*/ 0 w 3125262"/>
              <a:gd name="connsiteY0" fmla="*/ 0 h 28575"/>
              <a:gd name="connsiteX1" fmla="*/ 3107560 w 3125262"/>
              <a:gd name="connsiteY1" fmla="*/ 0 h 28575"/>
              <a:gd name="connsiteX2" fmla="*/ 3125262 w 3125262"/>
              <a:gd name="connsiteY2" fmla="*/ 28575 h 28575"/>
              <a:gd name="connsiteX3" fmla="*/ 0 w 3125262"/>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5262" h="28575">
                <a:moveTo>
                  <a:pt x="0" y="0"/>
                </a:moveTo>
                <a:lnTo>
                  <a:pt x="3107560" y="0"/>
                </a:lnTo>
                <a:lnTo>
                  <a:pt x="3125262" y="28575"/>
                </a:lnTo>
                <a:lnTo>
                  <a:pt x="0" y="28575"/>
                </a:lnTo>
                <a:close/>
              </a:path>
            </a:pathLst>
          </a:custGeom>
        </p:spPr>
      </p:pic>
      <p:pic>
        <p:nvPicPr>
          <p:cNvPr id="62" name="Graphic 61">
            <a:extLst>
              <a:ext uri="{FF2B5EF4-FFF2-40B4-BE49-F238E27FC236}">
                <a16:creationId xmlns:a16="http://schemas.microsoft.com/office/drawing/2014/main" id="{DCFC55E5-DBBD-4413-BBD9-B6FA1DF8428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rcRect r="42738"/>
          <a:stretch>
            <a:fillRect/>
          </a:stretch>
        </p:blipFill>
        <p:spPr>
          <a:xfrm rot="8789322" flipV="1">
            <a:off x="5837116" y="3127368"/>
            <a:ext cx="3335045" cy="45719"/>
          </a:xfrm>
          <a:custGeom>
            <a:avLst/>
            <a:gdLst>
              <a:gd name="connsiteX0" fmla="*/ 0 w 3125262"/>
              <a:gd name="connsiteY0" fmla="*/ 0 h 28575"/>
              <a:gd name="connsiteX1" fmla="*/ 3107560 w 3125262"/>
              <a:gd name="connsiteY1" fmla="*/ 0 h 28575"/>
              <a:gd name="connsiteX2" fmla="*/ 3125262 w 3125262"/>
              <a:gd name="connsiteY2" fmla="*/ 28575 h 28575"/>
              <a:gd name="connsiteX3" fmla="*/ 0 w 3125262"/>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125262" h="28575">
                <a:moveTo>
                  <a:pt x="0" y="0"/>
                </a:moveTo>
                <a:lnTo>
                  <a:pt x="3107560" y="0"/>
                </a:lnTo>
                <a:lnTo>
                  <a:pt x="3125262" y="28575"/>
                </a:lnTo>
                <a:lnTo>
                  <a:pt x="0" y="28575"/>
                </a:lnTo>
                <a:close/>
              </a:path>
            </a:pathLst>
          </a:custGeom>
        </p:spPr>
      </p:pic>
      <p:sp>
        <p:nvSpPr>
          <p:cNvPr id="53" name="TextBox 52">
            <a:extLst>
              <a:ext uri="{FF2B5EF4-FFF2-40B4-BE49-F238E27FC236}">
                <a16:creationId xmlns:a16="http://schemas.microsoft.com/office/drawing/2014/main" id="{F89B640E-D889-41EF-B2EE-AB14EF2F9B98}"/>
              </a:ext>
            </a:extLst>
          </p:cNvPr>
          <p:cNvSpPr txBox="1"/>
          <p:nvPr/>
        </p:nvSpPr>
        <p:spPr>
          <a:xfrm rot="16200000">
            <a:off x="4188189" y="3513282"/>
            <a:ext cx="3863596" cy="458645"/>
          </a:xfrm>
          <a:prstGeom prst="rect">
            <a:avLst/>
          </a:prstGeom>
          <a:solidFill>
            <a:schemeClr val="tx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38" name="TextBox 37">
            <a:extLst>
              <a:ext uri="{FF2B5EF4-FFF2-40B4-BE49-F238E27FC236}">
                <a16:creationId xmlns:a16="http://schemas.microsoft.com/office/drawing/2014/main" id="{6CBFC10F-D6B9-499A-A85D-69ADC742097B}"/>
              </a:ext>
            </a:extLst>
          </p:cNvPr>
          <p:cNvSpPr txBox="1"/>
          <p:nvPr/>
        </p:nvSpPr>
        <p:spPr>
          <a:xfrm rot="16200000">
            <a:off x="-1993088" y="3803895"/>
            <a:ext cx="4362004" cy="375825"/>
          </a:xfrm>
          <a:prstGeom prst="rect">
            <a:avLst/>
          </a:prstGeom>
          <a:solidFill>
            <a:schemeClr val="tx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378613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420CEC8-8A01-4ADE-82B6-83D986324D61}"/>
              </a:ext>
            </a:extLst>
          </p:cNvPr>
          <p:cNvSpPr/>
          <p:nvPr/>
        </p:nvSpPr>
        <p:spPr>
          <a:xfrm flipV="1">
            <a:off x="0" y="3243885"/>
            <a:ext cx="12192000" cy="18682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 name="Content Placeholder 2"/>
          <p:cNvSpPr>
            <a:spLocks noGrp="1"/>
          </p:cNvSpPr>
          <p:nvPr>
            <p:ph sz="half" idx="1"/>
          </p:nvPr>
        </p:nvSpPr>
        <p:spPr>
          <a:xfrm>
            <a:off x="234462" y="2822079"/>
            <a:ext cx="5181591" cy="843834"/>
          </a:xfrm>
        </p:spPr>
        <p:txBody>
          <a:bodyPr>
            <a:normAutofit/>
          </a:bodyPr>
          <a:lstStyle/>
          <a:p>
            <a:pPr marL="0" indent="0">
              <a:buNone/>
            </a:pPr>
            <a:r>
              <a:rPr lang="en-US" sz="2400">
                <a:solidFill>
                  <a:schemeClr val="bg2">
                    <a:lumMod val="10000"/>
                  </a:schemeClr>
                </a:solidFill>
                <a:latin typeface="+mj-lt"/>
              </a:rPr>
              <a:t>PRE-EMERGENT/BURNDOWN:</a:t>
            </a:r>
            <a:endParaRPr lang="en-US" sz="2400">
              <a:solidFill>
                <a:schemeClr val="bg2">
                  <a:lumMod val="10000"/>
                </a:schemeClr>
              </a:solidFill>
            </a:endParaRPr>
          </a:p>
        </p:txBody>
      </p:sp>
      <p:sp>
        <p:nvSpPr>
          <p:cNvPr id="18" name="Content Placeholder 17">
            <a:extLst>
              <a:ext uri="{FF2B5EF4-FFF2-40B4-BE49-F238E27FC236}">
                <a16:creationId xmlns:a16="http://schemas.microsoft.com/office/drawing/2014/main" id="{C75BB39C-682C-48C5-83F7-2D64A9E69BAA}"/>
              </a:ext>
            </a:extLst>
          </p:cNvPr>
          <p:cNvSpPr>
            <a:spLocks noGrp="1"/>
          </p:cNvSpPr>
          <p:nvPr>
            <p:ph sz="half" idx="2"/>
          </p:nvPr>
        </p:nvSpPr>
        <p:spPr>
          <a:xfrm>
            <a:off x="6078416" y="2822078"/>
            <a:ext cx="4224562" cy="3929311"/>
          </a:xfrm>
        </p:spPr>
        <p:txBody>
          <a:bodyPr>
            <a:normAutofit/>
          </a:bodyPr>
          <a:lstStyle/>
          <a:p>
            <a:pPr marL="0" indent="0">
              <a:buNone/>
            </a:pPr>
            <a:r>
              <a:rPr lang="en-US" sz="2400">
                <a:solidFill>
                  <a:schemeClr val="bg2">
                    <a:lumMod val="10000"/>
                  </a:schemeClr>
                </a:solidFill>
                <a:latin typeface="+mj-lt"/>
              </a:rPr>
              <a:t>IN-CROP:</a:t>
            </a:r>
            <a:r>
              <a:rPr lang="en-US" sz="2800"/>
              <a:t/>
            </a:r>
            <a:br>
              <a:rPr lang="en-US" sz="2800"/>
            </a:br>
            <a:endParaRPr lang="en-US" sz="2400">
              <a:solidFill>
                <a:schemeClr val="bg2">
                  <a:lumMod val="10000"/>
                </a:schemeClr>
              </a:solidFill>
            </a:endParaRPr>
          </a:p>
        </p:txBody>
      </p:sp>
      <p:sp>
        <p:nvSpPr>
          <p:cNvPr id="5" name="Text Placeholder 4"/>
          <p:cNvSpPr>
            <a:spLocks noGrp="1"/>
          </p:cNvSpPr>
          <p:nvPr>
            <p:ph type="body" sz="quarter" idx="14"/>
          </p:nvPr>
        </p:nvSpPr>
        <p:spPr/>
        <p:txBody>
          <a:bodyPr/>
          <a:lstStyle/>
          <a:p>
            <a:r>
              <a:rPr lang="en-US"/>
              <a:t>In the Roundup Ready</a:t>
            </a:r>
            <a:r>
              <a:rPr lang="en-US" baseline="30000"/>
              <a:t>®</a:t>
            </a:r>
            <a:r>
              <a:rPr lang="en-US"/>
              <a:t> </a:t>
            </a:r>
            <a:r>
              <a:rPr lang="en-US" err="1"/>
              <a:t>Xtend</a:t>
            </a:r>
            <a:r>
              <a:rPr lang="en-US"/>
              <a:t> Crop System </a:t>
            </a:r>
          </a:p>
        </p:txBody>
      </p:sp>
      <p:sp>
        <p:nvSpPr>
          <p:cNvPr id="4" name="Footer Placeholder 3">
            <a:extLst>
              <a:ext uri="{FF2B5EF4-FFF2-40B4-BE49-F238E27FC236}">
                <a16:creationId xmlns:a16="http://schemas.microsoft.com/office/drawing/2014/main" id="{75269BE1-B3C5-4CAC-95F1-32641209F298}"/>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8" name="Slide Number Placeholder 7">
            <a:extLst>
              <a:ext uri="{FF2B5EF4-FFF2-40B4-BE49-F238E27FC236}">
                <a16:creationId xmlns:a16="http://schemas.microsoft.com/office/drawing/2014/main" id="{FC8B98B3-79BA-41BB-8075-C8F2B1FE6145}"/>
              </a:ext>
            </a:extLst>
          </p:cNvPr>
          <p:cNvSpPr>
            <a:spLocks noGrp="1"/>
          </p:cNvSpPr>
          <p:nvPr>
            <p:ph type="sldNum" sz="quarter" idx="16"/>
          </p:nvPr>
        </p:nvSpPr>
        <p:spPr/>
        <p:txBody>
          <a:bodyPr/>
          <a:lstStyle/>
          <a:p>
            <a:fld id="{5382645D-9DD6-408C-B0EA-C65795F9B1DE}" type="slidenum">
              <a:rPr lang="en-US" smtClean="0"/>
              <a:pPr/>
              <a:t>53</a:t>
            </a:fld>
            <a:endParaRPr lang="en-US"/>
          </a:p>
        </p:txBody>
      </p:sp>
      <p:sp>
        <p:nvSpPr>
          <p:cNvPr id="2" name="Title 1"/>
          <p:cNvSpPr>
            <a:spLocks noGrp="1"/>
          </p:cNvSpPr>
          <p:nvPr>
            <p:ph type="title"/>
          </p:nvPr>
        </p:nvSpPr>
        <p:spPr/>
        <p:txBody>
          <a:bodyPr/>
          <a:lstStyle/>
          <a:p>
            <a:r>
              <a:rPr lang="en-US"/>
              <a:t>CROP SPECIFIC RESTRICTIONS</a:t>
            </a:r>
          </a:p>
        </p:txBody>
      </p:sp>
      <p:cxnSp>
        <p:nvCxnSpPr>
          <p:cNvPr id="43" name="Straight Connector 42">
            <a:extLst>
              <a:ext uri="{FF2B5EF4-FFF2-40B4-BE49-F238E27FC236}">
                <a16:creationId xmlns:a16="http://schemas.microsoft.com/office/drawing/2014/main" id="{6E385C92-DABD-46C5-9C1F-266593EE7429}"/>
              </a:ext>
            </a:extLst>
          </p:cNvPr>
          <p:cNvCxnSpPr>
            <a:cxnSpLocks/>
          </p:cNvCxnSpPr>
          <p:nvPr/>
        </p:nvCxnSpPr>
        <p:spPr>
          <a:xfrm>
            <a:off x="5580658" y="2696309"/>
            <a:ext cx="0" cy="2420120"/>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4" name="Content Placeholder 2">
            <a:extLst>
              <a:ext uri="{FF2B5EF4-FFF2-40B4-BE49-F238E27FC236}">
                <a16:creationId xmlns:a16="http://schemas.microsoft.com/office/drawing/2014/main" id="{02054013-F06E-4FB3-8D26-2F97A0567797}"/>
              </a:ext>
            </a:extLst>
          </p:cNvPr>
          <p:cNvSpPr txBox="1">
            <a:spLocks/>
          </p:cNvSpPr>
          <p:nvPr/>
        </p:nvSpPr>
        <p:spPr>
          <a:xfrm>
            <a:off x="603740" y="3376089"/>
            <a:ext cx="4626166" cy="76879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2400">
                <a:solidFill>
                  <a:schemeClr val="bg1"/>
                </a:solidFill>
              </a:rPr>
              <a:t>Apply 0.5 </a:t>
            </a:r>
            <a:r>
              <a:rPr lang="en-US" sz="2400" err="1">
                <a:solidFill>
                  <a:schemeClr val="bg1"/>
                </a:solidFill>
              </a:rPr>
              <a:t>lb</a:t>
            </a:r>
            <a:r>
              <a:rPr lang="en-US" sz="2400">
                <a:solidFill>
                  <a:schemeClr val="bg1"/>
                </a:solidFill>
              </a:rPr>
              <a:t> ae/acre in single application </a:t>
            </a:r>
          </a:p>
          <a:p>
            <a:pPr marL="0" indent="0">
              <a:lnSpc>
                <a:spcPct val="100000"/>
              </a:lnSpc>
              <a:buNone/>
            </a:pPr>
            <a:r>
              <a:rPr lang="en-US" sz="2400">
                <a:solidFill>
                  <a:schemeClr val="bg1"/>
                </a:solidFill>
              </a:rPr>
              <a:t>Two applications maximum before crop emergence</a:t>
            </a:r>
          </a:p>
          <a:p>
            <a:pPr marL="0" indent="0">
              <a:lnSpc>
                <a:spcPct val="100000"/>
              </a:lnSpc>
              <a:buFont typeface="Arial" panose="020B0604020202020204" pitchFamily="34" charset="0"/>
              <a:buNone/>
            </a:pPr>
            <a:endParaRPr lang="en-US" sz="2400">
              <a:solidFill>
                <a:schemeClr val="bg1"/>
              </a:solidFill>
            </a:endParaRPr>
          </a:p>
        </p:txBody>
      </p:sp>
      <p:sp>
        <p:nvSpPr>
          <p:cNvPr id="25" name="Content Placeholder 2">
            <a:extLst>
              <a:ext uri="{FF2B5EF4-FFF2-40B4-BE49-F238E27FC236}">
                <a16:creationId xmlns:a16="http://schemas.microsoft.com/office/drawing/2014/main" id="{2717C53D-2A9D-41B0-8B1C-A4D6A787C153}"/>
              </a:ext>
            </a:extLst>
          </p:cNvPr>
          <p:cNvSpPr txBox="1">
            <a:spLocks/>
          </p:cNvSpPr>
          <p:nvPr/>
        </p:nvSpPr>
        <p:spPr>
          <a:xfrm>
            <a:off x="6570782" y="3364366"/>
            <a:ext cx="5346162" cy="16049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400">
                <a:solidFill>
                  <a:schemeClr val="bg1"/>
                </a:solidFill>
              </a:rPr>
              <a:t>Apply 0.5 </a:t>
            </a:r>
            <a:r>
              <a:rPr lang="en-US" sz="2400" err="1">
                <a:solidFill>
                  <a:schemeClr val="bg1"/>
                </a:solidFill>
              </a:rPr>
              <a:t>lb</a:t>
            </a:r>
            <a:r>
              <a:rPr lang="en-US" sz="2400">
                <a:solidFill>
                  <a:schemeClr val="bg1"/>
                </a:solidFill>
              </a:rPr>
              <a:t> ae/acre in single application </a:t>
            </a:r>
          </a:p>
          <a:p>
            <a:pPr marL="0" indent="0">
              <a:lnSpc>
                <a:spcPct val="100000"/>
              </a:lnSpc>
              <a:buNone/>
            </a:pPr>
            <a:r>
              <a:rPr lang="en-US" sz="2400">
                <a:solidFill>
                  <a:schemeClr val="bg1"/>
                </a:solidFill>
              </a:rPr>
              <a:t>Two applications maximum after emergence</a:t>
            </a:r>
          </a:p>
          <a:p>
            <a:pPr marL="0" indent="0">
              <a:lnSpc>
                <a:spcPct val="100000"/>
              </a:lnSpc>
              <a:buNone/>
            </a:pPr>
            <a:endParaRPr lang="en-US" sz="2400">
              <a:solidFill>
                <a:schemeClr val="bg1"/>
              </a:solidFill>
            </a:endParaRPr>
          </a:p>
        </p:txBody>
      </p:sp>
      <p:sp>
        <p:nvSpPr>
          <p:cNvPr id="23" name="Content Placeholder 2">
            <a:extLst>
              <a:ext uri="{FF2B5EF4-FFF2-40B4-BE49-F238E27FC236}">
                <a16:creationId xmlns:a16="http://schemas.microsoft.com/office/drawing/2014/main" id="{4171EE21-64AD-451A-80D1-FC2C4F2E5F64}"/>
              </a:ext>
            </a:extLst>
          </p:cNvPr>
          <p:cNvSpPr txBox="1">
            <a:spLocks/>
          </p:cNvSpPr>
          <p:nvPr/>
        </p:nvSpPr>
        <p:spPr>
          <a:xfrm>
            <a:off x="408809" y="5156926"/>
            <a:ext cx="10439400" cy="11443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US"/>
              <a:t>Maximum seasonal use rate allowance for dicamba products is 2 </a:t>
            </a:r>
            <a:r>
              <a:rPr lang="en-US" err="1"/>
              <a:t>lbs</a:t>
            </a:r>
            <a:r>
              <a:rPr lang="en-US"/>
              <a:t> ae/acre. </a:t>
            </a:r>
          </a:p>
          <a:p>
            <a:pPr marL="0" indent="0">
              <a:spcBef>
                <a:spcPts val="1800"/>
              </a:spcBef>
              <a:buNone/>
            </a:pPr>
            <a:r>
              <a:rPr lang="en-US"/>
              <a:t>Refer to specific product labels for product rates and growth stage timings for crop response concerns; e.g. R1 for soybeans with </a:t>
            </a:r>
            <a:r>
              <a:rPr lang="en-US" err="1"/>
              <a:t>XtendiMax</a:t>
            </a:r>
            <a:r>
              <a:rPr lang="en-US"/>
              <a:t>.</a:t>
            </a:r>
          </a:p>
        </p:txBody>
      </p:sp>
      <p:cxnSp>
        <p:nvCxnSpPr>
          <p:cNvPr id="29" name="Straight Connector 28">
            <a:extLst>
              <a:ext uri="{FF2B5EF4-FFF2-40B4-BE49-F238E27FC236}">
                <a16:creationId xmlns:a16="http://schemas.microsoft.com/office/drawing/2014/main" id="{830C6CEA-5241-4C34-8BDD-34D7D64BD23F}"/>
              </a:ext>
            </a:extLst>
          </p:cNvPr>
          <p:cNvCxnSpPr>
            <a:cxnSpLocks/>
          </p:cNvCxnSpPr>
          <p:nvPr/>
        </p:nvCxnSpPr>
        <p:spPr>
          <a:xfrm>
            <a:off x="460745" y="5585662"/>
            <a:ext cx="10318344"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E52D23F-3943-482C-A991-F7E202BB282A}"/>
              </a:ext>
            </a:extLst>
          </p:cNvPr>
          <p:cNvPicPr>
            <a:picLocks noChangeAspect="1"/>
          </p:cNvPicPr>
          <p:nvPr/>
        </p:nvPicPr>
        <p:blipFill>
          <a:blip r:embed="rId3"/>
          <a:stretch>
            <a:fillRect/>
          </a:stretch>
        </p:blipFill>
        <p:spPr>
          <a:xfrm>
            <a:off x="941388" y="6331194"/>
            <a:ext cx="1171575" cy="495300"/>
          </a:xfrm>
          <a:prstGeom prst="rect">
            <a:avLst/>
          </a:prstGeom>
        </p:spPr>
      </p:pic>
      <p:pic>
        <p:nvPicPr>
          <p:cNvPr id="16" name="Picture 15">
            <a:extLst>
              <a:ext uri="{FF2B5EF4-FFF2-40B4-BE49-F238E27FC236}">
                <a16:creationId xmlns:a16="http://schemas.microsoft.com/office/drawing/2014/main" id="{5D9DA8A2-EAD8-4DF9-BDA4-04CE965D3D46}"/>
              </a:ext>
            </a:extLst>
          </p:cNvPr>
          <p:cNvPicPr>
            <a:picLocks noChangeAspect="1"/>
          </p:cNvPicPr>
          <p:nvPr/>
        </p:nvPicPr>
        <p:blipFill>
          <a:blip r:embed="rId4"/>
          <a:stretch>
            <a:fillRect/>
          </a:stretch>
        </p:blipFill>
        <p:spPr>
          <a:xfrm>
            <a:off x="838200" y="6393164"/>
            <a:ext cx="1333500" cy="378995"/>
          </a:xfrm>
          <a:prstGeom prst="rect">
            <a:avLst/>
          </a:prstGeom>
        </p:spPr>
      </p:pic>
      <p:cxnSp>
        <p:nvCxnSpPr>
          <p:cNvPr id="21" name="Straight Connector 20">
            <a:extLst>
              <a:ext uri="{FF2B5EF4-FFF2-40B4-BE49-F238E27FC236}">
                <a16:creationId xmlns:a16="http://schemas.microsoft.com/office/drawing/2014/main" id="{A1592D57-793F-49F9-917C-CE418A66D74C}"/>
              </a:ext>
            </a:extLst>
          </p:cNvPr>
          <p:cNvCxnSpPr>
            <a:cxnSpLocks/>
          </p:cNvCxnSpPr>
          <p:nvPr/>
        </p:nvCxnSpPr>
        <p:spPr>
          <a:xfrm flipH="1">
            <a:off x="0" y="2704848"/>
            <a:ext cx="12192000" cy="0"/>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D2E2BD24-37E1-4BA9-8B4A-8ED8E2C7CF16}"/>
              </a:ext>
            </a:extLst>
          </p:cNvPr>
          <p:cNvCxnSpPr>
            <a:cxnSpLocks/>
          </p:cNvCxnSpPr>
          <p:nvPr/>
        </p:nvCxnSpPr>
        <p:spPr>
          <a:xfrm flipH="1">
            <a:off x="0" y="5112090"/>
            <a:ext cx="12192000" cy="0"/>
          </a:xfrm>
          <a:prstGeom prst="lin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7" name="Content Placeholder 2">
            <a:extLst>
              <a:ext uri="{FF2B5EF4-FFF2-40B4-BE49-F238E27FC236}">
                <a16:creationId xmlns:a16="http://schemas.microsoft.com/office/drawing/2014/main" id="{AE079153-EBBF-4FC3-9CB4-F5A665517B99}"/>
              </a:ext>
            </a:extLst>
          </p:cNvPr>
          <p:cNvSpPr txBox="1">
            <a:spLocks/>
          </p:cNvSpPr>
          <p:nvPr/>
        </p:nvSpPr>
        <p:spPr>
          <a:xfrm>
            <a:off x="591041" y="1391553"/>
            <a:ext cx="10439400" cy="137505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US" sz="2400" dirty="0"/>
              <a:t>Approved dicamba formulations may be applied to crops with Roundup Ready 2 Xtend</a:t>
            </a:r>
            <a:r>
              <a:rPr lang="en-US" sz="2400" baseline="30000" dirty="0"/>
              <a:t>®</a:t>
            </a:r>
            <a:r>
              <a:rPr lang="en-US" sz="2400" dirty="0"/>
              <a:t> Technology or XtendFlex</a:t>
            </a:r>
            <a:r>
              <a:rPr lang="en-US" sz="2400" baseline="30000" dirty="0"/>
              <a:t>®</a:t>
            </a:r>
            <a:r>
              <a:rPr lang="en-US" sz="2400" dirty="0"/>
              <a:t> Technology up to and including </a:t>
            </a:r>
            <a:r>
              <a:rPr lang="en-US" sz="2400" b="1" u="sng" dirty="0">
                <a:solidFill>
                  <a:srgbClr val="00B050"/>
                </a:solidFill>
              </a:rPr>
              <a:t>June 30 for soybeans</a:t>
            </a:r>
            <a:r>
              <a:rPr lang="en-US" sz="2400" b="1" dirty="0">
                <a:solidFill>
                  <a:srgbClr val="00B050"/>
                </a:solidFill>
              </a:rPr>
              <a:t> and </a:t>
            </a:r>
            <a:r>
              <a:rPr lang="en-US" sz="2400" b="1" u="sng" dirty="0">
                <a:solidFill>
                  <a:srgbClr val="00B050"/>
                </a:solidFill>
              </a:rPr>
              <a:t>July 30 for cotton</a:t>
            </a:r>
            <a:r>
              <a:rPr lang="en-US" sz="2400" b="1" dirty="0">
                <a:solidFill>
                  <a:srgbClr val="00B050"/>
                </a:solidFill>
              </a:rPr>
              <a:t>.</a:t>
            </a:r>
            <a:r>
              <a:rPr lang="en-US" sz="2400" dirty="0">
                <a:solidFill>
                  <a:srgbClr val="00B050"/>
                </a:solidFill>
              </a:rPr>
              <a:t> </a:t>
            </a:r>
          </a:p>
        </p:txBody>
      </p:sp>
    </p:spTree>
    <p:extLst>
      <p:ext uri="{BB962C8B-B14F-4D97-AF65-F5344CB8AC3E}">
        <p14:creationId xmlns:p14="http://schemas.microsoft.com/office/powerpoint/2010/main" val="378693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94B8E10-3FC5-43ED-8A0B-1F9B367649AA}"/>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AFF3ED0B-52CB-4B57-B818-D13FB262D1A7}"/>
              </a:ext>
            </a:extLst>
          </p:cNvPr>
          <p:cNvSpPr>
            <a:spLocks noGrp="1"/>
          </p:cNvSpPr>
          <p:nvPr>
            <p:ph type="sldNum" sz="quarter" idx="16"/>
          </p:nvPr>
        </p:nvSpPr>
        <p:spPr/>
        <p:txBody>
          <a:bodyPr/>
          <a:lstStyle/>
          <a:p>
            <a:fld id="{5A1C2420-D500-4FDF-A245-39DCF46675EA}" type="slidenum">
              <a:rPr lang="en-US" smtClean="0"/>
              <a:t>54</a:t>
            </a:fld>
            <a:endParaRPr lang="en-US"/>
          </a:p>
        </p:txBody>
      </p:sp>
      <p:sp>
        <p:nvSpPr>
          <p:cNvPr id="15" name="Title 3">
            <a:extLst>
              <a:ext uri="{FF2B5EF4-FFF2-40B4-BE49-F238E27FC236}">
                <a16:creationId xmlns:a16="http://schemas.microsoft.com/office/drawing/2014/main" id="{F77842BC-58CE-4C90-AD05-B87FBEB85DE8}"/>
              </a:ext>
            </a:extLst>
          </p:cNvPr>
          <p:cNvSpPr>
            <a:spLocks noGrp="1"/>
          </p:cNvSpPr>
          <p:nvPr>
            <p:ph type="title"/>
          </p:nvPr>
        </p:nvSpPr>
        <p:spPr>
          <a:xfrm>
            <a:off x="838200" y="148506"/>
            <a:ext cx="10515600" cy="768773"/>
          </a:xfrm>
        </p:spPr>
        <p:txBody>
          <a:bodyPr>
            <a:normAutofit/>
          </a:bodyPr>
          <a:lstStyle/>
          <a:p>
            <a:r>
              <a:rPr lang="en-US" sz="2400"/>
              <a:t>Example of Good Weed </a:t>
            </a:r>
            <a:br>
              <a:rPr lang="en-US" sz="2400"/>
            </a:br>
            <a:r>
              <a:rPr lang="en-US" sz="2400"/>
              <a:t>Management System</a:t>
            </a:r>
          </a:p>
        </p:txBody>
      </p:sp>
      <p:sp>
        <p:nvSpPr>
          <p:cNvPr id="11" name="Content Placeholder 5">
            <a:extLst>
              <a:ext uri="{FF2B5EF4-FFF2-40B4-BE49-F238E27FC236}">
                <a16:creationId xmlns:a16="http://schemas.microsoft.com/office/drawing/2014/main" id="{422C908F-10B0-48DD-ADA4-51306AAD158E}"/>
              </a:ext>
            </a:extLst>
          </p:cNvPr>
          <p:cNvSpPr txBox="1">
            <a:spLocks/>
          </p:cNvSpPr>
          <p:nvPr/>
        </p:nvSpPr>
        <p:spPr>
          <a:xfrm>
            <a:off x="2285412" y="6022715"/>
            <a:ext cx="8275320" cy="3139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latin typeface="Arial Narrow" charset="0"/>
              </a:rPr>
              <a:t>*Check with your local dealer or representative or U.S. EPA and your state pesticide regulatory agency for the product registration status and additional restrictions in your state. </a:t>
            </a:r>
            <a:br>
              <a:rPr lang="en-US" sz="800">
                <a:latin typeface="Arial Narrow" charset="0"/>
              </a:rPr>
            </a:br>
            <a:r>
              <a:rPr lang="en-US" sz="800">
                <a:latin typeface="Arial Narrow" charset="0"/>
              </a:rPr>
              <a:t>**Contact your local retailer, company representative or extension service for specific regional weed management recommendations. </a:t>
            </a:r>
          </a:p>
        </p:txBody>
      </p:sp>
      <p:graphicFrame>
        <p:nvGraphicFramePr>
          <p:cNvPr id="12" name="Table 11">
            <a:extLst>
              <a:ext uri="{FF2B5EF4-FFF2-40B4-BE49-F238E27FC236}">
                <a16:creationId xmlns:a16="http://schemas.microsoft.com/office/drawing/2014/main" id="{12DC399A-9CD0-4820-A35D-63A772AFCEB5}"/>
              </a:ext>
            </a:extLst>
          </p:cNvPr>
          <p:cNvGraphicFramePr>
            <a:graphicFrameLocks noGrp="1"/>
          </p:cNvGraphicFramePr>
          <p:nvPr>
            <p:extLst>
              <p:ext uri="{D42A27DB-BD31-4B8C-83A1-F6EECF244321}">
                <p14:modId xmlns:p14="http://schemas.microsoft.com/office/powerpoint/2010/main" val="2965789282"/>
              </p:ext>
            </p:extLst>
          </p:nvPr>
        </p:nvGraphicFramePr>
        <p:xfrm>
          <a:off x="941389" y="2034134"/>
          <a:ext cx="10332720" cy="3931920"/>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val="553945150"/>
                    </a:ext>
                  </a:extLst>
                </a:gridCol>
                <a:gridCol w="1920240">
                  <a:extLst>
                    <a:ext uri="{9D8B030D-6E8A-4147-A177-3AD203B41FA5}">
                      <a16:colId xmlns:a16="http://schemas.microsoft.com/office/drawing/2014/main" val="2286531471"/>
                    </a:ext>
                  </a:extLst>
                </a:gridCol>
                <a:gridCol w="6766560">
                  <a:extLst>
                    <a:ext uri="{9D8B030D-6E8A-4147-A177-3AD203B41FA5}">
                      <a16:colId xmlns:a16="http://schemas.microsoft.com/office/drawing/2014/main" val="859317391"/>
                    </a:ext>
                  </a:extLst>
                </a:gridCol>
              </a:tblGrid>
              <a:tr h="548640">
                <a:tc>
                  <a:txBody>
                    <a:bodyPr/>
                    <a:lstStyle/>
                    <a:p>
                      <a:r>
                        <a:rPr lang="en-US" sz="1600" b="0" spc="600" baseline="0">
                          <a:latin typeface="Arial Narrow"/>
                        </a:rPr>
                        <a:t>TIMING</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600" b="0" spc="600" baseline="0">
                          <a:latin typeface="Arial Narrow"/>
                        </a:rPr>
                        <a:t>PRACTI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a:r>
                        <a:rPr lang="en-US" sz="1600" b="0" spc="600" baseline="0">
                          <a:latin typeface="Arial Narrow"/>
                        </a:rPr>
                        <a:t>EXAMPLE RECOMMENDATION** </a:t>
                      </a:r>
                      <a:endParaRPr lang="en-US" sz="1600" b="0" spc="600" baseline="0">
                        <a:latin typeface="Arial Narrow" panose="020B0606020202030204" pitchFamily="34" charset="0"/>
                      </a:endParaRP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731520">
                <a:tc>
                  <a:txBody>
                    <a:bodyPr/>
                    <a:lstStyle/>
                    <a:p>
                      <a:r>
                        <a:rPr lang="en-US" sz="1600">
                          <a:solidFill>
                            <a:schemeClr val="tx1"/>
                          </a:solidFill>
                          <a:latin typeface="Arial Narrow"/>
                        </a:rPr>
                        <a:t>Before Planting</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a:solidFill>
                            <a:schemeClr val="tx1"/>
                          </a:solidFill>
                          <a:latin typeface="Arial Narrow"/>
                        </a:rPr>
                        <a:t>Burndown or Start Clean with Tillag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dirty="0">
                          <a:solidFill>
                            <a:schemeClr val="bg1"/>
                          </a:solidFill>
                          <a:latin typeface="Arial Narrow"/>
                        </a:rPr>
                        <a:t>Roundup </a:t>
                      </a:r>
                      <a:r>
                        <a:rPr lang="en-US" sz="1600" dirty="0" err="1">
                          <a:solidFill>
                            <a:schemeClr val="bg1"/>
                          </a:solidFill>
                          <a:latin typeface="Arial Narrow"/>
                        </a:rPr>
                        <a:t>PowerMAX</a:t>
                      </a:r>
                      <a:r>
                        <a:rPr lang="en-US" sz="1600" baseline="30000" dirty="0">
                          <a:solidFill>
                            <a:schemeClr val="bg1"/>
                          </a:solidFill>
                          <a:latin typeface="Arial Narrow"/>
                        </a:rPr>
                        <a:t>®</a:t>
                      </a:r>
                      <a:r>
                        <a:rPr lang="en-US" sz="1600" dirty="0">
                          <a:solidFill>
                            <a:schemeClr val="bg1"/>
                          </a:solidFill>
                          <a:latin typeface="Arial Narrow"/>
                        </a:rPr>
                        <a:t> Herbicide (32 oz) + </a:t>
                      </a:r>
                      <a:r>
                        <a:rPr lang="en-US" sz="1600" dirty="0" err="1">
                          <a:solidFill>
                            <a:schemeClr val="bg1"/>
                          </a:solidFill>
                          <a:latin typeface="Arial Narrow"/>
                        </a:rPr>
                        <a:t>XtendiMax</a:t>
                      </a:r>
                      <a:r>
                        <a:rPr lang="en-US" sz="1600" baseline="30000" dirty="0">
                          <a:solidFill>
                            <a:schemeClr val="bg1"/>
                          </a:solidFill>
                          <a:latin typeface="Arial Narrow"/>
                        </a:rPr>
                        <a:t>®</a:t>
                      </a:r>
                      <a:r>
                        <a:rPr lang="en-US" sz="1600" dirty="0">
                          <a:solidFill>
                            <a:schemeClr val="bg1"/>
                          </a:solidFill>
                          <a:latin typeface="Arial Narrow"/>
                        </a:rPr>
                        <a:t> Herbicide with </a:t>
                      </a:r>
                      <a:r>
                        <a:rPr lang="en-US" sz="1600" dirty="0" err="1">
                          <a:solidFill>
                            <a:schemeClr val="bg1"/>
                          </a:solidFill>
                          <a:latin typeface="Arial Narrow"/>
                        </a:rPr>
                        <a:t>VaporGrip</a:t>
                      </a:r>
                      <a:r>
                        <a:rPr lang="en-US" sz="1600" baseline="30000" dirty="0">
                          <a:solidFill>
                            <a:schemeClr val="bg1"/>
                          </a:solidFill>
                          <a:latin typeface="Arial Narrow"/>
                        </a:rPr>
                        <a:t>®</a:t>
                      </a:r>
                      <a:r>
                        <a:rPr lang="en-US" sz="1600" dirty="0">
                          <a:solidFill>
                            <a:schemeClr val="bg1"/>
                          </a:solidFill>
                          <a:latin typeface="Arial Narrow"/>
                        </a:rPr>
                        <a:t> Technology (22 oz) + labeled Drift Reduction Adjuvant (DRA) + </a:t>
                      </a:r>
                      <a:r>
                        <a:rPr lang="en-US" sz="1600" dirty="0">
                          <a:solidFill>
                            <a:srgbClr val="00B050"/>
                          </a:solidFill>
                          <a:latin typeface="Arial Narrow"/>
                        </a:rPr>
                        <a:t>labeled Volatility Reduction Adjuvant (VRA)</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5603363"/>
                  </a:ext>
                </a:extLst>
              </a:tr>
              <a:tr h="731520">
                <a:tc>
                  <a:txBody>
                    <a:bodyPr/>
                    <a:lstStyle/>
                    <a:p>
                      <a:r>
                        <a:rPr lang="en-US" sz="1600" kern="1200">
                          <a:solidFill>
                            <a:schemeClr val="tx1"/>
                          </a:solidFill>
                          <a:latin typeface="Arial Narrow"/>
                          <a:ea typeface="+mn-ea"/>
                          <a:cs typeface="+mn-cs"/>
                        </a:rPr>
                        <a:t> At Planting </a:t>
                      </a:r>
                      <a:endParaRPr lang="en-US" sz="1600" kern="1200">
                        <a:solidFill>
                          <a:schemeClr val="tx1"/>
                        </a:solidFill>
                        <a:latin typeface="Arial Narrow" panose="020B0606020202030204" pitchFamily="34" charset="0"/>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a:latin typeface="Arial Narrow"/>
                        </a:rPr>
                        <a:t>P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l"/>
                      <a:endParaRPr lang="en-US" sz="1600" kern="1200">
                        <a:solidFill>
                          <a:schemeClr val="bg1"/>
                        </a:solidFill>
                        <a:latin typeface="Arial Narrow" panose="020B060602020203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19181117"/>
                  </a:ext>
                </a:extLst>
              </a:tr>
              <a:tr h="1097280">
                <a:tc>
                  <a:txBody>
                    <a:bodyPr/>
                    <a:lstStyle/>
                    <a:p>
                      <a:r>
                        <a:rPr lang="en-US" sz="1600" kern="1200">
                          <a:solidFill>
                            <a:schemeClr val="tx1"/>
                          </a:solidFill>
                          <a:latin typeface="Arial Narrow"/>
                          <a:ea typeface="+mn-ea"/>
                          <a:cs typeface="+mn-cs"/>
                        </a:rPr>
                        <a:t>Post 1 </a:t>
                      </a:r>
                      <a:r>
                        <a:rPr lang="en-US" sz="1600" kern="1200">
                          <a:solidFill>
                            <a:srgbClr val="000000"/>
                          </a:solidFill>
                          <a:latin typeface="Arial Narrow"/>
                          <a:ea typeface="+mn-ea"/>
                          <a:cs typeface="+mn-cs"/>
                        </a:rPr>
                        <a:t/>
                      </a:r>
                      <a:br>
                        <a:rPr lang="en-US" sz="1600" kern="1200">
                          <a:solidFill>
                            <a:srgbClr val="000000"/>
                          </a:solidFill>
                          <a:latin typeface="Arial Narrow"/>
                          <a:ea typeface="+mn-ea"/>
                          <a:cs typeface="+mn-cs"/>
                        </a:rPr>
                      </a:br>
                      <a:r>
                        <a:rPr lang="en-US" sz="1400" kern="1200">
                          <a:solidFill>
                            <a:schemeClr val="dk1"/>
                          </a:solidFill>
                          <a:latin typeface="Arial Narrow"/>
                          <a:ea typeface="+mn-ea"/>
                          <a:cs typeface="+mn-cs"/>
                        </a:rPr>
                        <a:t>Over-the-top</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a:latin typeface="Arial Narrow"/>
                        </a:rPr>
                        <a:t>Post 1 </a:t>
                      </a:r>
                      <a:br>
                        <a:rPr lang="en-US" sz="1600">
                          <a:latin typeface="Arial Narrow"/>
                        </a:rPr>
                      </a:br>
                      <a:r>
                        <a:rPr lang="en-US" sz="1400">
                          <a:latin typeface="Arial Narrow"/>
                        </a:rPr>
                        <a:t>&lt; 4” weeds and </a:t>
                      </a:r>
                      <a:br>
                        <a:rPr lang="en-US" sz="1400">
                          <a:latin typeface="Arial Narrow"/>
                        </a:rPr>
                      </a:br>
                      <a:r>
                        <a:rPr lang="en-US" sz="1400">
                          <a:latin typeface="Arial Narrow"/>
                        </a:rPr>
                        <a:t>within 20-30 days </a:t>
                      </a:r>
                      <a:br>
                        <a:rPr lang="en-US" sz="1400">
                          <a:latin typeface="Arial Narrow"/>
                        </a:rPr>
                      </a:br>
                      <a:r>
                        <a:rPr lang="en-US" sz="1400">
                          <a:latin typeface="Arial Narrow"/>
                        </a:rPr>
                        <a:t>after PRE Applic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600" kern="1200">
                        <a:solidFill>
                          <a:schemeClr val="bg1"/>
                        </a:solidFill>
                        <a:latin typeface="Arial Narrow" panose="020B060602020203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88328231"/>
                  </a:ext>
                </a:extLst>
              </a:tr>
              <a:tr h="731520">
                <a:tc>
                  <a:txBody>
                    <a:bodyPr/>
                    <a:lstStyle/>
                    <a:p>
                      <a:r>
                        <a:rPr lang="en-US" sz="1600" kern="1200">
                          <a:solidFill>
                            <a:schemeClr val="tx1"/>
                          </a:solidFill>
                          <a:latin typeface="Arial Narrow"/>
                          <a:ea typeface="+mn-ea"/>
                          <a:cs typeface="+mn-cs"/>
                        </a:rPr>
                        <a:t>Post 2 </a:t>
                      </a:r>
                      <a:r>
                        <a:rPr lang="en-US" sz="1600" kern="1200">
                          <a:solidFill>
                            <a:srgbClr val="000000"/>
                          </a:solidFill>
                          <a:latin typeface="Arial Narrow"/>
                          <a:ea typeface="+mn-ea"/>
                          <a:cs typeface="+mn-cs"/>
                        </a:rPr>
                        <a:t/>
                      </a:r>
                      <a:br>
                        <a:rPr lang="en-US" sz="1600" kern="1200">
                          <a:solidFill>
                            <a:srgbClr val="000000"/>
                          </a:solidFill>
                          <a:latin typeface="Arial Narrow"/>
                          <a:ea typeface="+mn-ea"/>
                          <a:cs typeface="+mn-cs"/>
                        </a:rPr>
                      </a:br>
                      <a:r>
                        <a:rPr lang="en-US" sz="1400" kern="1200">
                          <a:solidFill>
                            <a:schemeClr val="dk1"/>
                          </a:solidFill>
                          <a:latin typeface="Arial Narrow"/>
                          <a:ea typeface="+mn-ea"/>
                          <a:cs typeface="+mn-cs"/>
                        </a:rPr>
                        <a:t>Over-the-top</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a:latin typeface="Arial Narrow"/>
                        </a:rPr>
                        <a:t>Post 2 </a:t>
                      </a:r>
                      <a:endParaRPr lang="en-US" sz="1400">
                        <a:latin typeface="Arial Narrow" panose="020B0606020202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l"/>
                      <a:r>
                        <a:rPr lang="en-US" sz="1600" kern="1200" dirty="0">
                          <a:solidFill>
                            <a:schemeClr val="bg1"/>
                          </a:solidFill>
                          <a:latin typeface="Arial Narrow"/>
                          <a:ea typeface="+mn-ea"/>
                          <a:cs typeface="+mn-cs"/>
                        </a:rPr>
                        <a:t>Cobra</a:t>
                      </a:r>
                      <a:r>
                        <a:rPr lang="en-US" sz="1600" baseline="30000" dirty="0">
                          <a:solidFill>
                            <a:schemeClr val="bg1"/>
                          </a:solidFill>
                          <a:latin typeface="Arial Narrow"/>
                        </a:rPr>
                        <a:t>®</a:t>
                      </a:r>
                      <a:r>
                        <a:rPr lang="en-US" sz="1600" kern="1200" dirty="0">
                          <a:solidFill>
                            <a:schemeClr val="bg1"/>
                          </a:solidFill>
                          <a:latin typeface="Arial Narrow"/>
                          <a:ea typeface="+mn-ea"/>
                          <a:cs typeface="+mn-cs"/>
                        </a:rPr>
                        <a:t> Herbicide (10 oz) + COC (1% v/v) to control any weed escapes prior to R6</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33533300"/>
                  </a:ext>
                </a:extLst>
              </a:tr>
            </a:tbl>
          </a:graphicData>
        </a:graphic>
      </p:graphicFrame>
      <p:sp>
        <p:nvSpPr>
          <p:cNvPr id="14" name="Text Placeholder 2">
            <a:extLst>
              <a:ext uri="{FF2B5EF4-FFF2-40B4-BE49-F238E27FC236}">
                <a16:creationId xmlns:a16="http://schemas.microsoft.com/office/drawing/2014/main" id="{150BB341-3DC8-4F26-9B70-DA940724DEE1}"/>
              </a:ext>
            </a:extLst>
          </p:cNvPr>
          <p:cNvSpPr txBox="1">
            <a:spLocks/>
          </p:cNvSpPr>
          <p:nvPr/>
        </p:nvSpPr>
        <p:spPr>
          <a:xfrm>
            <a:off x="838200" y="843515"/>
            <a:ext cx="10515600" cy="341632"/>
          </a:xfrm>
          <a:prstGeom prst="rect">
            <a:avLst/>
          </a:prstGeom>
        </p:spPr>
        <p:txBody>
          <a:bodyPr vert="horz"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Roundup Ready 2 Xtend</a:t>
            </a:r>
            <a:r>
              <a:rPr lang="en-US" baseline="30000"/>
              <a:t>®</a:t>
            </a:r>
            <a:r>
              <a:rPr lang="en-US"/>
              <a:t> Soybeans*</a:t>
            </a:r>
          </a:p>
        </p:txBody>
      </p:sp>
      <p:grpSp>
        <p:nvGrpSpPr>
          <p:cNvPr id="18" name="Group 17">
            <a:extLst>
              <a:ext uri="{FF2B5EF4-FFF2-40B4-BE49-F238E27FC236}">
                <a16:creationId xmlns:a16="http://schemas.microsoft.com/office/drawing/2014/main" id="{BB657F19-B1B9-4A8B-9D19-21FC85C0F6F4}"/>
              </a:ext>
            </a:extLst>
          </p:cNvPr>
          <p:cNvGrpSpPr/>
          <p:nvPr/>
        </p:nvGrpSpPr>
        <p:grpSpPr>
          <a:xfrm>
            <a:off x="10170091" y="349923"/>
            <a:ext cx="1217162" cy="364935"/>
            <a:chOff x="10910120" y="349923"/>
            <a:chExt cx="1217162" cy="364935"/>
          </a:xfrm>
        </p:grpSpPr>
        <p:sp>
          <p:nvSpPr>
            <p:cNvPr id="19" name="Freeform 6">
              <a:extLst>
                <a:ext uri="{FF2B5EF4-FFF2-40B4-BE49-F238E27FC236}">
                  <a16:creationId xmlns:a16="http://schemas.microsoft.com/office/drawing/2014/main" id="{02A4FA3F-8AD8-4A4C-88B7-D90E24B6CDF5}"/>
                </a:ext>
              </a:extLst>
            </p:cNvPr>
            <p:cNvSpPr>
              <a:spLocks noEditPoints="1"/>
            </p:cNvSpPr>
            <p:nvPr/>
          </p:nvSpPr>
          <p:spPr bwMode="auto">
            <a:xfrm>
              <a:off x="11706175" y="349923"/>
              <a:ext cx="421107" cy="356080"/>
            </a:xfrm>
            <a:custGeom>
              <a:avLst/>
              <a:gdLst>
                <a:gd name="T0" fmla="*/ 222 w 653"/>
                <a:gd name="T1" fmla="*/ 550 h 550"/>
                <a:gd name="T2" fmla="*/ 255 w 653"/>
                <a:gd name="T3" fmla="*/ 457 h 550"/>
                <a:gd name="T4" fmla="*/ 256 w 653"/>
                <a:gd name="T5" fmla="*/ 456 h 550"/>
                <a:gd name="T6" fmla="*/ 269 w 653"/>
                <a:gd name="T7" fmla="*/ 448 h 550"/>
                <a:gd name="T8" fmla="*/ 272 w 653"/>
                <a:gd name="T9" fmla="*/ 446 h 550"/>
                <a:gd name="T10" fmla="*/ 279 w 653"/>
                <a:gd name="T11" fmla="*/ 451 h 550"/>
                <a:gd name="T12" fmla="*/ 442 w 653"/>
                <a:gd name="T13" fmla="*/ 489 h 550"/>
                <a:gd name="T14" fmla="*/ 526 w 653"/>
                <a:gd name="T15" fmla="*/ 476 h 550"/>
                <a:gd name="T16" fmla="*/ 648 w 653"/>
                <a:gd name="T17" fmla="*/ 357 h 550"/>
                <a:gd name="T18" fmla="*/ 642 w 653"/>
                <a:gd name="T19" fmla="*/ 324 h 550"/>
                <a:gd name="T20" fmla="*/ 435 w 653"/>
                <a:gd name="T21" fmla="*/ 256 h 550"/>
                <a:gd name="T22" fmla="*/ 458 w 653"/>
                <a:gd name="T23" fmla="*/ 21 h 550"/>
                <a:gd name="T24" fmla="*/ 428 w 653"/>
                <a:gd name="T25" fmla="*/ 1 h 550"/>
                <a:gd name="T26" fmla="*/ 223 w 653"/>
                <a:gd name="T27" fmla="*/ 134 h 550"/>
                <a:gd name="T28" fmla="*/ 125 w 653"/>
                <a:gd name="T29" fmla="*/ 41 h 550"/>
                <a:gd name="T30" fmla="*/ 88 w 653"/>
                <a:gd name="T31" fmla="*/ 48 h 550"/>
                <a:gd name="T32" fmla="*/ 21 w 653"/>
                <a:gd name="T33" fmla="*/ 269 h 550"/>
                <a:gd name="T34" fmla="*/ 141 w 653"/>
                <a:gd name="T35" fmla="*/ 421 h 550"/>
                <a:gd name="T36" fmla="*/ 182 w 653"/>
                <a:gd name="T37" fmla="*/ 409 h 550"/>
                <a:gd name="T38" fmla="*/ 170 w 653"/>
                <a:gd name="T39" fmla="*/ 369 h 550"/>
                <a:gd name="T40" fmla="*/ 80 w 653"/>
                <a:gd name="T41" fmla="*/ 258 h 550"/>
                <a:gd name="T42" fmla="*/ 119 w 653"/>
                <a:gd name="T43" fmla="*/ 107 h 550"/>
                <a:gd name="T44" fmla="*/ 208 w 653"/>
                <a:gd name="T45" fmla="*/ 419 h 550"/>
                <a:gd name="T46" fmla="*/ 162 w 653"/>
                <a:gd name="T47" fmla="*/ 550 h 550"/>
                <a:gd name="T48" fmla="*/ 222 w 653"/>
                <a:gd name="T49" fmla="*/ 550 h 550"/>
                <a:gd name="T50" fmla="*/ 272 w 653"/>
                <a:gd name="T51" fmla="*/ 361 h 550"/>
                <a:gd name="T52" fmla="*/ 259 w 653"/>
                <a:gd name="T53" fmla="*/ 224 h 550"/>
                <a:gd name="T54" fmla="*/ 406 w 653"/>
                <a:gd name="T55" fmla="*/ 63 h 550"/>
                <a:gd name="T56" fmla="*/ 272 w 653"/>
                <a:gd name="T57" fmla="*/ 361 h 550"/>
                <a:gd name="T58" fmla="*/ 506 w 653"/>
                <a:gd name="T59" fmla="*/ 420 h 550"/>
                <a:gd name="T60" fmla="*/ 316 w 653"/>
                <a:gd name="T61" fmla="*/ 402 h 550"/>
                <a:gd name="T62" fmla="*/ 388 w 653"/>
                <a:gd name="T63" fmla="*/ 332 h 550"/>
                <a:gd name="T64" fmla="*/ 388 w 653"/>
                <a:gd name="T65" fmla="*/ 332 h 550"/>
                <a:gd name="T66" fmla="*/ 584 w 653"/>
                <a:gd name="T67" fmla="*/ 352 h 550"/>
                <a:gd name="T68" fmla="*/ 506 w 653"/>
                <a:gd name="T69" fmla="*/ 42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3" h="550">
                  <a:moveTo>
                    <a:pt x="222" y="550"/>
                  </a:moveTo>
                  <a:cubicBezTo>
                    <a:pt x="218" y="497"/>
                    <a:pt x="240" y="470"/>
                    <a:pt x="255" y="457"/>
                  </a:cubicBezTo>
                  <a:cubicBezTo>
                    <a:pt x="255" y="456"/>
                    <a:pt x="256" y="456"/>
                    <a:pt x="256" y="456"/>
                  </a:cubicBezTo>
                  <a:cubicBezTo>
                    <a:pt x="262" y="451"/>
                    <a:pt x="267" y="448"/>
                    <a:pt x="269" y="448"/>
                  </a:cubicBezTo>
                  <a:cubicBezTo>
                    <a:pt x="270" y="447"/>
                    <a:pt x="271" y="447"/>
                    <a:pt x="272" y="446"/>
                  </a:cubicBezTo>
                  <a:cubicBezTo>
                    <a:pt x="274" y="448"/>
                    <a:pt x="276" y="450"/>
                    <a:pt x="279" y="451"/>
                  </a:cubicBezTo>
                  <a:cubicBezTo>
                    <a:pt x="283" y="453"/>
                    <a:pt x="358" y="489"/>
                    <a:pt x="442" y="489"/>
                  </a:cubicBezTo>
                  <a:cubicBezTo>
                    <a:pt x="470" y="489"/>
                    <a:pt x="498" y="486"/>
                    <a:pt x="526" y="476"/>
                  </a:cubicBezTo>
                  <a:cubicBezTo>
                    <a:pt x="580" y="456"/>
                    <a:pt x="622" y="416"/>
                    <a:pt x="648" y="357"/>
                  </a:cubicBezTo>
                  <a:cubicBezTo>
                    <a:pt x="653" y="346"/>
                    <a:pt x="651" y="332"/>
                    <a:pt x="642" y="324"/>
                  </a:cubicBezTo>
                  <a:cubicBezTo>
                    <a:pt x="609" y="290"/>
                    <a:pt x="530" y="243"/>
                    <a:pt x="435" y="256"/>
                  </a:cubicBezTo>
                  <a:cubicBezTo>
                    <a:pt x="493" y="133"/>
                    <a:pt x="458" y="23"/>
                    <a:pt x="458" y="21"/>
                  </a:cubicBezTo>
                  <a:cubicBezTo>
                    <a:pt x="454" y="9"/>
                    <a:pt x="441" y="0"/>
                    <a:pt x="428" y="1"/>
                  </a:cubicBezTo>
                  <a:cubicBezTo>
                    <a:pt x="314" y="7"/>
                    <a:pt x="253" y="71"/>
                    <a:pt x="223" y="134"/>
                  </a:cubicBezTo>
                  <a:cubicBezTo>
                    <a:pt x="199" y="94"/>
                    <a:pt x="166" y="63"/>
                    <a:pt x="125" y="41"/>
                  </a:cubicBezTo>
                  <a:cubicBezTo>
                    <a:pt x="112" y="34"/>
                    <a:pt x="97" y="37"/>
                    <a:pt x="88" y="48"/>
                  </a:cubicBezTo>
                  <a:cubicBezTo>
                    <a:pt x="84" y="53"/>
                    <a:pt x="0" y="157"/>
                    <a:pt x="21" y="269"/>
                  </a:cubicBezTo>
                  <a:cubicBezTo>
                    <a:pt x="33" y="331"/>
                    <a:pt x="73" y="382"/>
                    <a:pt x="141" y="421"/>
                  </a:cubicBezTo>
                  <a:cubicBezTo>
                    <a:pt x="155" y="429"/>
                    <a:pt x="173" y="424"/>
                    <a:pt x="182" y="409"/>
                  </a:cubicBezTo>
                  <a:cubicBezTo>
                    <a:pt x="190" y="395"/>
                    <a:pt x="185" y="377"/>
                    <a:pt x="170" y="369"/>
                  </a:cubicBezTo>
                  <a:cubicBezTo>
                    <a:pt x="118" y="339"/>
                    <a:pt x="88" y="302"/>
                    <a:pt x="80" y="258"/>
                  </a:cubicBezTo>
                  <a:cubicBezTo>
                    <a:pt x="69" y="199"/>
                    <a:pt x="100" y="138"/>
                    <a:pt x="119" y="107"/>
                  </a:cubicBezTo>
                  <a:cubicBezTo>
                    <a:pt x="196" y="161"/>
                    <a:pt x="225" y="266"/>
                    <a:pt x="208" y="419"/>
                  </a:cubicBezTo>
                  <a:cubicBezTo>
                    <a:pt x="183" y="445"/>
                    <a:pt x="160" y="488"/>
                    <a:pt x="162" y="550"/>
                  </a:cubicBezTo>
                  <a:lnTo>
                    <a:pt x="222" y="550"/>
                  </a:lnTo>
                  <a:close/>
                  <a:moveTo>
                    <a:pt x="272" y="361"/>
                  </a:moveTo>
                  <a:cubicBezTo>
                    <a:pt x="273" y="310"/>
                    <a:pt x="269" y="265"/>
                    <a:pt x="259" y="224"/>
                  </a:cubicBezTo>
                  <a:cubicBezTo>
                    <a:pt x="261" y="205"/>
                    <a:pt x="278" y="84"/>
                    <a:pt x="406" y="63"/>
                  </a:cubicBezTo>
                  <a:cubicBezTo>
                    <a:pt x="415" y="116"/>
                    <a:pt x="418" y="251"/>
                    <a:pt x="272" y="361"/>
                  </a:cubicBezTo>
                  <a:close/>
                  <a:moveTo>
                    <a:pt x="506" y="420"/>
                  </a:moveTo>
                  <a:cubicBezTo>
                    <a:pt x="433" y="446"/>
                    <a:pt x="346" y="415"/>
                    <a:pt x="316" y="402"/>
                  </a:cubicBezTo>
                  <a:cubicBezTo>
                    <a:pt x="345" y="380"/>
                    <a:pt x="368" y="356"/>
                    <a:pt x="388" y="332"/>
                  </a:cubicBezTo>
                  <a:cubicBezTo>
                    <a:pt x="388" y="332"/>
                    <a:pt x="388" y="332"/>
                    <a:pt x="388" y="332"/>
                  </a:cubicBezTo>
                  <a:cubicBezTo>
                    <a:pt x="479" y="289"/>
                    <a:pt x="553" y="329"/>
                    <a:pt x="584" y="352"/>
                  </a:cubicBezTo>
                  <a:cubicBezTo>
                    <a:pt x="565" y="386"/>
                    <a:pt x="539" y="408"/>
                    <a:pt x="506" y="4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20" name="Straight Connector 19">
              <a:extLst>
                <a:ext uri="{FF2B5EF4-FFF2-40B4-BE49-F238E27FC236}">
                  <a16:creationId xmlns:a16="http://schemas.microsoft.com/office/drawing/2014/main" id="{34CE6DD7-0097-47CB-85FF-169615D4986B}"/>
                </a:ext>
              </a:extLst>
            </p:cNvPr>
            <p:cNvCxnSpPr/>
            <p:nvPr/>
          </p:nvCxnSpPr>
          <p:spPr>
            <a:xfrm flipH="1">
              <a:off x="10917847" y="714858"/>
              <a:ext cx="1092128" cy="0"/>
            </a:xfrm>
            <a:prstGeom prst="lin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2" name="Rectangle 21">
              <a:extLst>
                <a:ext uri="{FF2B5EF4-FFF2-40B4-BE49-F238E27FC236}">
                  <a16:creationId xmlns:a16="http://schemas.microsoft.com/office/drawing/2014/main" id="{7266014E-772D-4679-9926-404470FF0F17}"/>
                </a:ext>
              </a:extLst>
            </p:cNvPr>
            <p:cNvSpPr/>
            <p:nvPr/>
          </p:nvSpPr>
          <p:spPr>
            <a:xfrm>
              <a:off x="10910120" y="445726"/>
              <a:ext cx="762429" cy="26913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eaLnBrk="0" fontAlgn="base" hangingPunct="0">
                <a:spcBef>
                  <a:spcPct val="0"/>
                </a:spcBef>
                <a:spcAft>
                  <a:spcPct val="0"/>
                </a:spcAft>
              </a:pPr>
              <a:r>
                <a:rPr lang="en-US" sz="1483">
                  <a:solidFill>
                    <a:schemeClr val="tx1"/>
                  </a:solidFill>
                  <a:latin typeface="Arial Narrow" panose="020B0606020202030204" pitchFamily="34" charset="0"/>
                </a:rPr>
                <a:t>Soybean</a:t>
              </a:r>
            </a:p>
          </p:txBody>
        </p:sp>
      </p:grpSp>
      <p:sp>
        <p:nvSpPr>
          <p:cNvPr id="32" name="Rectangle 31">
            <a:extLst>
              <a:ext uri="{FF2B5EF4-FFF2-40B4-BE49-F238E27FC236}">
                <a16:creationId xmlns:a16="http://schemas.microsoft.com/office/drawing/2014/main" id="{247926EF-643B-4970-8EFC-81C26772EA7C}"/>
              </a:ext>
            </a:extLst>
          </p:cNvPr>
          <p:cNvSpPr/>
          <p:nvPr/>
        </p:nvSpPr>
        <p:spPr>
          <a:xfrm>
            <a:off x="4571999" y="3540917"/>
            <a:ext cx="5967467" cy="4899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5E648A8-C9A2-4E60-B271-1E467D0E531C}"/>
              </a:ext>
            </a:extLst>
          </p:cNvPr>
          <p:cNvSpPr/>
          <p:nvPr/>
        </p:nvSpPr>
        <p:spPr>
          <a:xfrm>
            <a:off x="4510159" y="3494194"/>
            <a:ext cx="6697533" cy="584775"/>
          </a:xfrm>
          <a:prstGeom prst="rect">
            <a:avLst/>
          </a:prstGeom>
        </p:spPr>
        <p:txBody>
          <a:bodyPr wrap="square">
            <a:spAutoFit/>
          </a:bodyPr>
          <a:lstStyle/>
          <a:p>
            <a:r>
              <a:rPr lang="en-US" sz="1600">
                <a:solidFill>
                  <a:schemeClr val="bg1"/>
                </a:solidFill>
                <a:latin typeface="Arial Narrow" panose="020B0606020202030204" pitchFamily="34" charset="0"/>
              </a:rPr>
              <a:t>Valor</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EZ Herbicide (2 oz), Valor</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XLT Herbicide (3 oz), Fierce</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3 oz) </a:t>
            </a:r>
            <a:br>
              <a:rPr lang="en-US" sz="1600">
                <a:solidFill>
                  <a:schemeClr val="bg1"/>
                </a:solidFill>
                <a:latin typeface="Arial Narrow" panose="020B0606020202030204" pitchFamily="34" charset="0"/>
              </a:rPr>
            </a:br>
            <a:r>
              <a:rPr lang="en-US" sz="1600">
                <a:solidFill>
                  <a:schemeClr val="bg1"/>
                </a:solidFill>
                <a:latin typeface="Arial Narrow" panose="020B0606020202030204" pitchFamily="34" charset="0"/>
              </a:rPr>
              <a:t>or Warrant</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3-4 </a:t>
            </a:r>
            <a:r>
              <a:rPr lang="en-US" sz="1600" err="1">
                <a:solidFill>
                  <a:schemeClr val="bg1"/>
                </a:solidFill>
                <a:latin typeface="Arial Narrow" panose="020B0606020202030204" pitchFamily="34" charset="0"/>
              </a:rPr>
              <a:t>pt</a:t>
            </a:r>
            <a:r>
              <a:rPr lang="en-US" sz="1600">
                <a:solidFill>
                  <a:schemeClr val="bg1"/>
                </a:solidFill>
                <a:latin typeface="Arial Narrow" panose="020B0606020202030204" pitchFamily="34" charset="0"/>
              </a:rPr>
              <a:t>) + metribuzin (0.25 </a:t>
            </a:r>
            <a:r>
              <a:rPr lang="en-US" sz="1600" err="1">
                <a:solidFill>
                  <a:schemeClr val="bg1"/>
                </a:solidFill>
                <a:latin typeface="Arial Narrow" panose="020B0606020202030204" pitchFamily="34" charset="0"/>
              </a:rPr>
              <a:t>lb</a:t>
            </a:r>
            <a:r>
              <a:rPr lang="en-US" sz="1600">
                <a:solidFill>
                  <a:schemeClr val="bg1"/>
                </a:solidFill>
                <a:latin typeface="Arial Narrow" panose="020B0606020202030204" pitchFamily="34" charset="0"/>
              </a:rPr>
              <a:t>)</a:t>
            </a:r>
          </a:p>
        </p:txBody>
      </p:sp>
      <p:sp>
        <p:nvSpPr>
          <p:cNvPr id="36" name="Rectangle 35">
            <a:extLst>
              <a:ext uri="{FF2B5EF4-FFF2-40B4-BE49-F238E27FC236}">
                <a16:creationId xmlns:a16="http://schemas.microsoft.com/office/drawing/2014/main" id="{BC9675B7-656D-4AF0-A026-2521CAAF3920}"/>
              </a:ext>
            </a:extLst>
          </p:cNvPr>
          <p:cNvSpPr/>
          <p:nvPr/>
        </p:nvSpPr>
        <p:spPr>
          <a:xfrm>
            <a:off x="4758118" y="4731360"/>
            <a:ext cx="4094570" cy="2538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71578846-AFE6-4A15-B60D-C8E630480BBE}"/>
              </a:ext>
            </a:extLst>
          </p:cNvPr>
          <p:cNvSpPr/>
          <p:nvPr/>
        </p:nvSpPr>
        <p:spPr>
          <a:xfrm>
            <a:off x="4510159" y="4134612"/>
            <a:ext cx="6697533" cy="877163"/>
          </a:xfrm>
          <a:prstGeom prst="rect">
            <a:avLst/>
          </a:prstGeom>
        </p:spPr>
        <p:txBody>
          <a:bodyPr wrap="square">
            <a:spAutoFit/>
          </a:bodyPr>
          <a:lstStyle/>
          <a:p>
            <a:r>
              <a:rPr lang="en-US" sz="1600">
                <a:solidFill>
                  <a:schemeClr val="bg1"/>
                </a:solidFill>
                <a:latin typeface="Arial Narrow" panose="020B0606020202030204" pitchFamily="34" charset="0"/>
              </a:rPr>
              <a:t>Roundup </a:t>
            </a:r>
            <a:r>
              <a:rPr lang="en-US" sz="1600" err="1">
                <a:solidFill>
                  <a:schemeClr val="bg1"/>
                </a:solidFill>
                <a:latin typeface="Arial Narrow" panose="020B0606020202030204" pitchFamily="34" charset="0"/>
              </a:rPr>
              <a:t>PowerMAX</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32 oz) + </a:t>
            </a:r>
            <a:r>
              <a:rPr lang="en-US" sz="1600" err="1">
                <a:solidFill>
                  <a:schemeClr val="bg1"/>
                </a:solidFill>
                <a:latin typeface="Arial Narrow" panose="020B0606020202030204" pitchFamily="34" charset="0"/>
              </a:rPr>
              <a:t>XtendiMax</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with </a:t>
            </a:r>
            <a:r>
              <a:rPr lang="en-US" sz="1600" err="1">
                <a:solidFill>
                  <a:schemeClr val="bg1"/>
                </a:solidFill>
                <a:latin typeface="Arial Narrow" panose="020B0606020202030204" pitchFamily="34" charset="0"/>
              </a:rPr>
              <a:t>VaporGrip</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Technology (22 oz) + labeled DRA + </a:t>
            </a:r>
            <a:r>
              <a:rPr lang="en-US" sz="1600">
                <a:solidFill>
                  <a:srgbClr val="00B050"/>
                </a:solidFill>
                <a:latin typeface="Arial Narrow" panose="020B0606020202030204" pitchFamily="34" charset="0"/>
              </a:rPr>
              <a:t>labeled VRA</a:t>
            </a:r>
          </a:p>
          <a:p>
            <a:pPr marL="182880">
              <a:spcBef>
                <a:spcPts val="600"/>
              </a:spcBef>
            </a:pPr>
            <a:r>
              <a:rPr lang="en-US" sz="1400">
                <a:solidFill>
                  <a:schemeClr val="bg1"/>
                </a:solidFill>
                <a:latin typeface="Arial Narrow" panose="020B0606020202030204" pitchFamily="34" charset="0"/>
              </a:rPr>
              <a:t>Warrant</a:t>
            </a:r>
            <a:r>
              <a:rPr lang="en-US" sz="1400" baseline="30000">
                <a:solidFill>
                  <a:schemeClr val="bg1"/>
                </a:solidFill>
                <a:latin typeface="Arial Narrow" panose="020B0606020202030204" pitchFamily="34" charset="0"/>
              </a:rPr>
              <a:t>®</a:t>
            </a:r>
            <a:r>
              <a:rPr lang="en-US" sz="1400">
                <a:solidFill>
                  <a:schemeClr val="bg1"/>
                </a:solidFill>
                <a:latin typeface="Arial Narrow" panose="020B0606020202030204" pitchFamily="34" charset="0"/>
              </a:rPr>
              <a:t> Herbicide (3-4 </a:t>
            </a:r>
            <a:r>
              <a:rPr lang="en-US" sz="1400" err="1">
                <a:solidFill>
                  <a:schemeClr val="bg1"/>
                </a:solidFill>
                <a:latin typeface="Arial Narrow" panose="020B0606020202030204" pitchFamily="34" charset="0"/>
              </a:rPr>
              <a:t>pt</a:t>
            </a:r>
            <a:r>
              <a:rPr lang="en-US" sz="1400">
                <a:solidFill>
                  <a:schemeClr val="bg1"/>
                </a:solidFill>
                <a:latin typeface="Arial Narrow" panose="020B0606020202030204" pitchFamily="34" charset="0"/>
              </a:rPr>
              <a:t>) or Warrant</a:t>
            </a:r>
            <a:r>
              <a:rPr lang="en-US" sz="1400" baseline="30000">
                <a:solidFill>
                  <a:schemeClr val="bg1"/>
                </a:solidFill>
                <a:latin typeface="Arial Narrow" panose="020B0606020202030204" pitchFamily="34" charset="0"/>
              </a:rPr>
              <a:t>®</a:t>
            </a:r>
            <a:r>
              <a:rPr lang="en-US" sz="1400">
                <a:solidFill>
                  <a:schemeClr val="bg1"/>
                </a:solidFill>
                <a:latin typeface="Arial Narrow" panose="020B0606020202030204" pitchFamily="34" charset="0"/>
              </a:rPr>
              <a:t> Ultra Herbicide (50 oz)</a:t>
            </a:r>
            <a:endParaRPr lang="en-US" sz="1600">
              <a:solidFill>
                <a:schemeClr val="bg1"/>
              </a:solidFill>
              <a:latin typeface="Arial Narrow" panose="020B0606020202030204" pitchFamily="34" charset="0"/>
            </a:endParaRPr>
          </a:p>
        </p:txBody>
      </p:sp>
      <p:pic>
        <p:nvPicPr>
          <p:cNvPr id="2" name="Picture 1">
            <a:extLst>
              <a:ext uri="{FF2B5EF4-FFF2-40B4-BE49-F238E27FC236}">
                <a16:creationId xmlns:a16="http://schemas.microsoft.com/office/drawing/2014/main" id="{40982CB0-7212-4689-B2B5-74CC3A688B5B}"/>
              </a:ext>
            </a:extLst>
          </p:cNvPr>
          <p:cNvPicPr>
            <a:picLocks noChangeAspect="1"/>
          </p:cNvPicPr>
          <p:nvPr/>
        </p:nvPicPr>
        <p:blipFill>
          <a:blip r:embed="rId3"/>
          <a:stretch>
            <a:fillRect/>
          </a:stretch>
        </p:blipFill>
        <p:spPr>
          <a:xfrm>
            <a:off x="914400" y="6336647"/>
            <a:ext cx="1171575" cy="495300"/>
          </a:xfrm>
          <a:prstGeom prst="rect">
            <a:avLst/>
          </a:prstGeom>
        </p:spPr>
      </p:pic>
      <p:pic>
        <p:nvPicPr>
          <p:cNvPr id="17" name="Picture 16">
            <a:extLst>
              <a:ext uri="{FF2B5EF4-FFF2-40B4-BE49-F238E27FC236}">
                <a16:creationId xmlns:a16="http://schemas.microsoft.com/office/drawing/2014/main" id="{CE122463-7C48-4F86-A7F9-5F44E5AA3857}"/>
              </a:ext>
            </a:extLst>
          </p:cNvPr>
          <p:cNvPicPr>
            <a:picLocks noChangeAspect="1"/>
          </p:cNvPicPr>
          <p:nvPr/>
        </p:nvPicPr>
        <p:blipFill>
          <a:blip r:embed="rId4"/>
          <a:stretch>
            <a:fillRect/>
          </a:stretch>
        </p:blipFill>
        <p:spPr>
          <a:xfrm>
            <a:off x="838200" y="6393164"/>
            <a:ext cx="1333500" cy="378995"/>
          </a:xfrm>
          <a:prstGeom prst="rect">
            <a:avLst/>
          </a:prstGeom>
        </p:spPr>
      </p:pic>
      <p:sp>
        <p:nvSpPr>
          <p:cNvPr id="3" name="TextBox 2">
            <a:extLst>
              <a:ext uri="{FF2B5EF4-FFF2-40B4-BE49-F238E27FC236}">
                <a16:creationId xmlns:a16="http://schemas.microsoft.com/office/drawing/2014/main" id="{7B7DD902-8FCA-4CB0-A512-D497739593E2}"/>
              </a:ext>
            </a:extLst>
          </p:cNvPr>
          <p:cNvSpPr txBox="1"/>
          <p:nvPr/>
        </p:nvSpPr>
        <p:spPr>
          <a:xfrm>
            <a:off x="795712" y="1295381"/>
            <a:ext cx="10589758" cy="523220"/>
          </a:xfrm>
          <a:prstGeom prst="rect">
            <a:avLst/>
          </a:prstGeom>
          <a:solidFill>
            <a:schemeClr val="accent4">
              <a:lumMod val="60000"/>
              <a:lumOff val="40000"/>
            </a:schemeClr>
          </a:solidFill>
        </p:spPr>
        <p:txBody>
          <a:bodyPr wrap="square" rtlCol="0">
            <a:spAutoFit/>
          </a:bodyPr>
          <a:lstStyle/>
          <a:p>
            <a:r>
              <a:rPr lang="en-US" sz="2800">
                <a:solidFill>
                  <a:schemeClr val="bg1"/>
                </a:solidFill>
                <a:latin typeface="Arial Narrow" panose="020B0606020202030204" pitchFamily="34" charset="0"/>
              </a:rPr>
              <a:t>Overlapping residual herbicides are important along with multiple sites of action </a:t>
            </a:r>
          </a:p>
        </p:txBody>
      </p:sp>
    </p:spTree>
    <p:extLst>
      <p:ext uri="{BB962C8B-B14F-4D97-AF65-F5344CB8AC3E}">
        <p14:creationId xmlns:p14="http://schemas.microsoft.com/office/powerpoint/2010/main" val="400145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1000"/>
                                        <p:tgtEl>
                                          <p:spTgt spid="36"/>
                                        </p:tgtEl>
                                      </p:cBhvr>
                                    </p:animEffect>
                                    <p:anim calcmode="lin" valueType="num">
                                      <p:cBhvr>
                                        <p:cTn id="13" dur="1000" fill="hold"/>
                                        <p:tgtEl>
                                          <p:spTgt spid="36"/>
                                        </p:tgtEl>
                                        <p:attrNameLst>
                                          <p:attrName>ppt_x</p:attrName>
                                        </p:attrNameLst>
                                      </p:cBhvr>
                                      <p:tavLst>
                                        <p:tav tm="0">
                                          <p:val>
                                            <p:strVal val="#ppt_x"/>
                                          </p:val>
                                        </p:tav>
                                        <p:tav tm="100000">
                                          <p:val>
                                            <p:strVal val="#ppt_x"/>
                                          </p:val>
                                        </p:tav>
                                      </p:tavLst>
                                    </p:anim>
                                    <p:anim calcmode="lin" valueType="num">
                                      <p:cBhvr>
                                        <p:cTn id="14" dur="1000" fill="hold"/>
                                        <p:tgtEl>
                                          <p:spTgt spid="3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000"/>
                                        <p:tgtEl>
                                          <p:spTgt spid="3"/>
                                        </p:tgtEl>
                                      </p:cBhvr>
                                    </p:animEffect>
                                    <p:anim calcmode="lin" valueType="num">
                                      <p:cBhvr>
                                        <p:cTn id="18" dur="1000" fill="hold"/>
                                        <p:tgtEl>
                                          <p:spTgt spid="3"/>
                                        </p:tgtEl>
                                        <p:attrNameLst>
                                          <p:attrName>ppt_x</p:attrName>
                                        </p:attrNameLst>
                                      </p:cBhvr>
                                      <p:tavLst>
                                        <p:tav tm="0">
                                          <p:val>
                                            <p:strVal val="#ppt_x"/>
                                          </p:val>
                                        </p:tav>
                                        <p:tav tm="100000">
                                          <p:val>
                                            <p:strVal val="#ppt_x"/>
                                          </p:val>
                                        </p:tav>
                                      </p:tavLst>
                                    </p:anim>
                                    <p:anim calcmode="lin" valueType="num">
                                      <p:cBhvr>
                                        <p:cTn id="1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6" grpId="0" animBg="1"/>
      <p:bldP spid="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94B8E10-3FC5-43ED-8A0B-1F9B367649AA}"/>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AFF3ED0B-52CB-4B57-B818-D13FB262D1A7}"/>
              </a:ext>
            </a:extLst>
          </p:cNvPr>
          <p:cNvSpPr>
            <a:spLocks noGrp="1"/>
          </p:cNvSpPr>
          <p:nvPr>
            <p:ph type="sldNum" sz="quarter" idx="16"/>
          </p:nvPr>
        </p:nvSpPr>
        <p:spPr/>
        <p:txBody>
          <a:bodyPr/>
          <a:lstStyle/>
          <a:p>
            <a:fld id="{5A1C2420-D500-4FDF-A245-39DCF46675EA}" type="slidenum">
              <a:rPr lang="en-US" smtClean="0"/>
              <a:t>55</a:t>
            </a:fld>
            <a:endParaRPr lang="en-US"/>
          </a:p>
        </p:txBody>
      </p:sp>
      <p:sp>
        <p:nvSpPr>
          <p:cNvPr id="15" name="Title 3">
            <a:extLst>
              <a:ext uri="{FF2B5EF4-FFF2-40B4-BE49-F238E27FC236}">
                <a16:creationId xmlns:a16="http://schemas.microsoft.com/office/drawing/2014/main" id="{F77842BC-58CE-4C90-AD05-B87FBEB85DE8}"/>
              </a:ext>
            </a:extLst>
          </p:cNvPr>
          <p:cNvSpPr>
            <a:spLocks noGrp="1"/>
          </p:cNvSpPr>
          <p:nvPr>
            <p:ph type="title"/>
          </p:nvPr>
        </p:nvSpPr>
        <p:spPr>
          <a:xfrm>
            <a:off x="838200" y="148506"/>
            <a:ext cx="10515600" cy="768773"/>
          </a:xfrm>
        </p:spPr>
        <p:txBody>
          <a:bodyPr>
            <a:normAutofit/>
          </a:bodyPr>
          <a:lstStyle/>
          <a:p>
            <a:r>
              <a:rPr lang="en-US" sz="2400" dirty="0">
                <a:latin typeface="Arial Black"/>
              </a:rPr>
              <a:t>Example of Good Weed</a:t>
            </a:r>
            <a:br>
              <a:rPr lang="en-US" sz="2400" dirty="0">
                <a:latin typeface="Arial Black"/>
              </a:rPr>
            </a:br>
            <a:r>
              <a:rPr lang="en-US" sz="2400" dirty="0">
                <a:latin typeface="Arial Black"/>
              </a:rPr>
              <a:t>Management System</a:t>
            </a:r>
            <a:endParaRPr lang="en-US" sz="2400" dirty="0"/>
          </a:p>
        </p:txBody>
      </p:sp>
      <p:sp>
        <p:nvSpPr>
          <p:cNvPr id="11" name="Content Placeholder 5">
            <a:extLst>
              <a:ext uri="{FF2B5EF4-FFF2-40B4-BE49-F238E27FC236}">
                <a16:creationId xmlns:a16="http://schemas.microsoft.com/office/drawing/2014/main" id="{422C908F-10B0-48DD-ADA4-51306AAD158E}"/>
              </a:ext>
            </a:extLst>
          </p:cNvPr>
          <p:cNvSpPr txBox="1">
            <a:spLocks/>
          </p:cNvSpPr>
          <p:nvPr/>
        </p:nvSpPr>
        <p:spPr>
          <a:xfrm>
            <a:off x="2285412" y="6022715"/>
            <a:ext cx="8275320" cy="3139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latin typeface="Arial Narrow" charset="0"/>
              </a:rPr>
              <a:t>*Check with your local dealer or representative or U.S. EPA and your state pesticide regulatory agency for the product registration status and additional restrictions in your state. </a:t>
            </a:r>
            <a:br>
              <a:rPr lang="en-US" sz="800">
                <a:latin typeface="Arial Narrow" charset="0"/>
              </a:rPr>
            </a:br>
            <a:r>
              <a:rPr lang="en-US" sz="800">
                <a:latin typeface="Arial Narrow" charset="0"/>
              </a:rPr>
              <a:t>**Contact your local retailer, company representative or extension service for specific regional weed management recommendations. </a:t>
            </a:r>
          </a:p>
        </p:txBody>
      </p:sp>
      <p:graphicFrame>
        <p:nvGraphicFramePr>
          <p:cNvPr id="12" name="Table 11">
            <a:extLst>
              <a:ext uri="{FF2B5EF4-FFF2-40B4-BE49-F238E27FC236}">
                <a16:creationId xmlns:a16="http://schemas.microsoft.com/office/drawing/2014/main" id="{12DC399A-9CD0-4820-A35D-63A772AFCEB5}"/>
              </a:ext>
            </a:extLst>
          </p:cNvPr>
          <p:cNvGraphicFramePr>
            <a:graphicFrameLocks noGrp="1"/>
          </p:cNvGraphicFramePr>
          <p:nvPr>
            <p:extLst>
              <p:ext uri="{D42A27DB-BD31-4B8C-83A1-F6EECF244321}">
                <p14:modId xmlns:p14="http://schemas.microsoft.com/office/powerpoint/2010/main" val="2846645194"/>
              </p:ext>
            </p:extLst>
          </p:nvPr>
        </p:nvGraphicFramePr>
        <p:xfrm>
          <a:off x="941389" y="2034134"/>
          <a:ext cx="10332720" cy="3931920"/>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val="553945150"/>
                    </a:ext>
                  </a:extLst>
                </a:gridCol>
                <a:gridCol w="1920240">
                  <a:extLst>
                    <a:ext uri="{9D8B030D-6E8A-4147-A177-3AD203B41FA5}">
                      <a16:colId xmlns:a16="http://schemas.microsoft.com/office/drawing/2014/main" val="2286531471"/>
                    </a:ext>
                  </a:extLst>
                </a:gridCol>
                <a:gridCol w="6766560">
                  <a:extLst>
                    <a:ext uri="{9D8B030D-6E8A-4147-A177-3AD203B41FA5}">
                      <a16:colId xmlns:a16="http://schemas.microsoft.com/office/drawing/2014/main" val="859317391"/>
                    </a:ext>
                  </a:extLst>
                </a:gridCol>
              </a:tblGrid>
              <a:tr h="548640">
                <a:tc>
                  <a:txBody>
                    <a:bodyPr/>
                    <a:lstStyle/>
                    <a:p>
                      <a:r>
                        <a:rPr lang="en-US" sz="1600" b="0" spc="600" baseline="0">
                          <a:latin typeface="Arial Narrow"/>
                        </a:rPr>
                        <a:t>TIMING</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600" b="0" spc="600" baseline="0">
                          <a:latin typeface="Arial Narrow"/>
                        </a:rPr>
                        <a:t>PRACTI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a:r>
                        <a:rPr lang="en-US" sz="1600" b="0" spc="600" baseline="0">
                          <a:latin typeface="Arial Narrow"/>
                        </a:rPr>
                        <a:t>EXAMPLE RECOMMENDATION** </a:t>
                      </a:r>
                      <a:endParaRPr lang="en-US" sz="1600" b="0" spc="600" baseline="0">
                        <a:latin typeface="Arial Narrow" panose="020B0606020202030204" pitchFamily="34" charset="0"/>
                      </a:endParaRP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731520">
                <a:tc>
                  <a:txBody>
                    <a:bodyPr/>
                    <a:lstStyle/>
                    <a:p>
                      <a:r>
                        <a:rPr lang="en-US" sz="1600">
                          <a:solidFill>
                            <a:schemeClr val="tx1"/>
                          </a:solidFill>
                          <a:latin typeface="Arial Narrow"/>
                        </a:rPr>
                        <a:t>Before Planting</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a:solidFill>
                            <a:schemeClr val="tx1"/>
                          </a:solidFill>
                          <a:latin typeface="Arial Narrow"/>
                        </a:rPr>
                        <a:t>Burndown or Start Clean with Tillag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dirty="0">
                          <a:solidFill>
                            <a:schemeClr val="bg1"/>
                          </a:solidFill>
                          <a:latin typeface="Arial Narrow"/>
                        </a:rPr>
                        <a:t>Roundup </a:t>
                      </a:r>
                      <a:r>
                        <a:rPr lang="en-US" sz="1600" dirty="0" err="1">
                          <a:solidFill>
                            <a:schemeClr val="bg1"/>
                          </a:solidFill>
                          <a:latin typeface="Arial Narrow"/>
                        </a:rPr>
                        <a:t>PowerMAX</a:t>
                      </a:r>
                      <a:r>
                        <a:rPr lang="en-US" sz="1600" baseline="30000" dirty="0">
                          <a:solidFill>
                            <a:schemeClr val="bg1"/>
                          </a:solidFill>
                          <a:latin typeface="Arial Narrow"/>
                        </a:rPr>
                        <a:t>®</a:t>
                      </a:r>
                      <a:r>
                        <a:rPr lang="en-US" sz="1600" dirty="0">
                          <a:solidFill>
                            <a:schemeClr val="bg1"/>
                          </a:solidFill>
                          <a:latin typeface="Arial Narrow"/>
                        </a:rPr>
                        <a:t> Herbicide (32 oz) + </a:t>
                      </a:r>
                      <a:r>
                        <a:rPr lang="en-US" sz="1600" dirty="0" err="1">
                          <a:solidFill>
                            <a:schemeClr val="bg1"/>
                          </a:solidFill>
                          <a:latin typeface="Arial Narrow"/>
                        </a:rPr>
                        <a:t>XtendiMax</a:t>
                      </a:r>
                      <a:r>
                        <a:rPr lang="en-US" sz="1600" baseline="30000" dirty="0">
                          <a:solidFill>
                            <a:schemeClr val="bg1"/>
                          </a:solidFill>
                          <a:latin typeface="Arial Narrow"/>
                        </a:rPr>
                        <a:t>®</a:t>
                      </a:r>
                      <a:r>
                        <a:rPr lang="en-US" sz="1600" dirty="0">
                          <a:solidFill>
                            <a:schemeClr val="bg1"/>
                          </a:solidFill>
                          <a:latin typeface="Arial Narrow"/>
                        </a:rPr>
                        <a:t> Herbicide with </a:t>
                      </a:r>
                      <a:r>
                        <a:rPr lang="en-US" sz="1600" dirty="0" err="1">
                          <a:solidFill>
                            <a:schemeClr val="bg1"/>
                          </a:solidFill>
                          <a:latin typeface="Arial Narrow"/>
                        </a:rPr>
                        <a:t>VaporGrip</a:t>
                      </a:r>
                      <a:r>
                        <a:rPr lang="en-US" sz="1600" baseline="30000" dirty="0">
                          <a:solidFill>
                            <a:schemeClr val="bg1"/>
                          </a:solidFill>
                          <a:latin typeface="Arial Narrow"/>
                        </a:rPr>
                        <a:t>®</a:t>
                      </a:r>
                      <a:r>
                        <a:rPr lang="en-US" sz="1600" dirty="0">
                          <a:solidFill>
                            <a:schemeClr val="bg1"/>
                          </a:solidFill>
                          <a:latin typeface="Arial Narrow"/>
                        </a:rPr>
                        <a:t> Technology (22 oz) + labeled Drift Reduction Adjuvant (DRA) + </a:t>
                      </a:r>
                      <a:r>
                        <a:rPr lang="en-US" sz="1600" dirty="0">
                          <a:solidFill>
                            <a:srgbClr val="00B050"/>
                          </a:solidFill>
                          <a:latin typeface="Arial Narrow"/>
                        </a:rPr>
                        <a:t>labeled Volatility Reduction Adjuvant (VRA)</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5603363"/>
                  </a:ext>
                </a:extLst>
              </a:tr>
              <a:tr h="731520">
                <a:tc>
                  <a:txBody>
                    <a:bodyPr/>
                    <a:lstStyle/>
                    <a:p>
                      <a:r>
                        <a:rPr lang="en-US" sz="1600" kern="1200">
                          <a:solidFill>
                            <a:schemeClr val="tx1"/>
                          </a:solidFill>
                          <a:latin typeface="Arial Narrow"/>
                          <a:ea typeface="+mn-ea"/>
                          <a:cs typeface="+mn-cs"/>
                        </a:rPr>
                        <a:t> At Planting </a:t>
                      </a:r>
                      <a:endParaRPr lang="en-US" sz="1600" kern="1200">
                        <a:solidFill>
                          <a:schemeClr val="tx1"/>
                        </a:solidFill>
                        <a:latin typeface="Arial Narrow" panose="020B0606020202030204" pitchFamily="34" charset="0"/>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a:latin typeface="Arial Narrow"/>
                        </a:rPr>
                        <a:t>P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l"/>
                      <a:endParaRPr lang="en-US" sz="1600" kern="1200">
                        <a:solidFill>
                          <a:schemeClr val="bg1"/>
                        </a:solidFill>
                        <a:latin typeface="Arial Narrow" panose="020B060602020203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19181117"/>
                  </a:ext>
                </a:extLst>
              </a:tr>
              <a:tr h="1097280">
                <a:tc>
                  <a:txBody>
                    <a:bodyPr/>
                    <a:lstStyle/>
                    <a:p>
                      <a:r>
                        <a:rPr lang="en-US" sz="1600" kern="1200">
                          <a:solidFill>
                            <a:schemeClr val="tx1"/>
                          </a:solidFill>
                          <a:latin typeface="Arial Narrow"/>
                          <a:ea typeface="+mn-ea"/>
                          <a:cs typeface="+mn-cs"/>
                        </a:rPr>
                        <a:t>Post 1 </a:t>
                      </a:r>
                      <a:r>
                        <a:rPr lang="en-US" sz="1600" kern="1200">
                          <a:solidFill>
                            <a:srgbClr val="000000"/>
                          </a:solidFill>
                          <a:latin typeface="Arial Narrow"/>
                          <a:ea typeface="+mn-ea"/>
                          <a:cs typeface="+mn-cs"/>
                        </a:rPr>
                        <a:t/>
                      </a:r>
                      <a:br>
                        <a:rPr lang="en-US" sz="1600" kern="1200">
                          <a:solidFill>
                            <a:srgbClr val="000000"/>
                          </a:solidFill>
                          <a:latin typeface="Arial Narrow"/>
                          <a:ea typeface="+mn-ea"/>
                          <a:cs typeface="+mn-cs"/>
                        </a:rPr>
                      </a:br>
                      <a:r>
                        <a:rPr lang="en-US" sz="1400" kern="1200">
                          <a:solidFill>
                            <a:schemeClr val="dk1"/>
                          </a:solidFill>
                          <a:latin typeface="Arial Narrow"/>
                          <a:ea typeface="+mn-ea"/>
                          <a:cs typeface="+mn-cs"/>
                        </a:rPr>
                        <a:t>Over-the-top</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a:latin typeface="Arial Narrow"/>
                        </a:rPr>
                        <a:t>Post 1 </a:t>
                      </a:r>
                      <a:br>
                        <a:rPr lang="en-US" sz="1600">
                          <a:latin typeface="Arial Narrow"/>
                        </a:rPr>
                      </a:br>
                      <a:r>
                        <a:rPr lang="en-US" sz="1400">
                          <a:latin typeface="Arial Narrow"/>
                        </a:rPr>
                        <a:t>&lt; 4” weeds and </a:t>
                      </a:r>
                      <a:br>
                        <a:rPr lang="en-US" sz="1400">
                          <a:latin typeface="Arial Narrow"/>
                        </a:rPr>
                      </a:br>
                      <a:r>
                        <a:rPr lang="en-US" sz="1400">
                          <a:latin typeface="Arial Narrow"/>
                        </a:rPr>
                        <a:t>within 20-30 days </a:t>
                      </a:r>
                      <a:br>
                        <a:rPr lang="en-US" sz="1400">
                          <a:latin typeface="Arial Narrow"/>
                        </a:rPr>
                      </a:br>
                      <a:r>
                        <a:rPr lang="en-US" sz="1400">
                          <a:latin typeface="Arial Narrow"/>
                        </a:rPr>
                        <a:t>after PRE Applic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600" kern="1200">
                        <a:solidFill>
                          <a:schemeClr val="bg1"/>
                        </a:solidFill>
                        <a:latin typeface="Arial Narrow" panose="020B060602020203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88328231"/>
                  </a:ext>
                </a:extLst>
              </a:tr>
              <a:tr h="731520">
                <a:tc>
                  <a:txBody>
                    <a:bodyPr/>
                    <a:lstStyle/>
                    <a:p>
                      <a:r>
                        <a:rPr lang="en-US" sz="1600" kern="1200">
                          <a:solidFill>
                            <a:schemeClr val="tx1"/>
                          </a:solidFill>
                          <a:latin typeface="Arial Narrow"/>
                          <a:ea typeface="+mn-ea"/>
                          <a:cs typeface="+mn-cs"/>
                        </a:rPr>
                        <a:t>Post 2 </a:t>
                      </a:r>
                      <a:r>
                        <a:rPr lang="en-US" sz="1600" kern="1200">
                          <a:solidFill>
                            <a:srgbClr val="000000"/>
                          </a:solidFill>
                          <a:latin typeface="Arial Narrow"/>
                          <a:ea typeface="+mn-ea"/>
                          <a:cs typeface="+mn-cs"/>
                        </a:rPr>
                        <a:t/>
                      </a:r>
                      <a:br>
                        <a:rPr lang="en-US" sz="1600" kern="1200">
                          <a:solidFill>
                            <a:srgbClr val="000000"/>
                          </a:solidFill>
                          <a:latin typeface="Arial Narrow"/>
                          <a:ea typeface="+mn-ea"/>
                          <a:cs typeface="+mn-cs"/>
                        </a:rPr>
                      </a:br>
                      <a:r>
                        <a:rPr lang="en-US" sz="1400" kern="1200">
                          <a:solidFill>
                            <a:schemeClr val="dk1"/>
                          </a:solidFill>
                          <a:latin typeface="Arial Narrow"/>
                          <a:ea typeface="+mn-ea"/>
                          <a:cs typeface="+mn-cs"/>
                        </a:rPr>
                        <a:t>Over-the-top</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a:latin typeface="Arial Narrow" panose="020B0606020202030204" pitchFamily="34" charset="0"/>
                        </a:rPr>
                        <a:t>Post 2 </a:t>
                      </a:r>
                      <a:endParaRPr lang="en-US" sz="1400">
                        <a:latin typeface="Arial Narrow" panose="020B0606020202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l"/>
                      <a:r>
                        <a:rPr lang="en-US" sz="1600" kern="1200" dirty="0">
                          <a:solidFill>
                            <a:schemeClr val="bg1"/>
                          </a:solidFill>
                          <a:latin typeface="Arial Narrow" panose="020B0606020202030204" pitchFamily="34" charset="0"/>
                          <a:ea typeface="+mn-ea"/>
                          <a:cs typeface="+mn-cs"/>
                        </a:rPr>
                        <a:t>Liberty</a:t>
                      </a:r>
                      <a:r>
                        <a:rPr lang="en-US" sz="1600" kern="1200" baseline="30000" dirty="0">
                          <a:solidFill>
                            <a:schemeClr val="bg1"/>
                          </a:solidFill>
                          <a:latin typeface="Arial Narrow" panose="020B0606020202030204" pitchFamily="34" charset="0"/>
                          <a:ea typeface="+mn-ea"/>
                          <a:cs typeface="+mn-cs"/>
                        </a:rPr>
                        <a:t>®</a:t>
                      </a:r>
                      <a:r>
                        <a:rPr lang="en-US" sz="1600" kern="1200" dirty="0">
                          <a:solidFill>
                            <a:schemeClr val="bg1"/>
                          </a:solidFill>
                          <a:latin typeface="Arial Narrow" panose="020B0606020202030204" pitchFamily="34" charset="0"/>
                          <a:ea typeface="+mn-ea"/>
                          <a:cs typeface="+mn-cs"/>
                        </a:rPr>
                        <a:t> Herbicide (29 oz) to control any weed escapes up to R1 growth stage</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33533300"/>
                  </a:ext>
                </a:extLst>
              </a:tr>
            </a:tbl>
          </a:graphicData>
        </a:graphic>
      </p:graphicFrame>
      <p:sp>
        <p:nvSpPr>
          <p:cNvPr id="14" name="Text Placeholder 2">
            <a:extLst>
              <a:ext uri="{FF2B5EF4-FFF2-40B4-BE49-F238E27FC236}">
                <a16:creationId xmlns:a16="http://schemas.microsoft.com/office/drawing/2014/main" id="{150BB341-3DC8-4F26-9B70-DA940724DEE1}"/>
              </a:ext>
            </a:extLst>
          </p:cNvPr>
          <p:cNvSpPr txBox="1">
            <a:spLocks/>
          </p:cNvSpPr>
          <p:nvPr/>
        </p:nvSpPr>
        <p:spPr>
          <a:xfrm>
            <a:off x="838200" y="843515"/>
            <a:ext cx="10515600" cy="341632"/>
          </a:xfrm>
          <a:prstGeom prst="rect">
            <a:avLst/>
          </a:prstGeom>
        </p:spPr>
        <p:txBody>
          <a:bodyPr vert="horz"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XtendFLEX</a:t>
            </a:r>
            <a:r>
              <a:rPr lang="en-US" baseline="30000" dirty="0"/>
              <a:t>®</a:t>
            </a:r>
            <a:r>
              <a:rPr lang="en-US" dirty="0"/>
              <a:t> Soybeans*</a:t>
            </a:r>
          </a:p>
        </p:txBody>
      </p:sp>
      <p:grpSp>
        <p:nvGrpSpPr>
          <p:cNvPr id="18" name="Group 17">
            <a:extLst>
              <a:ext uri="{FF2B5EF4-FFF2-40B4-BE49-F238E27FC236}">
                <a16:creationId xmlns:a16="http://schemas.microsoft.com/office/drawing/2014/main" id="{BB657F19-B1B9-4A8B-9D19-21FC85C0F6F4}"/>
              </a:ext>
            </a:extLst>
          </p:cNvPr>
          <p:cNvGrpSpPr/>
          <p:nvPr/>
        </p:nvGrpSpPr>
        <p:grpSpPr>
          <a:xfrm>
            <a:off x="10170091" y="349923"/>
            <a:ext cx="1217162" cy="364935"/>
            <a:chOff x="10910120" y="349923"/>
            <a:chExt cx="1217162" cy="364935"/>
          </a:xfrm>
        </p:grpSpPr>
        <p:sp>
          <p:nvSpPr>
            <p:cNvPr id="19" name="Freeform 6">
              <a:extLst>
                <a:ext uri="{FF2B5EF4-FFF2-40B4-BE49-F238E27FC236}">
                  <a16:creationId xmlns:a16="http://schemas.microsoft.com/office/drawing/2014/main" id="{02A4FA3F-8AD8-4A4C-88B7-D90E24B6CDF5}"/>
                </a:ext>
              </a:extLst>
            </p:cNvPr>
            <p:cNvSpPr>
              <a:spLocks noEditPoints="1"/>
            </p:cNvSpPr>
            <p:nvPr/>
          </p:nvSpPr>
          <p:spPr bwMode="auto">
            <a:xfrm>
              <a:off x="11706175" y="349923"/>
              <a:ext cx="421107" cy="356080"/>
            </a:xfrm>
            <a:custGeom>
              <a:avLst/>
              <a:gdLst>
                <a:gd name="T0" fmla="*/ 222 w 653"/>
                <a:gd name="T1" fmla="*/ 550 h 550"/>
                <a:gd name="T2" fmla="*/ 255 w 653"/>
                <a:gd name="T3" fmla="*/ 457 h 550"/>
                <a:gd name="T4" fmla="*/ 256 w 653"/>
                <a:gd name="T5" fmla="*/ 456 h 550"/>
                <a:gd name="T6" fmla="*/ 269 w 653"/>
                <a:gd name="T7" fmla="*/ 448 h 550"/>
                <a:gd name="T8" fmla="*/ 272 w 653"/>
                <a:gd name="T9" fmla="*/ 446 h 550"/>
                <a:gd name="T10" fmla="*/ 279 w 653"/>
                <a:gd name="T11" fmla="*/ 451 h 550"/>
                <a:gd name="T12" fmla="*/ 442 w 653"/>
                <a:gd name="T13" fmla="*/ 489 h 550"/>
                <a:gd name="T14" fmla="*/ 526 w 653"/>
                <a:gd name="T15" fmla="*/ 476 h 550"/>
                <a:gd name="T16" fmla="*/ 648 w 653"/>
                <a:gd name="T17" fmla="*/ 357 h 550"/>
                <a:gd name="T18" fmla="*/ 642 w 653"/>
                <a:gd name="T19" fmla="*/ 324 h 550"/>
                <a:gd name="T20" fmla="*/ 435 w 653"/>
                <a:gd name="T21" fmla="*/ 256 h 550"/>
                <a:gd name="T22" fmla="*/ 458 w 653"/>
                <a:gd name="T23" fmla="*/ 21 h 550"/>
                <a:gd name="T24" fmla="*/ 428 w 653"/>
                <a:gd name="T25" fmla="*/ 1 h 550"/>
                <a:gd name="T26" fmla="*/ 223 w 653"/>
                <a:gd name="T27" fmla="*/ 134 h 550"/>
                <a:gd name="T28" fmla="*/ 125 w 653"/>
                <a:gd name="T29" fmla="*/ 41 h 550"/>
                <a:gd name="T30" fmla="*/ 88 w 653"/>
                <a:gd name="T31" fmla="*/ 48 h 550"/>
                <a:gd name="T32" fmla="*/ 21 w 653"/>
                <a:gd name="T33" fmla="*/ 269 h 550"/>
                <a:gd name="T34" fmla="*/ 141 w 653"/>
                <a:gd name="T35" fmla="*/ 421 h 550"/>
                <a:gd name="T36" fmla="*/ 182 w 653"/>
                <a:gd name="T37" fmla="*/ 409 h 550"/>
                <a:gd name="T38" fmla="*/ 170 w 653"/>
                <a:gd name="T39" fmla="*/ 369 h 550"/>
                <a:gd name="T40" fmla="*/ 80 w 653"/>
                <a:gd name="T41" fmla="*/ 258 h 550"/>
                <a:gd name="T42" fmla="*/ 119 w 653"/>
                <a:gd name="T43" fmla="*/ 107 h 550"/>
                <a:gd name="T44" fmla="*/ 208 w 653"/>
                <a:gd name="T45" fmla="*/ 419 h 550"/>
                <a:gd name="T46" fmla="*/ 162 w 653"/>
                <a:gd name="T47" fmla="*/ 550 h 550"/>
                <a:gd name="T48" fmla="*/ 222 w 653"/>
                <a:gd name="T49" fmla="*/ 550 h 550"/>
                <a:gd name="T50" fmla="*/ 272 w 653"/>
                <a:gd name="T51" fmla="*/ 361 h 550"/>
                <a:gd name="T52" fmla="*/ 259 w 653"/>
                <a:gd name="T53" fmla="*/ 224 h 550"/>
                <a:gd name="T54" fmla="*/ 406 w 653"/>
                <a:gd name="T55" fmla="*/ 63 h 550"/>
                <a:gd name="T56" fmla="*/ 272 w 653"/>
                <a:gd name="T57" fmla="*/ 361 h 550"/>
                <a:gd name="T58" fmla="*/ 506 w 653"/>
                <a:gd name="T59" fmla="*/ 420 h 550"/>
                <a:gd name="T60" fmla="*/ 316 w 653"/>
                <a:gd name="T61" fmla="*/ 402 h 550"/>
                <a:gd name="T62" fmla="*/ 388 w 653"/>
                <a:gd name="T63" fmla="*/ 332 h 550"/>
                <a:gd name="T64" fmla="*/ 388 w 653"/>
                <a:gd name="T65" fmla="*/ 332 h 550"/>
                <a:gd name="T66" fmla="*/ 584 w 653"/>
                <a:gd name="T67" fmla="*/ 352 h 550"/>
                <a:gd name="T68" fmla="*/ 506 w 653"/>
                <a:gd name="T69" fmla="*/ 42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3" h="550">
                  <a:moveTo>
                    <a:pt x="222" y="550"/>
                  </a:moveTo>
                  <a:cubicBezTo>
                    <a:pt x="218" y="497"/>
                    <a:pt x="240" y="470"/>
                    <a:pt x="255" y="457"/>
                  </a:cubicBezTo>
                  <a:cubicBezTo>
                    <a:pt x="255" y="456"/>
                    <a:pt x="256" y="456"/>
                    <a:pt x="256" y="456"/>
                  </a:cubicBezTo>
                  <a:cubicBezTo>
                    <a:pt x="262" y="451"/>
                    <a:pt x="267" y="448"/>
                    <a:pt x="269" y="448"/>
                  </a:cubicBezTo>
                  <a:cubicBezTo>
                    <a:pt x="270" y="447"/>
                    <a:pt x="271" y="447"/>
                    <a:pt x="272" y="446"/>
                  </a:cubicBezTo>
                  <a:cubicBezTo>
                    <a:pt x="274" y="448"/>
                    <a:pt x="276" y="450"/>
                    <a:pt x="279" y="451"/>
                  </a:cubicBezTo>
                  <a:cubicBezTo>
                    <a:pt x="283" y="453"/>
                    <a:pt x="358" y="489"/>
                    <a:pt x="442" y="489"/>
                  </a:cubicBezTo>
                  <a:cubicBezTo>
                    <a:pt x="470" y="489"/>
                    <a:pt x="498" y="486"/>
                    <a:pt x="526" y="476"/>
                  </a:cubicBezTo>
                  <a:cubicBezTo>
                    <a:pt x="580" y="456"/>
                    <a:pt x="622" y="416"/>
                    <a:pt x="648" y="357"/>
                  </a:cubicBezTo>
                  <a:cubicBezTo>
                    <a:pt x="653" y="346"/>
                    <a:pt x="651" y="332"/>
                    <a:pt x="642" y="324"/>
                  </a:cubicBezTo>
                  <a:cubicBezTo>
                    <a:pt x="609" y="290"/>
                    <a:pt x="530" y="243"/>
                    <a:pt x="435" y="256"/>
                  </a:cubicBezTo>
                  <a:cubicBezTo>
                    <a:pt x="493" y="133"/>
                    <a:pt x="458" y="23"/>
                    <a:pt x="458" y="21"/>
                  </a:cubicBezTo>
                  <a:cubicBezTo>
                    <a:pt x="454" y="9"/>
                    <a:pt x="441" y="0"/>
                    <a:pt x="428" y="1"/>
                  </a:cubicBezTo>
                  <a:cubicBezTo>
                    <a:pt x="314" y="7"/>
                    <a:pt x="253" y="71"/>
                    <a:pt x="223" y="134"/>
                  </a:cubicBezTo>
                  <a:cubicBezTo>
                    <a:pt x="199" y="94"/>
                    <a:pt x="166" y="63"/>
                    <a:pt x="125" y="41"/>
                  </a:cubicBezTo>
                  <a:cubicBezTo>
                    <a:pt x="112" y="34"/>
                    <a:pt x="97" y="37"/>
                    <a:pt x="88" y="48"/>
                  </a:cubicBezTo>
                  <a:cubicBezTo>
                    <a:pt x="84" y="53"/>
                    <a:pt x="0" y="157"/>
                    <a:pt x="21" y="269"/>
                  </a:cubicBezTo>
                  <a:cubicBezTo>
                    <a:pt x="33" y="331"/>
                    <a:pt x="73" y="382"/>
                    <a:pt x="141" y="421"/>
                  </a:cubicBezTo>
                  <a:cubicBezTo>
                    <a:pt x="155" y="429"/>
                    <a:pt x="173" y="424"/>
                    <a:pt x="182" y="409"/>
                  </a:cubicBezTo>
                  <a:cubicBezTo>
                    <a:pt x="190" y="395"/>
                    <a:pt x="185" y="377"/>
                    <a:pt x="170" y="369"/>
                  </a:cubicBezTo>
                  <a:cubicBezTo>
                    <a:pt x="118" y="339"/>
                    <a:pt x="88" y="302"/>
                    <a:pt x="80" y="258"/>
                  </a:cubicBezTo>
                  <a:cubicBezTo>
                    <a:pt x="69" y="199"/>
                    <a:pt x="100" y="138"/>
                    <a:pt x="119" y="107"/>
                  </a:cubicBezTo>
                  <a:cubicBezTo>
                    <a:pt x="196" y="161"/>
                    <a:pt x="225" y="266"/>
                    <a:pt x="208" y="419"/>
                  </a:cubicBezTo>
                  <a:cubicBezTo>
                    <a:pt x="183" y="445"/>
                    <a:pt x="160" y="488"/>
                    <a:pt x="162" y="550"/>
                  </a:cubicBezTo>
                  <a:lnTo>
                    <a:pt x="222" y="550"/>
                  </a:lnTo>
                  <a:close/>
                  <a:moveTo>
                    <a:pt x="272" y="361"/>
                  </a:moveTo>
                  <a:cubicBezTo>
                    <a:pt x="273" y="310"/>
                    <a:pt x="269" y="265"/>
                    <a:pt x="259" y="224"/>
                  </a:cubicBezTo>
                  <a:cubicBezTo>
                    <a:pt x="261" y="205"/>
                    <a:pt x="278" y="84"/>
                    <a:pt x="406" y="63"/>
                  </a:cubicBezTo>
                  <a:cubicBezTo>
                    <a:pt x="415" y="116"/>
                    <a:pt x="418" y="251"/>
                    <a:pt x="272" y="361"/>
                  </a:cubicBezTo>
                  <a:close/>
                  <a:moveTo>
                    <a:pt x="506" y="420"/>
                  </a:moveTo>
                  <a:cubicBezTo>
                    <a:pt x="433" y="446"/>
                    <a:pt x="346" y="415"/>
                    <a:pt x="316" y="402"/>
                  </a:cubicBezTo>
                  <a:cubicBezTo>
                    <a:pt x="345" y="380"/>
                    <a:pt x="368" y="356"/>
                    <a:pt x="388" y="332"/>
                  </a:cubicBezTo>
                  <a:cubicBezTo>
                    <a:pt x="388" y="332"/>
                    <a:pt x="388" y="332"/>
                    <a:pt x="388" y="332"/>
                  </a:cubicBezTo>
                  <a:cubicBezTo>
                    <a:pt x="479" y="289"/>
                    <a:pt x="553" y="329"/>
                    <a:pt x="584" y="352"/>
                  </a:cubicBezTo>
                  <a:cubicBezTo>
                    <a:pt x="565" y="386"/>
                    <a:pt x="539" y="408"/>
                    <a:pt x="506" y="4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20" name="Straight Connector 19">
              <a:extLst>
                <a:ext uri="{FF2B5EF4-FFF2-40B4-BE49-F238E27FC236}">
                  <a16:creationId xmlns:a16="http://schemas.microsoft.com/office/drawing/2014/main" id="{34CE6DD7-0097-47CB-85FF-169615D4986B}"/>
                </a:ext>
              </a:extLst>
            </p:cNvPr>
            <p:cNvCxnSpPr/>
            <p:nvPr/>
          </p:nvCxnSpPr>
          <p:spPr>
            <a:xfrm flipH="1">
              <a:off x="10917847" y="714858"/>
              <a:ext cx="1092128" cy="0"/>
            </a:xfrm>
            <a:prstGeom prst="lin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2" name="Rectangle 21">
              <a:extLst>
                <a:ext uri="{FF2B5EF4-FFF2-40B4-BE49-F238E27FC236}">
                  <a16:creationId xmlns:a16="http://schemas.microsoft.com/office/drawing/2014/main" id="{7266014E-772D-4679-9926-404470FF0F17}"/>
                </a:ext>
              </a:extLst>
            </p:cNvPr>
            <p:cNvSpPr/>
            <p:nvPr/>
          </p:nvSpPr>
          <p:spPr>
            <a:xfrm>
              <a:off x="10910120" y="445726"/>
              <a:ext cx="762429" cy="26913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eaLnBrk="0" fontAlgn="base" hangingPunct="0">
                <a:spcBef>
                  <a:spcPct val="0"/>
                </a:spcBef>
                <a:spcAft>
                  <a:spcPct val="0"/>
                </a:spcAft>
              </a:pPr>
              <a:r>
                <a:rPr lang="en-US" sz="1483">
                  <a:solidFill>
                    <a:schemeClr val="tx1"/>
                  </a:solidFill>
                  <a:latin typeface="Arial Narrow" panose="020B0606020202030204" pitchFamily="34" charset="0"/>
                </a:rPr>
                <a:t>Soybean</a:t>
              </a:r>
            </a:p>
          </p:txBody>
        </p:sp>
      </p:grpSp>
      <p:sp>
        <p:nvSpPr>
          <p:cNvPr id="32" name="Rectangle 31">
            <a:extLst>
              <a:ext uri="{FF2B5EF4-FFF2-40B4-BE49-F238E27FC236}">
                <a16:creationId xmlns:a16="http://schemas.microsoft.com/office/drawing/2014/main" id="{247926EF-643B-4970-8EFC-81C26772EA7C}"/>
              </a:ext>
            </a:extLst>
          </p:cNvPr>
          <p:cNvSpPr/>
          <p:nvPr/>
        </p:nvSpPr>
        <p:spPr>
          <a:xfrm>
            <a:off x="4571999" y="3531292"/>
            <a:ext cx="5967467" cy="4899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5E648A8-C9A2-4E60-B271-1E467D0E531C}"/>
              </a:ext>
            </a:extLst>
          </p:cNvPr>
          <p:cNvSpPr/>
          <p:nvPr/>
        </p:nvSpPr>
        <p:spPr>
          <a:xfrm>
            <a:off x="4510159" y="3474944"/>
            <a:ext cx="6697533" cy="584775"/>
          </a:xfrm>
          <a:prstGeom prst="rect">
            <a:avLst/>
          </a:prstGeom>
        </p:spPr>
        <p:txBody>
          <a:bodyPr wrap="square">
            <a:spAutoFit/>
          </a:bodyPr>
          <a:lstStyle/>
          <a:p>
            <a:r>
              <a:rPr lang="en-US" sz="1600">
                <a:solidFill>
                  <a:schemeClr val="bg1"/>
                </a:solidFill>
                <a:latin typeface="Arial Narrow" panose="020B0606020202030204" pitchFamily="34" charset="0"/>
              </a:rPr>
              <a:t>Valor</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EZ Herbicide (2 oz), Valor</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XLT Herbicide (3 oz), Fierce</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3 oz) </a:t>
            </a:r>
            <a:br>
              <a:rPr lang="en-US" sz="1600">
                <a:solidFill>
                  <a:schemeClr val="bg1"/>
                </a:solidFill>
                <a:latin typeface="Arial Narrow" panose="020B0606020202030204" pitchFamily="34" charset="0"/>
              </a:rPr>
            </a:br>
            <a:r>
              <a:rPr lang="en-US" sz="1600">
                <a:solidFill>
                  <a:schemeClr val="bg1"/>
                </a:solidFill>
                <a:latin typeface="Arial Narrow" panose="020B0606020202030204" pitchFamily="34" charset="0"/>
              </a:rPr>
              <a:t>or Warrant</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3-4 </a:t>
            </a:r>
            <a:r>
              <a:rPr lang="en-US" sz="1600" err="1">
                <a:solidFill>
                  <a:schemeClr val="bg1"/>
                </a:solidFill>
                <a:latin typeface="Arial Narrow" panose="020B0606020202030204" pitchFamily="34" charset="0"/>
              </a:rPr>
              <a:t>pt</a:t>
            </a:r>
            <a:r>
              <a:rPr lang="en-US" sz="1600">
                <a:solidFill>
                  <a:schemeClr val="bg1"/>
                </a:solidFill>
                <a:latin typeface="Arial Narrow" panose="020B0606020202030204" pitchFamily="34" charset="0"/>
              </a:rPr>
              <a:t>) + metribuzin (0.25 </a:t>
            </a:r>
            <a:r>
              <a:rPr lang="en-US" sz="1600" err="1">
                <a:solidFill>
                  <a:schemeClr val="bg1"/>
                </a:solidFill>
                <a:latin typeface="Arial Narrow" panose="020B0606020202030204" pitchFamily="34" charset="0"/>
              </a:rPr>
              <a:t>lb</a:t>
            </a:r>
            <a:r>
              <a:rPr lang="en-US" sz="1600">
                <a:solidFill>
                  <a:schemeClr val="bg1"/>
                </a:solidFill>
                <a:latin typeface="Arial Narrow" panose="020B0606020202030204" pitchFamily="34" charset="0"/>
              </a:rPr>
              <a:t>)</a:t>
            </a:r>
          </a:p>
        </p:txBody>
      </p:sp>
      <p:sp>
        <p:nvSpPr>
          <p:cNvPr id="36" name="Rectangle 35">
            <a:extLst>
              <a:ext uri="{FF2B5EF4-FFF2-40B4-BE49-F238E27FC236}">
                <a16:creationId xmlns:a16="http://schemas.microsoft.com/office/drawing/2014/main" id="{BC9675B7-656D-4AF0-A026-2521CAAF3920}"/>
              </a:ext>
            </a:extLst>
          </p:cNvPr>
          <p:cNvSpPr/>
          <p:nvPr/>
        </p:nvSpPr>
        <p:spPr>
          <a:xfrm>
            <a:off x="4758118" y="4731360"/>
            <a:ext cx="4094570" cy="2538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71578846-AFE6-4A15-B60D-C8E630480BBE}"/>
              </a:ext>
            </a:extLst>
          </p:cNvPr>
          <p:cNvSpPr/>
          <p:nvPr/>
        </p:nvSpPr>
        <p:spPr>
          <a:xfrm>
            <a:off x="4510159" y="4134612"/>
            <a:ext cx="6697533" cy="877163"/>
          </a:xfrm>
          <a:prstGeom prst="rect">
            <a:avLst/>
          </a:prstGeom>
        </p:spPr>
        <p:txBody>
          <a:bodyPr wrap="square">
            <a:spAutoFit/>
          </a:bodyPr>
          <a:lstStyle/>
          <a:p>
            <a:r>
              <a:rPr lang="en-US" sz="1600">
                <a:solidFill>
                  <a:schemeClr val="bg1"/>
                </a:solidFill>
                <a:latin typeface="Arial Narrow" panose="020B0606020202030204" pitchFamily="34" charset="0"/>
              </a:rPr>
              <a:t>Roundup </a:t>
            </a:r>
            <a:r>
              <a:rPr lang="en-US" sz="1600" err="1">
                <a:solidFill>
                  <a:schemeClr val="bg1"/>
                </a:solidFill>
                <a:latin typeface="Arial Narrow" panose="020B0606020202030204" pitchFamily="34" charset="0"/>
              </a:rPr>
              <a:t>PowerMAX</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32 oz) + </a:t>
            </a:r>
            <a:r>
              <a:rPr lang="en-US" sz="1600" err="1">
                <a:solidFill>
                  <a:schemeClr val="bg1"/>
                </a:solidFill>
                <a:latin typeface="Arial Narrow" panose="020B0606020202030204" pitchFamily="34" charset="0"/>
              </a:rPr>
              <a:t>XtendiMax</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with </a:t>
            </a:r>
            <a:r>
              <a:rPr lang="en-US" sz="1600" err="1">
                <a:solidFill>
                  <a:schemeClr val="bg1"/>
                </a:solidFill>
                <a:latin typeface="Arial Narrow" panose="020B0606020202030204" pitchFamily="34" charset="0"/>
              </a:rPr>
              <a:t>VaporGrip</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Technology (22 oz) + labeled DRA + </a:t>
            </a:r>
            <a:r>
              <a:rPr lang="en-US" sz="1600">
                <a:solidFill>
                  <a:srgbClr val="00B050"/>
                </a:solidFill>
                <a:latin typeface="Arial Narrow" panose="020B0606020202030204" pitchFamily="34" charset="0"/>
              </a:rPr>
              <a:t>labeled VRA</a:t>
            </a:r>
          </a:p>
          <a:p>
            <a:pPr marL="182880">
              <a:spcBef>
                <a:spcPts val="600"/>
              </a:spcBef>
            </a:pPr>
            <a:r>
              <a:rPr lang="en-US" sz="1400">
                <a:solidFill>
                  <a:schemeClr val="bg1"/>
                </a:solidFill>
                <a:latin typeface="Arial Narrow" panose="020B0606020202030204" pitchFamily="34" charset="0"/>
              </a:rPr>
              <a:t>Warrant</a:t>
            </a:r>
            <a:r>
              <a:rPr lang="en-US" sz="1400" baseline="30000">
                <a:solidFill>
                  <a:schemeClr val="bg1"/>
                </a:solidFill>
                <a:latin typeface="Arial Narrow" panose="020B0606020202030204" pitchFamily="34" charset="0"/>
              </a:rPr>
              <a:t>®</a:t>
            </a:r>
            <a:r>
              <a:rPr lang="en-US" sz="1400">
                <a:solidFill>
                  <a:schemeClr val="bg1"/>
                </a:solidFill>
                <a:latin typeface="Arial Narrow" panose="020B0606020202030204" pitchFamily="34" charset="0"/>
              </a:rPr>
              <a:t> Herbicide (3-4 </a:t>
            </a:r>
            <a:r>
              <a:rPr lang="en-US" sz="1400" err="1">
                <a:solidFill>
                  <a:schemeClr val="bg1"/>
                </a:solidFill>
                <a:latin typeface="Arial Narrow" panose="020B0606020202030204" pitchFamily="34" charset="0"/>
              </a:rPr>
              <a:t>pt</a:t>
            </a:r>
            <a:r>
              <a:rPr lang="en-US" sz="1400">
                <a:solidFill>
                  <a:schemeClr val="bg1"/>
                </a:solidFill>
                <a:latin typeface="Arial Narrow" panose="020B0606020202030204" pitchFamily="34" charset="0"/>
              </a:rPr>
              <a:t>) or Warrant</a:t>
            </a:r>
            <a:r>
              <a:rPr lang="en-US" sz="1400" baseline="30000">
                <a:solidFill>
                  <a:schemeClr val="bg1"/>
                </a:solidFill>
                <a:latin typeface="Arial Narrow" panose="020B0606020202030204" pitchFamily="34" charset="0"/>
              </a:rPr>
              <a:t>®</a:t>
            </a:r>
            <a:r>
              <a:rPr lang="en-US" sz="1400">
                <a:solidFill>
                  <a:schemeClr val="bg1"/>
                </a:solidFill>
                <a:latin typeface="Arial Narrow" panose="020B0606020202030204" pitchFamily="34" charset="0"/>
              </a:rPr>
              <a:t> Ultra Herbicide (50 oz)</a:t>
            </a:r>
            <a:endParaRPr lang="en-US" sz="1600">
              <a:solidFill>
                <a:schemeClr val="bg1"/>
              </a:solidFill>
              <a:latin typeface="Arial Narrow" panose="020B0606020202030204" pitchFamily="34" charset="0"/>
            </a:endParaRPr>
          </a:p>
        </p:txBody>
      </p:sp>
      <p:pic>
        <p:nvPicPr>
          <p:cNvPr id="2" name="Picture 1">
            <a:extLst>
              <a:ext uri="{FF2B5EF4-FFF2-40B4-BE49-F238E27FC236}">
                <a16:creationId xmlns:a16="http://schemas.microsoft.com/office/drawing/2014/main" id="{40982CB0-7212-4689-B2B5-74CC3A688B5B}"/>
              </a:ext>
            </a:extLst>
          </p:cNvPr>
          <p:cNvPicPr>
            <a:picLocks noChangeAspect="1"/>
          </p:cNvPicPr>
          <p:nvPr/>
        </p:nvPicPr>
        <p:blipFill>
          <a:blip r:embed="rId3"/>
          <a:stretch>
            <a:fillRect/>
          </a:stretch>
        </p:blipFill>
        <p:spPr>
          <a:xfrm>
            <a:off x="914400" y="6336647"/>
            <a:ext cx="1171575" cy="495300"/>
          </a:xfrm>
          <a:prstGeom prst="rect">
            <a:avLst/>
          </a:prstGeom>
        </p:spPr>
      </p:pic>
      <p:pic>
        <p:nvPicPr>
          <p:cNvPr id="17" name="Picture 16">
            <a:extLst>
              <a:ext uri="{FF2B5EF4-FFF2-40B4-BE49-F238E27FC236}">
                <a16:creationId xmlns:a16="http://schemas.microsoft.com/office/drawing/2014/main" id="{CE122463-7C48-4F86-A7F9-5F44E5AA3857}"/>
              </a:ext>
            </a:extLst>
          </p:cNvPr>
          <p:cNvPicPr>
            <a:picLocks noChangeAspect="1"/>
          </p:cNvPicPr>
          <p:nvPr/>
        </p:nvPicPr>
        <p:blipFill>
          <a:blip r:embed="rId4"/>
          <a:stretch>
            <a:fillRect/>
          </a:stretch>
        </p:blipFill>
        <p:spPr>
          <a:xfrm>
            <a:off x="838200" y="6393164"/>
            <a:ext cx="1333500" cy="378995"/>
          </a:xfrm>
          <a:prstGeom prst="rect">
            <a:avLst/>
          </a:prstGeom>
        </p:spPr>
      </p:pic>
      <p:sp>
        <p:nvSpPr>
          <p:cNvPr id="3" name="TextBox 2">
            <a:extLst>
              <a:ext uri="{FF2B5EF4-FFF2-40B4-BE49-F238E27FC236}">
                <a16:creationId xmlns:a16="http://schemas.microsoft.com/office/drawing/2014/main" id="{7B7DD902-8FCA-4CB0-A512-D497739593E2}"/>
              </a:ext>
            </a:extLst>
          </p:cNvPr>
          <p:cNvSpPr txBox="1"/>
          <p:nvPr/>
        </p:nvSpPr>
        <p:spPr>
          <a:xfrm>
            <a:off x="735552" y="1295381"/>
            <a:ext cx="10589758" cy="523220"/>
          </a:xfrm>
          <a:prstGeom prst="rect">
            <a:avLst/>
          </a:prstGeom>
          <a:solidFill>
            <a:schemeClr val="accent4">
              <a:lumMod val="60000"/>
              <a:lumOff val="40000"/>
            </a:schemeClr>
          </a:solidFill>
        </p:spPr>
        <p:txBody>
          <a:bodyPr wrap="square" rtlCol="0">
            <a:spAutoFit/>
          </a:bodyPr>
          <a:lstStyle/>
          <a:p>
            <a:r>
              <a:rPr lang="en-US" sz="2800">
                <a:solidFill>
                  <a:schemeClr val="bg1"/>
                </a:solidFill>
                <a:latin typeface="Arial Narrow" panose="020B0606020202030204" pitchFamily="34" charset="0"/>
              </a:rPr>
              <a:t>Overlapping residual herbicides are important along with multiple sites of action </a:t>
            </a:r>
          </a:p>
        </p:txBody>
      </p:sp>
    </p:spTree>
    <p:extLst>
      <p:ext uri="{BB962C8B-B14F-4D97-AF65-F5344CB8AC3E}">
        <p14:creationId xmlns:p14="http://schemas.microsoft.com/office/powerpoint/2010/main" val="271346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1000"/>
                                        <p:tgtEl>
                                          <p:spTgt spid="36"/>
                                        </p:tgtEl>
                                      </p:cBhvr>
                                    </p:animEffect>
                                    <p:anim calcmode="lin" valueType="num">
                                      <p:cBhvr>
                                        <p:cTn id="13" dur="1000" fill="hold"/>
                                        <p:tgtEl>
                                          <p:spTgt spid="36"/>
                                        </p:tgtEl>
                                        <p:attrNameLst>
                                          <p:attrName>ppt_x</p:attrName>
                                        </p:attrNameLst>
                                      </p:cBhvr>
                                      <p:tavLst>
                                        <p:tav tm="0">
                                          <p:val>
                                            <p:strVal val="#ppt_x"/>
                                          </p:val>
                                        </p:tav>
                                        <p:tav tm="100000">
                                          <p:val>
                                            <p:strVal val="#ppt_x"/>
                                          </p:val>
                                        </p:tav>
                                      </p:tavLst>
                                    </p:anim>
                                    <p:anim calcmode="lin" valueType="num">
                                      <p:cBhvr>
                                        <p:cTn id="14" dur="1000" fill="hold"/>
                                        <p:tgtEl>
                                          <p:spTgt spid="3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000"/>
                                        <p:tgtEl>
                                          <p:spTgt spid="3"/>
                                        </p:tgtEl>
                                      </p:cBhvr>
                                    </p:animEffect>
                                    <p:anim calcmode="lin" valueType="num">
                                      <p:cBhvr>
                                        <p:cTn id="18" dur="1000" fill="hold"/>
                                        <p:tgtEl>
                                          <p:spTgt spid="3"/>
                                        </p:tgtEl>
                                        <p:attrNameLst>
                                          <p:attrName>ppt_x</p:attrName>
                                        </p:attrNameLst>
                                      </p:cBhvr>
                                      <p:tavLst>
                                        <p:tav tm="0">
                                          <p:val>
                                            <p:strVal val="#ppt_x"/>
                                          </p:val>
                                        </p:tav>
                                        <p:tav tm="100000">
                                          <p:val>
                                            <p:strVal val="#ppt_x"/>
                                          </p:val>
                                        </p:tav>
                                      </p:tavLst>
                                    </p:anim>
                                    <p:anim calcmode="lin" valueType="num">
                                      <p:cBhvr>
                                        <p:cTn id="1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6" grpId="0" animBg="1"/>
      <p:bldP spid="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94B8E10-3FC5-43ED-8A0B-1F9B367649AA}"/>
              </a:ext>
            </a:extLst>
          </p:cNvPr>
          <p:cNvSpPr>
            <a:spLocks noGrp="1"/>
          </p:cNvSpPr>
          <p:nvPr>
            <p:ph type="ftr" sz="quarter" idx="15"/>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AFF3ED0B-52CB-4B57-B818-D13FB262D1A7}"/>
              </a:ext>
            </a:extLst>
          </p:cNvPr>
          <p:cNvSpPr>
            <a:spLocks noGrp="1"/>
          </p:cNvSpPr>
          <p:nvPr>
            <p:ph type="sldNum" sz="quarter" idx="16"/>
          </p:nvPr>
        </p:nvSpPr>
        <p:spPr/>
        <p:txBody>
          <a:bodyPr/>
          <a:lstStyle/>
          <a:p>
            <a:fld id="{5A1C2420-D500-4FDF-A245-39DCF46675EA}" type="slidenum">
              <a:rPr lang="en-US" smtClean="0"/>
              <a:t>56</a:t>
            </a:fld>
            <a:endParaRPr lang="en-US"/>
          </a:p>
        </p:txBody>
      </p:sp>
      <p:sp>
        <p:nvSpPr>
          <p:cNvPr id="16" name="Title 3">
            <a:extLst>
              <a:ext uri="{FF2B5EF4-FFF2-40B4-BE49-F238E27FC236}">
                <a16:creationId xmlns:a16="http://schemas.microsoft.com/office/drawing/2014/main" id="{C8F08A8A-984D-46EE-8A04-B7665A8D89AA}"/>
              </a:ext>
            </a:extLst>
          </p:cNvPr>
          <p:cNvSpPr>
            <a:spLocks noGrp="1"/>
          </p:cNvSpPr>
          <p:nvPr>
            <p:ph type="title"/>
          </p:nvPr>
        </p:nvSpPr>
        <p:spPr>
          <a:xfrm>
            <a:off x="838200" y="104440"/>
            <a:ext cx="10515600" cy="768773"/>
          </a:xfrm>
        </p:spPr>
        <p:txBody>
          <a:bodyPr>
            <a:normAutofit/>
          </a:bodyPr>
          <a:lstStyle/>
          <a:p>
            <a:r>
              <a:rPr lang="en-US" sz="2400"/>
              <a:t>Example of Good Weed </a:t>
            </a:r>
            <a:br>
              <a:rPr lang="en-US" sz="2400"/>
            </a:br>
            <a:r>
              <a:rPr lang="en-US" sz="2400"/>
              <a:t>Management System</a:t>
            </a:r>
          </a:p>
        </p:txBody>
      </p:sp>
      <p:sp>
        <p:nvSpPr>
          <p:cNvPr id="11" name="Content Placeholder 5">
            <a:extLst>
              <a:ext uri="{FF2B5EF4-FFF2-40B4-BE49-F238E27FC236}">
                <a16:creationId xmlns:a16="http://schemas.microsoft.com/office/drawing/2014/main" id="{422C908F-10B0-48DD-ADA4-51306AAD158E}"/>
              </a:ext>
            </a:extLst>
          </p:cNvPr>
          <p:cNvSpPr txBox="1">
            <a:spLocks/>
          </p:cNvSpPr>
          <p:nvPr/>
        </p:nvSpPr>
        <p:spPr>
          <a:xfrm>
            <a:off x="2285412" y="6022715"/>
            <a:ext cx="8275320" cy="3139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latin typeface="Arial Narrow" charset="0"/>
              </a:rPr>
              <a:t>*Check with your local dealer or representative or U.S. EPA and your state pesticide regulatory agency for the product registration status and additional restrictions in your state.</a:t>
            </a:r>
            <a:br>
              <a:rPr lang="en-US" sz="800">
                <a:latin typeface="Arial Narrow" charset="0"/>
              </a:rPr>
            </a:br>
            <a:r>
              <a:rPr lang="en-US" sz="800">
                <a:latin typeface="Arial Narrow" charset="0"/>
              </a:rPr>
              <a:t>**Contact your local retailer, company representative or extension service for specific regional weed management recommendations. </a:t>
            </a:r>
          </a:p>
        </p:txBody>
      </p:sp>
      <p:graphicFrame>
        <p:nvGraphicFramePr>
          <p:cNvPr id="12" name="Table 11">
            <a:extLst>
              <a:ext uri="{FF2B5EF4-FFF2-40B4-BE49-F238E27FC236}">
                <a16:creationId xmlns:a16="http://schemas.microsoft.com/office/drawing/2014/main" id="{12DC399A-9CD0-4820-A35D-63A772AFCEB5}"/>
              </a:ext>
            </a:extLst>
          </p:cNvPr>
          <p:cNvGraphicFramePr>
            <a:graphicFrameLocks noGrp="1"/>
          </p:cNvGraphicFramePr>
          <p:nvPr>
            <p:extLst>
              <p:ext uri="{D42A27DB-BD31-4B8C-83A1-F6EECF244321}">
                <p14:modId xmlns:p14="http://schemas.microsoft.com/office/powerpoint/2010/main" val="3477182833"/>
              </p:ext>
            </p:extLst>
          </p:nvPr>
        </p:nvGraphicFramePr>
        <p:xfrm>
          <a:off x="941389" y="2012100"/>
          <a:ext cx="10332720" cy="3779520"/>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val="553945150"/>
                    </a:ext>
                  </a:extLst>
                </a:gridCol>
                <a:gridCol w="1920240">
                  <a:extLst>
                    <a:ext uri="{9D8B030D-6E8A-4147-A177-3AD203B41FA5}">
                      <a16:colId xmlns:a16="http://schemas.microsoft.com/office/drawing/2014/main" val="2286531471"/>
                    </a:ext>
                  </a:extLst>
                </a:gridCol>
                <a:gridCol w="6766560">
                  <a:extLst>
                    <a:ext uri="{9D8B030D-6E8A-4147-A177-3AD203B41FA5}">
                      <a16:colId xmlns:a16="http://schemas.microsoft.com/office/drawing/2014/main" val="859317391"/>
                    </a:ext>
                  </a:extLst>
                </a:gridCol>
              </a:tblGrid>
              <a:tr h="548640">
                <a:tc>
                  <a:txBody>
                    <a:bodyPr/>
                    <a:lstStyle/>
                    <a:p>
                      <a:r>
                        <a:rPr lang="en-US" sz="1600" b="0" spc="600" baseline="0">
                          <a:latin typeface="Arial Narrow" panose="020B0606020202030204" pitchFamily="34" charset="0"/>
                        </a:rPr>
                        <a:t>TIMING</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600" b="0" spc="600" baseline="0">
                          <a:latin typeface="Arial Narrow" panose="020B0606020202030204" pitchFamily="34" charset="0"/>
                        </a:rPr>
                        <a:t>PRACTI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a:r>
                        <a:rPr lang="en-US" sz="1600" b="0" spc="600" baseline="0">
                          <a:latin typeface="Arial Narrow" panose="020B0606020202030204" pitchFamily="34" charset="0"/>
                        </a:rPr>
                        <a:t>EXAMPLE RECOMMENDATION** </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548640">
                <a:tc>
                  <a:txBody>
                    <a:bodyPr/>
                    <a:lstStyle/>
                    <a:p>
                      <a:r>
                        <a:rPr lang="en-US" sz="1600">
                          <a:solidFill>
                            <a:schemeClr val="tx1"/>
                          </a:solidFill>
                          <a:latin typeface="Arial Narrow" panose="020B0606020202030204" pitchFamily="34" charset="0"/>
                        </a:rPr>
                        <a:t>Before Planting</a:t>
                      </a:r>
                    </a:p>
                  </a:txBody>
                  <a:tcPr anchor="ct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a:solidFill>
                            <a:schemeClr val="tx1"/>
                          </a:solidFill>
                          <a:latin typeface="Arial Narrow" panose="020B0606020202030204" pitchFamily="34" charset="0"/>
                        </a:rPr>
                        <a:t>Early Burndown or Start Clean with Tillag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a:solidFill>
                            <a:schemeClr val="bg1"/>
                          </a:solidFill>
                          <a:latin typeface="Arial Narrow" panose="020B0606020202030204" pitchFamily="34" charset="0"/>
                        </a:rPr>
                        <a:t>Roundup </a:t>
                      </a:r>
                      <a:r>
                        <a:rPr lang="en-US" sz="1600" err="1">
                          <a:solidFill>
                            <a:schemeClr val="bg1"/>
                          </a:solidFill>
                          <a:latin typeface="Arial Narrow" panose="020B0606020202030204" pitchFamily="34" charset="0"/>
                        </a:rPr>
                        <a:t>PowerMAX</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II Herbicide (32 oz) + 2,4-D (16-32oz) or dicamba (0.25-0.5 </a:t>
                      </a:r>
                      <a:r>
                        <a:rPr lang="en-US" sz="1600" err="1">
                          <a:solidFill>
                            <a:schemeClr val="bg1"/>
                          </a:solidFill>
                          <a:latin typeface="Arial Narrow" panose="020B0606020202030204" pitchFamily="34" charset="0"/>
                        </a:rPr>
                        <a:t>lb</a:t>
                      </a:r>
                      <a:r>
                        <a:rPr lang="en-US" sz="1600">
                          <a:solidFill>
                            <a:schemeClr val="bg1"/>
                          </a:solidFill>
                          <a:latin typeface="Arial Narrow" panose="020B0606020202030204" pitchFamily="34" charset="0"/>
                        </a:rPr>
                        <a:t>)</a:t>
                      </a:r>
                    </a:p>
                  </a:txBody>
                  <a:tcPr anchor="ct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5603363"/>
                  </a:ext>
                </a:extLst>
              </a:tr>
              <a:tr h="457200">
                <a:tc>
                  <a:txBody>
                    <a:bodyPr/>
                    <a:lstStyle/>
                    <a:p>
                      <a:r>
                        <a:rPr lang="en-US" sz="1600" kern="1200">
                          <a:solidFill>
                            <a:schemeClr val="tx1"/>
                          </a:solidFill>
                          <a:latin typeface="Arial Narrow" panose="020B0606020202030204" pitchFamily="34" charset="0"/>
                          <a:ea typeface="+mn-ea"/>
                          <a:cs typeface="+mn-cs"/>
                        </a:rPr>
                        <a:t> At Planting </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a:latin typeface="Arial Narrow" panose="020B0606020202030204" pitchFamily="34" charset="0"/>
                        </a:rPr>
                        <a:t>P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600" kern="1200">
                        <a:solidFill>
                          <a:schemeClr val="bg1"/>
                        </a:solidFill>
                        <a:latin typeface="Arial Narrow" panose="020B060602020203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19181117"/>
                  </a:ext>
                </a:extLst>
              </a:tr>
              <a:tr h="914400">
                <a:tc>
                  <a:txBody>
                    <a:bodyPr/>
                    <a:lstStyle/>
                    <a:p>
                      <a:r>
                        <a:rPr lang="en-US" sz="1600" kern="1200">
                          <a:solidFill>
                            <a:schemeClr val="tx1"/>
                          </a:solidFill>
                          <a:latin typeface="Arial Narrow" panose="020B0606020202030204" pitchFamily="34" charset="0"/>
                          <a:ea typeface="+mn-ea"/>
                          <a:cs typeface="+mn-cs"/>
                        </a:rPr>
                        <a:t>Post</a:t>
                      </a:r>
                      <a:endParaRPr lang="en-US" sz="1400" kern="1200">
                        <a:solidFill>
                          <a:schemeClr val="dk1"/>
                        </a:solidFill>
                        <a:latin typeface="Arial Narrow" panose="020B0606020202030204" pitchFamily="34" charset="0"/>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a:latin typeface="Arial Narrow" panose="020B0606020202030204" pitchFamily="34" charset="0"/>
                        </a:rPr>
                        <a:t>Post 1 </a:t>
                      </a:r>
                      <a:br>
                        <a:rPr lang="en-US" sz="1600">
                          <a:latin typeface="Arial Narrow" panose="020B0606020202030204" pitchFamily="34" charset="0"/>
                        </a:rPr>
                      </a:br>
                      <a:r>
                        <a:rPr lang="en-US" sz="1400">
                          <a:latin typeface="Arial Narrow" panose="020B0606020202030204" pitchFamily="34" charset="0"/>
                        </a:rPr>
                        <a:t>&lt; 4” weeds and within </a:t>
                      </a:r>
                      <a:br>
                        <a:rPr lang="en-US" sz="1400">
                          <a:latin typeface="Arial Narrow" panose="020B0606020202030204" pitchFamily="34" charset="0"/>
                        </a:rPr>
                      </a:br>
                      <a:r>
                        <a:rPr lang="en-US" sz="1400">
                          <a:latin typeface="Arial Narrow" panose="020B0606020202030204" pitchFamily="34" charset="0"/>
                        </a:rPr>
                        <a:t>14-18 days after plant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l"/>
                      <a:endParaRPr lang="en-US" sz="1600" kern="1200">
                        <a:solidFill>
                          <a:schemeClr val="bg1"/>
                        </a:solidFill>
                        <a:latin typeface="Arial Narrow" panose="020B060602020203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88328231"/>
                  </a:ext>
                </a:extLst>
              </a:tr>
              <a:tr h="731520">
                <a:tc>
                  <a:txBody>
                    <a:bodyPr/>
                    <a:lstStyle/>
                    <a:p>
                      <a:r>
                        <a:rPr lang="en-US" sz="1600" kern="1200">
                          <a:solidFill>
                            <a:schemeClr val="tx1"/>
                          </a:solidFill>
                          <a:latin typeface="Arial Narrow" panose="020B0606020202030204" pitchFamily="34" charset="0"/>
                          <a:ea typeface="+mn-ea"/>
                          <a:cs typeface="+mn-cs"/>
                        </a:rPr>
                        <a:t>Post</a:t>
                      </a:r>
                      <a:endParaRPr lang="en-US" sz="1400" kern="1200">
                        <a:solidFill>
                          <a:schemeClr val="dk1"/>
                        </a:solidFill>
                        <a:latin typeface="Arial Narrow" panose="020B0606020202030204" pitchFamily="34" charset="0"/>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600">
                          <a:latin typeface="Arial Narrow" panose="020B0606020202030204" pitchFamily="34" charset="0"/>
                        </a:rPr>
                        <a:t>Post 2 </a:t>
                      </a:r>
                      <a:br>
                        <a:rPr lang="en-US" sz="1600">
                          <a:latin typeface="Arial Narrow" panose="020B0606020202030204" pitchFamily="34" charset="0"/>
                        </a:rPr>
                      </a:br>
                      <a:r>
                        <a:rPr lang="en-US" sz="1400">
                          <a:latin typeface="Arial Narrow" panose="020B0606020202030204" pitchFamily="34" charset="0"/>
                        </a:rPr>
                        <a:t>32-39 days after plant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kern="1200">
                          <a:solidFill>
                            <a:schemeClr val="bg1"/>
                          </a:solidFill>
                          <a:latin typeface="Arial Narrow" panose="020B0606020202030204" pitchFamily="34" charset="0"/>
                          <a:ea typeface="+mn-ea"/>
                          <a:cs typeface="+mn-cs"/>
                        </a:rPr>
                        <a:t>Roundup </a:t>
                      </a:r>
                      <a:r>
                        <a:rPr lang="en-US" sz="1600" kern="1200" err="1">
                          <a:solidFill>
                            <a:schemeClr val="bg1"/>
                          </a:solidFill>
                          <a:latin typeface="Arial Narrow" panose="020B0606020202030204" pitchFamily="34" charset="0"/>
                          <a:ea typeface="+mn-ea"/>
                          <a:cs typeface="+mn-cs"/>
                        </a:rPr>
                        <a:t>PowerMAX</a:t>
                      </a:r>
                      <a:r>
                        <a:rPr lang="en-US" sz="1600" baseline="30000">
                          <a:solidFill>
                            <a:schemeClr val="bg1"/>
                          </a:solidFill>
                          <a:latin typeface="Arial Narrow" panose="020B0606020202030204" pitchFamily="34" charset="0"/>
                        </a:rPr>
                        <a:t>®</a:t>
                      </a:r>
                      <a:r>
                        <a:rPr lang="en-US" sz="1600" kern="1200">
                          <a:solidFill>
                            <a:schemeClr val="bg1"/>
                          </a:solidFill>
                          <a:latin typeface="Arial Narrow" panose="020B0606020202030204" pitchFamily="34" charset="0"/>
                          <a:ea typeface="+mn-ea"/>
                          <a:cs typeface="+mn-cs"/>
                        </a:rPr>
                        <a:t> II Herbicide (32 oz) + </a:t>
                      </a:r>
                      <a:r>
                        <a:rPr lang="en-US" sz="1600" kern="1200" err="1">
                          <a:solidFill>
                            <a:schemeClr val="bg1"/>
                          </a:solidFill>
                          <a:latin typeface="Arial Narrow" panose="020B0606020202030204" pitchFamily="34" charset="0"/>
                          <a:ea typeface="+mn-ea"/>
                          <a:cs typeface="+mn-cs"/>
                        </a:rPr>
                        <a:t>XtendiMax</a:t>
                      </a:r>
                      <a:r>
                        <a:rPr lang="en-US" sz="1600" baseline="30000">
                          <a:solidFill>
                            <a:schemeClr val="bg1"/>
                          </a:solidFill>
                          <a:latin typeface="Arial Narrow" panose="020B0606020202030204" pitchFamily="34" charset="0"/>
                        </a:rPr>
                        <a:t>®</a:t>
                      </a:r>
                      <a:r>
                        <a:rPr lang="en-US" sz="1600" kern="1200">
                          <a:solidFill>
                            <a:schemeClr val="bg1"/>
                          </a:solidFill>
                          <a:latin typeface="Arial Narrow" panose="020B0606020202030204" pitchFamily="34" charset="0"/>
                          <a:ea typeface="+mn-ea"/>
                          <a:cs typeface="+mn-cs"/>
                        </a:rPr>
                        <a:t> Herbicide with </a:t>
                      </a:r>
                      <a:r>
                        <a:rPr lang="en-US" sz="1600" kern="1200" err="1">
                          <a:solidFill>
                            <a:schemeClr val="bg1"/>
                          </a:solidFill>
                          <a:latin typeface="Arial Narrow" panose="020B0606020202030204" pitchFamily="34" charset="0"/>
                          <a:ea typeface="+mn-ea"/>
                          <a:cs typeface="+mn-cs"/>
                        </a:rPr>
                        <a:t>VaporGrip</a:t>
                      </a:r>
                      <a:r>
                        <a:rPr lang="en-US" sz="1600" baseline="30000">
                          <a:solidFill>
                            <a:schemeClr val="bg1"/>
                          </a:solidFill>
                          <a:latin typeface="Arial Narrow" panose="020B0606020202030204" pitchFamily="34" charset="0"/>
                        </a:rPr>
                        <a:t>®</a:t>
                      </a:r>
                      <a:r>
                        <a:rPr lang="en-US" sz="1600" kern="1200">
                          <a:solidFill>
                            <a:schemeClr val="bg1"/>
                          </a:solidFill>
                          <a:latin typeface="Arial Narrow" panose="020B0606020202030204" pitchFamily="34" charset="0"/>
                          <a:ea typeface="+mn-ea"/>
                          <a:cs typeface="+mn-cs"/>
                        </a:rPr>
                        <a:t> Technology (22 oz) + labeled DRA </a:t>
                      </a:r>
                      <a:r>
                        <a:rPr lang="en-US" sz="1600">
                          <a:solidFill>
                            <a:schemeClr val="bg1"/>
                          </a:solidFill>
                          <a:latin typeface="Arial Narrow" panose="020B0606020202030204" pitchFamily="34" charset="0"/>
                        </a:rPr>
                        <a:t>+ </a:t>
                      </a:r>
                      <a:r>
                        <a:rPr lang="en-US" sz="1600">
                          <a:solidFill>
                            <a:srgbClr val="00B050"/>
                          </a:solidFill>
                          <a:latin typeface="Arial Narrow" panose="020B0606020202030204" pitchFamily="34" charset="0"/>
                        </a:rPr>
                        <a:t>labeled VRA </a:t>
                      </a:r>
                      <a:r>
                        <a:rPr lang="en-US" sz="1600" kern="1200">
                          <a:solidFill>
                            <a:schemeClr val="bg1"/>
                          </a:solidFill>
                          <a:latin typeface="Arial Narrow" panose="020B0606020202030204" pitchFamily="34" charset="0"/>
                          <a:ea typeface="+mn-ea"/>
                          <a:cs typeface="+mn-cs"/>
                        </a:rPr>
                        <a:t>or Liberty</a:t>
                      </a:r>
                      <a:r>
                        <a:rPr lang="en-US" sz="1600" baseline="30000">
                          <a:solidFill>
                            <a:schemeClr val="bg1"/>
                          </a:solidFill>
                          <a:latin typeface="Arial Narrow" panose="020B0606020202030204" pitchFamily="34" charset="0"/>
                        </a:rPr>
                        <a:t>®</a:t>
                      </a:r>
                      <a:r>
                        <a:rPr lang="en-US" sz="1600" kern="1200">
                          <a:solidFill>
                            <a:schemeClr val="bg1"/>
                          </a:solidFill>
                          <a:latin typeface="Arial Narrow" panose="020B0606020202030204" pitchFamily="34" charset="0"/>
                          <a:ea typeface="+mn-ea"/>
                          <a:cs typeface="+mn-cs"/>
                        </a:rPr>
                        <a:t> Herbicide (32 oz)</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33533300"/>
                  </a:ext>
                </a:extLst>
              </a:tr>
              <a:tr h="548640">
                <a:tc>
                  <a:txBody>
                    <a:bodyPr/>
                    <a:lstStyle/>
                    <a:p>
                      <a:r>
                        <a:rPr lang="en-US" sz="1600" kern="1200">
                          <a:solidFill>
                            <a:schemeClr val="tx1"/>
                          </a:solidFill>
                          <a:latin typeface="Arial Narrow" panose="020B0606020202030204" pitchFamily="34" charset="0"/>
                          <a:ea typeface="+mn-ea"/>
                          <a:cs typeface="+mn-cs"/>
                        </a:rPr>
                        <a:t>Post</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r>
                        <a:rPr lang="en-US" sz="1600" kern="1200">
                          <a:solidFill>
                            <a:schemeClr val="tx1"/>
                          </a:solidFill>
                          <a:latin typeface="Arial Narrow" panose="020B0606020202030204" pitchFamily="34" charset="0"/>
                          <a:ea typeface="+mn-ea"/>
                          <a:cs typeface="+mn-cs"/>
                        </a:rPr>
                        <a:t>Lay-by hooded spray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l"/>
                      <a:endParaRPr lang="en-US" sz="1600" kern="1200">
                        <a:solidFill>
                          <a:schemeClr val="bg1"/>
                        </a:solidFill>
                        <a:latin typeface="Arial Narrow" panose="020B0606020202030204" pitchFamily="34" charset="0"/>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58101126"/>
                  </a:ext>
                </a:extLst>
              </a:tr>
            </a:tbl>
          </a:graphicData>
        </a:graphic>
      </p:graphicFrame>
      <p:sp>
        <p:nvSpPr>
          <p:cNvPr id="14" name="Text Placeholder 2">
            <a:extLst>
              <a:ext uri="{FF2B5EF4-FFF2-40B4-BE49-F238E27FC236}">
                <a16:creationId xmlns:a16="http://schemas.microsoft.com/office/drawing/2014/main" id="{780DC9CF-9C99-481A-A866-3C59B0795EC5}"/>
              </a:ext>
            </a:extLst>
          </p:cNvPr>
          <p:cNvSpPr txBox="1">
            <a:spLocks/>
          </p:cNvSpPr>
          <p:nvPr/>
        </p:nvSpPr>
        <p:spPr>
          <a:xfrm>
            <a:off x="838200" y="876567"/>
            <a:ext cx="10515600" cy="341632"/>
          </a:xfrm>
          <a:prstGeom prst="rect">
            <a:avLst/>
          </a:prstGeom>
        </p:spPr>
        <p:txBody>
          <a:bodyPr vert="horz"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all" spc="600" normalizeH="0" baseline="0" dirty="0" smtClean="0">
                <a:ln>
                  <a:noFill/>
                </a:ln>
                <a:solidFill>
                  <a:schemeClr val="accent6"/>
                </a:solidFill>
                <a:effectLst/>
                <a:uLnTx/>
                <a:uFillTx/>
                <a:latin typeface="Arial Narrow" panose="020B060602020203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tton with </a:t>
            </a:r>
            <a:r>
              <a:rPr lang="en-US" err="1"/>
              <a:t>XtendFlex</a:t>
            </a:r>
            <a:r>
              <a:rPr lang="en-US" baseline="30000"/>
              <a:t>®</a:t>
            </a:r>
            <a:r>
              <a:rPr lang="en-US"/>
              <a:t> Technology*</a:t>
            </a:r>
          </a:p>
        </p:txBody>
      </p:sp>
      <p:grpSp>
        <p:nvGrpSpPr>
          <p:cNvPr id="29" name="Group 28">
            <a:extLst>
              <a:ext uri="{FF2B5EF4-FFF2-40B4-BE49-F238E27FC236}">
                <a16:creationId xmlns:a16="http://schemas.microsoft.com/office/drawing/2014/main" id="{D4EFDC0F-B073-4D95-AFE3-6E8C8AAC83AB}"/>
              </a:ext>
            </a:extLst>
          </p:cNvPr>
          <p:cNvGrpSpPr/>
          <p:nvPr/>
        </p:nvGrpSpPr>
        <p:grpSpPr>
          <a:xfrm>
            <a:off x="10170091" y="315614"/>
            <a:ext cx="1194848" cy="418448"/>
            <a:chOff x="9573411" y="315614"/>
            <a:chExt cx="1194848" cy="418448"/>
          </a:xfrm>
        </p:grpSpPr>
        <p:cxnSp>
          <p:nvCxnSpPr>
            <p:cNvPr id="30" name="Straight Connector 29">
              <a:extLst>
                <a:ext uri="{FF2B5EF4-FFF2-40B4-BE49-F238E27FC236}">
                  <a16:creationId xmlns:a16="http://schemas.microsoft.com/office/drawing/2014/main" id="{7403AEF9-DDBC-455C-B5D8-A489BAAFC570}"/>
                </a:ext>
              </a:extLst>
            </p:cNvPr>
            <p:cNvCxnSpPr/>
            <p:nvPr/>
          </p:nvCxnSpPr>
          <p:spPr>
            <a:xfrm flipH="1">
              <a:off x="9581138" y="714858"/>
              <a:ext cx="1092128" cy="0"/>
            </a:xfrm>
            <a:prstGeom prst="lin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1" name="Rectangle 30">
              <a:extLst>
                <a:ext uri="{FF2B5EF4-FFF2-40B4-BE49-F238E27FC236}">
                  <a16:creationId xmlns:a16="http://schemas.microsoft.com/office/drawing/2014/main" id="{EA12B0AA-1240-4883-B130-8C9A55DBC473}"/>
                </a:ext>
              </a:extLst>
            </p:cNvPr>
            <p:cNvSpPr/>
            <p:nvPr/>
          </p:nvSpPr>
          <p:spPr>
            <a:xfrm>
              <a:off x="9573411" y="445726"/>
              <a:ext cx="762429" cy="26913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eaLnBrk="0" fontAlgn="base" hangingPunct="0">
                <a:spcBef>
                  <a:spcPct val="0"/>
                </a:spcBef>
                <a:spcAft>
                  <a:spcPct val="0"/>
                </a:spcAft>
              </a:pPr>
              <a:r>
                <a:rPr lang="en-US" sz="1483">
                  <a:solidFill>
                    <a:schemeClr val="tx1"/>
                  </a:solidFill>
                  <a:latin typeface="Arial Narrow" panose="020B0606020202030204" pitchFamily="34" charset="0"/>
                </a:rPr>
                <a:t>Cotton</a:t>
              </a:r>
            </a:p>
          </p:txBody>
        </p:sp>
        <p:sp>
          <p:nvSpPr>
            <p:cNvPr id="32" name="Freeform 5">
              <a:extLst>
                <a:ext uri="{FF2B5EF4-FFF2-40B4-BE49-F238E27FC236}">
                  <a16:creationId xmlns:a16="http://schemas.microsoft.com/office/drawing/2014/main" id="{24AA0733-A24A-4F44-8797-1A6F262E3CFA}"/>
                </a:ext>
              </a:extLst>
            </p:cNvPr>
            <p:cNvSpPr>
              <a:spLocks/>
            </p:cNvSpPr>
            <p:nvPr/>
          </p:nvSpPr>
          <p:spPr bwMode="auto">
            <a:xfrm>
              <a:off x="10355371" y="315614"/>
              <a:ext cx="412888" cy="418448"/>
            </a:xfrm>
            <a:custGeom>
              <a:avLst/>
              <a:gdLst>
                <a:gd name="T0" fmla="*/ 574 w 640"/>
                <a:gd name="T1" fmla="*/ 215 h 646"/>
                <a:gd name="T2" fmla="*/ 529 w 640"/>
                <a:gd name="T3" fmla="*/ 57 h 646"/>
                <a:gd name="T4" fmla="*/ 402 w 640"/>
                <a:gd name="T5" fmla="*/ 2 h 646"/>
                <a:gd name="T6" fmla="*/ 276 w 640"/>
                <a:gd name="T7" fmla="*/ 41 h 646"/>
                <a:gd name="T8" fmla="*/ 154 w 640"/>
                <a:gd name="T9" fmla="*/ 62 h 646"/>
                <a:gd name="T10" fmla="*/ 93 w 640"/>
                <a:gd name="T11" fmla="*/ 189 h 646"/>
                <a:gd name="T12" fmla="*/ 51 w 640"/>
                <a:gd name="T13" fmla="*/ 365 h 646"/>
                <a:gd name="T14" fmla="*/ 142 w 640"/>
                <a:gd name="T15" fmla="*/ 421 h 646"/>
                <a:gd name="T16" fmla="*/ 171 w 640"/>
                <a:gd name="T17" fmla="*/ 496 h 646"/>
                <a:gd name="T18" fmla="*/ 212 w 640"/>
                <a:gd name="T19" fmla="*/ 503 h 646"/>
                <a:gd name="T20" fmla="*/ 219 w 640"/>
                <a:gd name="T21" fmla="*/ 461 h 646"/>
                <a:gd name="T22" fmla="*/ 200 w 640"/>
                <a:gd name="T23" fmla="*/ 364 h 646"/>
                <a:gd name="T24" fmla="*/ 227 w 640"/>
                <a:gd name="T25" fmla="*/ 414 h 646"/>
                <a:gd name="T26" fmla="*/ 229 w 640"/>
                <a:gd name="T27" fmla="*/ 419 h 646"/>
                <a:gd name="T28" fmla="*/ 260 w 640"/>
                <a:gd name="T29" fmla="*/ 438 h 646"/>
                <a:gd name="T30" fmla="*/ 286 w 640"/>
                <a:gd name="T31" fmla="*/ 413 h 646"/>
                <a:gd name="T32" fmla="*/ 334 w 640"/>
                <a:gd name="T33" fmla="*/ 314 h 646"/>
                <a:gd name="T34" fmla="*/ 323 w 640"/>
                <a:gd name="T35" fmla="*/ 413 h 646"/>
                <a:gd name="T36" fmla="*/ 334 w 640"/>
                <a:gd name="T37" fmla="*/ 450 h 646"/>
                <a:gd name="T38" fmla="*/ 372 w 640"/>
                <a:gd name="T39" fmla="*/ 445 h 646"/>
                <a:gd name="T40" fmla="*/ 423 w 640"/>
                <a:gd name="T41" fmla="*/ 423 h 646"/>
                <a:gd name="T42" fmla="*/ 393 w 640"/>
                <a:gd name="T43" fmla="*/ 466 h 646"/>
                <a:gd name="T44" fmla="*/ 299 w 640"/>
                <a:gd name="T45" fmla="*/ 488 h 646"/>
                <a:gd name="T46" fmla="*/ 296 w 640"/>
                <a:gd name="T47" fmla="*/ 487 h 646"/>
                <a:gd name="T48" fmla="*/ 285 w 640"/>
                <a:gd name="T49" fmla="*/ 487 h 646"/>
                <a:gd name="T50" fmla="*/ 276 w 640"/>
                <a:gd name="T51" fmla="*/ 488 h 646"/>
                <a:gd name="T52" fmla="*/ 213 w 640"/>
                <a:gd name="T53" fmla="*/ 619 h 646"/>
                <a:gd name="T54" fmla="*/ 243 w 640"/>
                <a:gd name="T55" fmla="*/ 646 h 646"/>
                <a:gd name="T56" fmla="*/ 246 w 640"/>
                <a:gd name="T57" fmla="*/ 645 h 646"/>
                <a:gd name="T58" fmla="*/ 272 w 640"/>
                <a:gd name="T59" fmla="*/ 612 h 646"/>
                <a:gd name="T60" fmla="*/ 289 w 640"/>
                <a:gd name="T61" fmla="*/ 547 h 646"/>
                <a:gd name="T62" fmla="*/ 292 w 640"/>
                <a:gd name="T63" fmla="*/ 547 h 646"/>
                <a:gd name="T64" fmla="*/ 429 w 640"/>
                <a:gd name="T65" fmla="*/ 514 h 646"/>
                <a:gd name="T66" fmla="*/ 488 w 640"/>
                <a:gd name="T67" fmla="*/ 399 h 646"/>
                <a:gd name="T68" fmla="*/ 466 w 640"/>
                <a:gd name="T69" fmla="*/ 366 h 646"/>
                <a:gd name="T70" fmla="*/ 396 w 640"/>
                <a:gd name="T71" fmla="*/ 367 h 646"/>
                <a:gd name="T72" fmla="*/ 374 w 640"/>
                <a:gd name="T73" fmla="*/ 250 h 646"/>
                <a:gd name="T74" fmla="*/ 335 w 640"/>
                <a:gd name="T75" fmla="*/ 240 h 646"/>
                <a:gd name="T76" fmla="*/ 252 w 640"/>
                <a:gd name="T77" fmla="*/ 331 h 646"/>
                <a:gd name="T78" fmla="*/ 184 w 640"/>
                <a:gd name="T79" fmla="*/ 293 h 646"/>
                <a:gd name="T80" fmla="*/ 152 w 640"/>
                <a:gd name="T81" fmla="*/ 313 h 646"/>
                <a:gd name="T82" fmla="*/ 141 w 640"/>
                <a:gd name="T83" fmla="*/ 360 h 646"/>
                <a:gd name="T84" fmla="*/ 97 w 640"/>
                <a:gd name="T85" fmla="*/ 327 h 646"/>
                <a:gd name="T86" fmla="*/ 141 w 640"/>
                <a:gd name="T87" fmla="*/ 226 h 646"/>
                <a:gd name="T88" fmla="*/ 152 w 640"/>
                <a:gd name="T89" fmla="*/ 203 h 646"/>
                <a:gd name="T90" fmla="*/ 190 w 640"/>
                <a:gd name="T91" fmla="*/ 110 h 646"/>
                <a:gd name="T92" fmla="*/ 279 w 640"/>
                <a:gd name="T93" fmla="*/ 103 h 646"/>
                <a:gd name="T94" fmla="*/ 279 w 640"/>
                <a:gd name="T95" fmla="*/ 103 h 646"/>
                <a:gd name="T96" fmla="*/ 319 w 640"/>
                <a:gd name="T97" fmla="*/ 156 h 646"/>
                <a:gd name="T98" fmla="*/ 348 w 640"/>
                <a:gd name="T99" fmla="*/ 179 h 646"/>
                <a:gd name="T100" fmla="*/ 355 w 640"/>
                <a:gd name="T101" fmla="*/ 179 h 646"/>
                <a:gd name="T102" fmla="*/ 377 w 640"/>
                <a:gd name="T103" fmla="*/ 143 h 646"/>
                <a:gd name="T104" fmla="*/ 338 w 640"/>
                <a:gd name="T105" fmla="*/ 72 h 646"/>
                <a:gd name="T106" fmla="*/ 401 w 640"/>
                <a:gd name="T107" fmla="*/ 61 h 646"/>
                <a:gd name="T108" fmla="*/ 485 w 640"/>
                <a:gd name="T109" fmla="*/ 97 h 646"/>
                <a:gd name="T110" fmla="*/ 514 w 640"/>
                <a:gd name="T111" fmla="*/ 226 h 646"/>
                <a:gd name="T112" fmla="*/ 531 w 640"/>
                <a:gd name="T113" fmla="*/ 256 h 646"/>
                <a:gd name="T114" fmla="*/ 545 w 640"/>
                <a:gd name="T115" fmla="*/ 370 h 646"/>
                <a:gd name="T116" fmla="*/ 557 w 640"/>
                <a:gd name="T117" fmla="*/ 410 h 646"/>
                <a:gd name="T118" fmla="*/ 571 w 640"/>
                <a:gd name="T119" fmla="*/ 413 h 646"/>
                <a:gd name="T120" fmla="*/ 597 w 640"/>
                <a:gd name="T121" fmla="*/ 397 h 646"/>
                <a:gd name="T122" fmla="*/ 574 w 640"/>
                <a:gd name="T123" fmla="*/ 21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0" h="646">
                  <a:moveTo>
                    <a:pt x="574" y="215"/>
                  </a:moveTo>
                  <a:cubicBezTo>
                    <a:pt x="579" y="148"/>
                    <a:pt x="564" y="95"/>
                    <a:pt x="529" y="57"/>
                  </a:cubicBezTo>
                  <a:cubicBezTo>
                    <a:pt x="478" y="1"/>
                    <a:pt x="403" y="1"/>
                    <a:pt x="402" y="2"/>
                  </a:cubicBezTo>
                  <a:cubicBezTo>
                    <a:pt x="333" y="0"/>
                    <a:pt x="295" y="23"/>
                    <a:pt x="276" y="41"/>
                  </a:cubicBezTo>
                  <a:cubicBezTo>
                    <a:pt x="227" y="31"/>
                    <a:pt x="186" y="38"/>
                    <a:pt x="154" y="62"/>
                  </a:cubicBezTo>
                  <a:cubicBezTo>
                    <a:pt x="107" y="98"/>
                    <a:pt x="96" y="160"/>
                    <a:pt x="93" y="189"/>
                  </a:cubicBezTo>
                  <a:cubicBezTo>
                    <a:pt x="0" y="272"/>
                    <a:pt x="37" y="344"/>
                    <a:pt x="51" y="365"/>
                  </a:cubicBezTo>
                  <a:cubicBezTo>
                    <a:pt x="73" y="397"/>
                    <a:pt x="110" y="418"/>
                    <a:pt x="142" y="421"/>
                  </a:cubicBezTo>
                  <a:cubicBezTo>
                    <a:pt x="150" y="466"/>
                    <a:pt x="169" y="494"/>
                    <a:pt x="171" y="496"/>
                  </a:cubicBezTo>
                  <a:cubicBezTo>
                    <a:pt x="180" y="509"/>
                    <a:pt x="199" y="512"/>
                    <a:pt x="212" y="503"/>
                  </a:cubicBezTo>
                  <a:cubicBezTo>
                    <a:pt x="226" y="493"/>
                    <a:pt x="229" y="475"/>
                    <a:pt x="219" y="461"/>
                  </a:cubicBezTo>
                  <a:cubicBezTo>
                    <a:pt x="219" y="461"/>
                    <a:pt x="192" y="422"/>
                    <a:pt x="200" y="364"/>
                  </a:cubicBezTo>
                  <a:cubicBezTo>
                    <a:pt x="211" y="373"/>
                    <a:pt x="222" y="388"/>
                    <a:pt x="227" y="414"/>
                  </a:cubicBezTo>
                  <a:cubicBezTo>
                    <a:pt x="228" y="415"/>
                    <a:pt x="228" y="417"/>
                    <a:pt x="229" y="419"/>
                  </a:cubicBezTo>
                  <a:cubicBezTo>
                    <a:pt x="234" y="432"/>
                    <a:pt x="246" y="439"/>
                    <a:pt x="260" y="438"/>
                  </a:cubicBezTo>
                  <a:cubicBezTo>
                    <a:pt x="273" y="437"/>
                    <a:pt x="284" y="426"/>
                    <a:pt x="286" y="413"/>
                  </a:cubicBezTo>
                  <a:cubicBezTo>
                    <a:pt x="286" y="412"/>
                    <a:pt x="297" y="353"/>
                    <a:pt x="334" y="314"/>
                  </a:cubicBezTo>
                  <a:cubicBezTo>
                    <a:pt x="339" y="337"/>
                    <a:pt x="340" y="372"/>
                    <a:pt x="323" y="413"/>
                  </a:cubicBezTo>
                  <a:cubicBezTo>
                    <a:pt x="317" y="427"/>
                    <a:pt x="322" y="442"/>
                    <a:pt x="334" y="450"/>
                  </a:cubicBezTo>
                  <a:cubicBezTo>
                    <a:pt x="346" y="458"/>
                    <a:pt x="362" y="455"/>
                    <a:pt x="372" y="445"/>
                  </a:cubicBezTo>
                  <a:cubicBezTo>
                    <a:pt x="387" y="429"/>
                    <a:pt x="406" y="424"/>
                    <a:pt x="423" y="423"/>
                  </a:cubicBezTo>
                  <a:cubicBezTo>
                    <a:pt x="416" y="441"/>
                    <a:pt x="406" y="455"/>
                    <a:pt x="393" y="466"/>
                  </a:cubicBezTo>
                  <a:cubicBezTo>
                    <a:pt x="355" y="495"/>
                    <a:pt x="300" y="488"/>
                    <a:pt x="299" y="488"/>
                  </a:cubicBezTo>
                  <a:cubicBezTo>
                    <a:pt x="298" y="488"/>
                    <a:pt x="297" y="487"/>
                    <a:pt x="296" y="487"/>
                  </a:cubicBezTo>
                  <a:cubicBezTo>
                    <a:pt x="285" y="487"/>
                    <a:pt x="285" y="487"/>
                    <a:pt x="285" y="487"/>
                  </a:cubicBezTo>
                  <a:cubicBezTo>
                    <a:pt x="282" y="487"/>
                    <a:pt x="279" y="487"/>
                    <a:pt x="276" y="488"/>
                  </a:cubicBezTo>
                  <a:cubicBezTo>
                    <a:pt x="273" y="489"/>
                    <a:pt x="200" y="510"/>
                    <a:pt x="213" y="619"/>
                  </a:cubicBezTo>
                  <a:cubicBezTo>
                    <a:pt x="215" y="634"/>
                    <a:pt x="228" y="646"/>
                    <a:pt x="243" y="646"/>
                  </a:cubicBezTo>
                  <a:cubicBezTo>
                    <a:pt x="244" y="646"/>
                    <a:pt x="245" y="646"/>
                    <a:pt x="246" y="645"/>
                  </a:cubicBezTo>
                  <a:cubicBezTo>
                    <a:pt x="262" y="643"/>
                    <a:pt x="274" y="629"/>
                    <a:pt x="272" y="612"/>
                  </a:cubicBezTo>
                  <a:cubicBezTo>
                    <a:pt x="267" y="566"/>
                    <a:pt x="283" y="551"/>
                    <a:pt x="289" y="547"/>
                  </a:cubicBezTo>
                  <a:cubicBezTo>
                    <a:pt x="292" y="547"/>
                    <a:pt x="292" y="547"/>
                    <a:pt x="292" y="547"/>
                  </a:cubicBezTo>
                  <a:cubicBezTo>
                    <a:pt x="304" y="548"/>
                    <a:pt x="375" y="555"/>
                    <a:pt x="429" y="514"/>
                  </a:cubicBezTo>
                  <a:cubicBezTo>
                    <a:pt x="463" y="488"/>
                    <a:pt x="483" y="449"/>
                    <a:pt x="488" y="399"/>
                  </a:cubicBezTo>
                  <a:cubicBezTo>
                    <a:pt x="490" y="384"/>
                    <a:pt x="480" y="370"/>
                    <a:pt x="466" y="366"/>
                  </a:cubicBezTo>
                  <a:cubicBezTo>
                    <a:pt x="464" y="366"/>
                    <a:pt x="432" y="359"/>
                    <a:pt x="396" y="367"/>
                  </a:cubicBezTo>
                  <a:cubicBezTo>
                    <a:pt x="403" y="298"/>
                    <a:pt x="375" y="253"/>
                    <a:pt x="374" y="250"/>
                  </a:cubicBezTo>
                  <a:cubicBezTo>
                    <a:pt x="365" y="237"/>
                    <a:pt x="348" y="233"/>
                    <a:pt x="335" y="240"/>
                  </a:cubicBezTo>
                  <a:cubicBezTo>
                    <a:pt x="294" y="262"/>
                    <a:pt x="268" y="298"/>
                    <a:pt x="252" y="331"/>
                  </a:cubicBezTo>
                  <a:cubicBezTo>
                    <a:pt x="222" y="298"/>
                    <a:pt x="186" y="293"/>
                    <a:pt x="184" y="293"/>
                  </a:cubicBezTo>
                  <a:cubicBezTo>
                    <a:pt x="170" y="291"/>
                    <a:pt x="156" y="299"/>
                    <a:pt x="152" y="313"/>
                  </a:cubicBezTo>
                  <a:cubicBezTo>
                    <a:pt x="146" y="329"/>
                    <a:pt x="143" y="345"/>
                    <a:pt x="141" y="360"/>
                  </a:cubicBezTo>
                  <a:cubicBezTo>
                    <a:pt x="128" y="356"/>
                    <a:pt x="108" y="346"/>
                    <a:pt x="97" y="327"/>
                  </a:cubicBezTo>
                  <a:cubicBezTo>
                    <a:pt x="77" y="290"/>
                    <a:pt x="110" y="252"/>
                    <a:pt x="141" y="226"/>
                  </a:cubicBezTo>
                  <a:cubicBezTo>
                    <a:pt x="148" y="220"/>
                    <a:pt x="152" y="212"/>
                    <a:pt x="152" y="203"/>
                  </a:cubicBezTo>
                  <a:cubicBezTo>
                    <a:pt x="152" y="202"/>
                    <a:pt x="153" y="138"/>
                    <a:pt x="190" y="110"/>
                  </a:cubicBezTo>
                  <a:cubicBezTo>
                    <a:pt x="210" y="94"/>
                    <a:pt x="240" y="92"/>
                    <a:pt x="279" y="103"/>
                  </a:cubicBezTo>
                  <a:cubicBezTo>
                    <a:pt x="279" y="103"/>
                    <a:pt x="279" y="103"/>
                    <a:pt x="279" y="103"/>
                  </a:cubicBezTo>
                  <a:cubicBezTo>
                    <a:pt x="280" y="103"/>
                    <a:pt x="310" y="113"/>
                    <a:pt x="319" y="156"/>
                  </a:cubicBezTo>
                  <a:cubicBezTo>
                    <a:pt x="322" y="170"/>
                    <a:pt x="334" y="179"/>
                    <a:pt x="348" y="179"/>
                  </a:cubicBezTo>
                  <a:cubicBezTo>
                    <a:pt x="350" y="179"/>
                    <a:pt x="352" y="179"/>
                    <a:pt x="355" y="179"/>
                  </a:cubicBezTo>
                  <a:cubicBezTo>
                    <a:pt x="371" y="175"/>
                    <a:pt x="381" y="159"/>
                    <a:pt x="377" y="143"/>
                  </a:cubicBezTo>
                  <a:cubicBezTo>
                    <a:pt x="370" y="109"/>
                    <a:pt x="354" y="87"/>
                    <a:pt x="338" y="72"/>
                  </a:cubicBezTo>
                  <a:cubicBezTo>
                    <a:pt x="352" y="66"/>
                    <a:pt x="372" y="61"/>
                    <a:pt x="401" y="61"/>
                  </a:cubicBezTo>
                  <a:cubicBezTo>
                    <a:pt x="402" y="61"/>
                    <a:pt x="453" y="61"/>
                    <a:pt x="485" y="97"/>
                  </a:cubicBezTo>
                  <a:cubicBezTo>
                    <a:pt x="511" y="125"/>
                    <a:pt x="520" y="169"/>
                    <a:pt x="514" y="226"/>
                  </a:cubicBezTo>
                  <a:cubicBezTo>
                    <a:pt x="512" y="239"/>
                    <a:pt x="520" y="251"/>
                    <a:pt x="531" y="256"/>
                  </a:cubicBezTo>
                  <a:cubicBezTo>
                    <a:pt x="583" y="292"/>
                    <a:pt x="547" y="366"/>
                    <a:pt x="545" y="370"/>
                  </a:cubicBezTo>
                  <a:cubicBezTo>
                    <a:pt x="537" y="384"/>
                    <a:pt x="543" y="402"/>
                    <a:pt x="557" y="410"/>
                  </a:cubicBezTo>
                  <a:cubicBezTo>
                    <a:pt x="562" y="412"/>
                    <a:pt x="566" y="413"/>
                    <a:pt x="571" y="413"/>
                  </a:cubicBezTo>
                  <a:cubicBezTo>
                    <a:pt x="582" y="413"/>
                    <a:pt x="592" y="408"/>
                    <a:pt x="597" y="397"/>
                  </a:cubicBezTo>
                  <a:cubicBezTo>
                    <a:pt x="619" y="356"/>
                    <a:pt x="640" y="268"/>
                    <a:pt x="574" y="2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 name="Rectangle 5">
            <a:extLst>
              <a:ext uri="{FF2B5EF4-FFF2-40B4-BE49-F238E27FC236}">
                <a16:creationId xmlns:a16="http://schemas.microsoft.com/office/drawing/2014/main" id="{9BDD9EDA-AFF8-473F-B471-0E839A0845F3}"/>
              </a:ext>
            </a:extLst>
          </p:cNvPr>
          <p:cNvSpPr/>
          <p:nvPr/>
        </p:nvSpPr>
        <p:spPr>
          <a:xfrm>
            <a:off x="7566991" y="3249537"/>
            <a:ext cx="1895061" cy="2538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DB2788D-3B23-4E8E-9FA2-169C66D053A4}"/>
              </a:ext>
            </a:extLst>
          </p:cNvPr>
          <p:cNvSpPr/>
          <p:nvPr/>
        </p:nvSpPr>
        <p:spPr>
          <a:xfrm>
            <a:off x="9603041" y="3249537"/>
            <a:ext cx="1066859" cy="2538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E5FF1A9-646E-4290-A7FA-848D7F48E5F8}"/>
              </a:ext>
            </a:extLst>
          </p:cNvPr>
          <p:cNvSpPr/>
          <p:nvPr/>
        </p:nvSpPr>
        <p:spPr>
          <a:xfrm>
            <a:off x="4510159" y="3198810"/>
            <a:ext cx="6697533" cy="338554"/>
          </a:xfrm>
          <a:prstGeom prst="rect">
            <a:avLst/>
          </a:prstGeom>
        </p:spPr>
        <p:txBody>
          <a:bodyPr wrap="square">
            <a:spAutoFit/>
          </a:bodyPr>
          <a:lstStyle/>
          <a:p>
            <a:r>
              <a:rPr lang="en-US" sz="1600" err="1">
                <a:solidFill>
                  <a:schemeClr val="bg1"/>
                </a:solidFill>
                <a:latin typeface="Arial Narrow" panose="020B0606020202030204" pitchFamily="34" charset="0"/>
              </a:rPr>
              <a:t>Gramoxone</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SL 2.0 Herbicide (2-4 </a:t>
            </a:r>
            <a:r>
              <a:rPr lang="en-US" sz="1600" err="1">
                <a:solidFill>
                  <a:schemeClr val="bg1"/>
                </a:solidFill>
                <a:latin typeface="Arial Narrow" panose="020B0606020202030204" pitchFamily="34" charset="0"/>
              </a:rPr>
              <a:t>pt</a:t>
            </a:r>
            <a:r>
              <a:rPr lang="en-US" sz="1600">
                <a:solidFill>
                  <a:schemeClr val="bg1"/>
                </a:solidFill>
                <a:latin typeface="Arial Narrow" panose="020B0606020202030204" pitchFamily="34" charset="0"/>
              </a:rPr>
              <a:t>) + Warrant</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Herbicide (3 </a:t>
            </a:r>
            <a:r>
              <a:rPr lang="en-US" sz="1600" err="1">
                <a:solidFill>
                  <a:schemeClr val="bg1"/>
                </a:solidFill>
                <a:latin typeface="Arial Narrow" panose="020B0606020202030204" pitchFamily="34" charset="0"/>
              </a:rPr>
              <a:t>pt</a:t>
            </a:r>
            <a:r>
              <a:rPr lang="en-US" sz="1600">
                <a:solidFill>
                  <a:schemeClr val="bg1"/>
                </a:solidFill>
                <a:latin typeface="Arial Narrow" panose="020B0606020202030204" pitchFamily="34" charset="0"/>
              </a:rPr>
              <a:t>) + diuron (1.5 </a:t>
            </a:r>
            <a:r>
              <a:rPr lang="en-US" sz="1600" err="1">
                <a:solidFill>
                  <a:schemeClr val="bg1"/>
                </a:solidFill>
                <a:latin typeface="Arial Narrow" panose="020B0606020202030204" pitchFamily="34" charset="0"/>
              </a:rPr>
              <a:t>pt</a:t>
            </a:r>
            <a:r>
              <a:rPr lang="en-US" sz="1600">
                <a:solidFill>
                  <a:schemeClr val="bg1"/>
                </a:solidFill>
                <a:latin typeface="Arial Narrow" panose="020B0606020202030204" pitchFamily="34" charset="0"/>
              </a:rPr>
              <a:t>)</a:t>
            </a:r>
          </a:p>
        </p:txBody>
      </p:sp>
      <p:sp>
        <p:nvSpPr>
          <p:cNvPr id="35" name="Rectangle 34">
            <a:extLst>
              <a:ext uri="{FF2B5EF4-FFF2-40B4-BE49-F238E27FC236}">
                <a16:creationId xmlns:a16="http://schemas.microsoft.com/office/drawing/2014/main" id="{00EAD14B-9EB8-4361-BA6A-46378E3558EC}"/>
              </a:ext>
            </a:extLst>
          </p:cNvPr>
          <p:cNvSpPr/>
          <p:nvPr/>
        </p:nvSpPr>
        <p:spPr>
          <a:xfrm>
            <a:off x="6166030" y="3945604"/>
            <a:ext cx="1895061" cy="2538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3CF02F3-CC42-42DF-A6E8-813125416000}"/>
              </a:ext>
            </a:extLst>
          </p:cNvPr>
          <p:cNvSpPr/>
          <p:nvPr/>
        </p:nvSpPr>
        <p:spPr>
          <a:xfrm>
            <a:off x="4510159" y="3653140"/>
            <a:ext cx="6697533" cy="830997"/>
          </a:xfrm>
          <a:prstGeom prst="rect">
            <a:avLst/>
          </a:prstGeom>
        </p:spPr>
        <p:txBody>
          <a:bodyPr wrap="square" lIns="91440" tIns="45720" rIns="91440" bIns="45720" anchor="t">
            <a:spAutoFit/>
          </a:bodyPr>
          <a:lstStyle/>
          <a:p>
            <a:r>
              <a:rPr lang="en-US" sz="1600">
                <a:solidFill>
                  <a:schemeClr val="bg1"/>
                </a:solidFill>
                <a:latin typeface="Arial Narrow"/>
              </a:rPr>
              <a:t>Roundup </a:t>
            </a:r>
            <a:r>
              <a:rPr lang="en-US" sz="1600" err="1">
                <a:solidFill>
                  <a:schemeClr val="bg1"/>
                </a:solidFill>
                <a:latin typeface="Arial Narrow"/>
              </a:rPr>
              <a:t>PowerMAX</a:t>
            </a:r>
            <a:r>
              <a:rPr lang="en-US" sz="1600" baseline="30000">
                <a:solidFill>
                  <a:schemeClr val="bg1"/>
                </a:solidFill>
                <a:latin typeface="Arial Narrow"/>
              </a:rPr>
              <a:t>®</a:t>
            </a:r>
            <a:r>
              <a:rPr lang="en-US" sz="1600">
                <a:solidFill>
                  <a:schemeClr val="bg1"/>
                </a:solidFill>
                <a:latin typeface="Arial Narrow"/>
              </a:rPr>
              <a:t> II Herbicide (32 oz) + </a:t>
            </a:r>
            <a:r>
              <a:rPr lang="en-US" sz="1600" err="1">
                <a:solidFill>
                  <a:schemeClr val="bg1"/>
                </a:solidFill>
                <a:latin typeface="Arial Narrow"/>
              </a:rPr>
              <a:t>XtendiMax</a:t>
            </a:r>
            <a:r>
              <a:rPr lang="en-US" sz="1600" baseline="30000">
                <a:solidFill>
                  <a:schemeClr val="bg1"/>
                </a:solidFill>
                <a:latin typeface="Arial Narrow"/>
              </a:rPr>
              <a:t>®</a:t>
            </a:r>
            <a:r>
              <a:rPr lang="en-US" sz="1600">
                <a:solidFill>
                  <a:schemeClr val="bg1"/>
                </a:solidFill>
                <a:latin typeface="Arial Narrow"/>
              </a:rPr>
              <a:t> Herbicide with </a:t>
            </a:r>
            <a:r>
              <a:rPr lang="en-US" sz="1600" err="1">
                <a:solidFill>
                  <a:schemeClr val="bg1"/>
                </a:solidFill>
                <a:latin typeface="Arial Narrow"/>
              </a:rPr>
              <a:t>VaporGrip</a:t>
            </a:r>
            <a:r>
              <a:rPr lang="en-US" sz="1600" baseline="30000">
                <a:solidFill>
                  <a:schemeClr val="bg1"/>
                </a:solidFill>
                <a:latin typeface="Arial Narrow"/>
              </a:rPr>
              <a:t>®</a:t>
            </a:r>
            <a:r>
              <a:rPr lang="en-US" sz="1600">
                <a:solidFill>
                  <a:schemeClr val="bg1"/>
                </a:solidFill>
                <a:latin typeface="Arial Narrow"/>
              </a:rPr>
              <a:t> Technology (22 oz) + Warrant</a:t>
            </a:r>
            <a:r>
              <a:rPr lang="en-US" sz="1600" baseline="30000">
                <a:solidFill>
                  <a:schemeClr val="bg1"/>
                </a:solidFill>
                <a:latin typeface="Arial Narrow"/>
              </a:rPr>
              <a:t>®</a:t>
            </a:r>
            <a:r>
              <a:rPr lang="en-US" sz="1600">
                <a:solidFill>
                  <a:schemeClr val="bg1"/>
                </a:solidFill>
                <a:latin typeface="Arial Narrow"/>
              </a:rPr>
              <a:t> Herbicide (3 </a:t>
            </a:r>
            <a:r>
              <a:rPr lang="en-US" sz="1600" err="1">
                <a:solidFill>
                  <a:schemeClr val="bg1"/>
                </a:solidFill>
                <a:latin typeface="Arial Narrow"/>
              </a:rPr>
              <a:t>pt</a:t>
            </a:r>
            <a:r>
              <a:rPr lang="en-US" sz="1600">
                <a:solidFill>
                  <a:schemeClr val="bg1"/>
                </a:solidFill>
                <a:latin typeface="Arial Narrow"/>
              </a:rPr>
              <a:t>) + labeled Drift Reduction Adjuvant (DRA) + </a:t>
            </a:r>
            <a:r>
              <a:rPr lang="en-US" sz="1600">
                <a:solidFill>
                  <a:srgbClr val="00B050"/>
                </a:solidFill>
                <a:latin typeface="Arial Narrow"/>
              </a:rPr>
              <a:t>labeled Volatility Reduction Adjuvant (VRA)</a:t>
            </a:r>
          </a:p>
        </p:txBody>
      </p:sp>
      <p:sp>
        <p:nvSpPr>
          <p:cNvPr id="36" name="Rectangle 35">
            <a:extLst>
              <a:ext uri="{FF2B5EF4-FFF2-40B4-BE49-F238E27FC236}">
                <a16:creationId xmlns:a16="http://schemas.microsoft.com/office/drawing/2014/main" id="{F804D764-44ED-41DB-93B6-F3F5A2885C33}"/>
              </a:ext>
            </a:extLst>
          </p:cNvPr>
          <p:cNvSpPr/>
          <p:nvPr/>
        </p:nvSpPr>
        <p:spPr>
          <a:xfrm>
            <a:off x="4581600" y="5415940"/>
            <a:ext cx="1096800" cy="2538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0FEFD075-6256-40DC-87A1-C68C36F1E967}"/>
              </a:ext>
            </a:extLst>
          </p:cNvPr>
          <p:cNvSpPr/>
          <p:nvPr/>
        </p:nvSpPr>
        <p:spPr>
          <a:xfrm>
            <a:off x="4510159" y="5356100"/>
            <a:ext cx="6697533" cy="338554"/>
          </a:xfrm>
          <a:prstGeom prst="rect">
            <a:avLst/>
          </a:prstGeom>
        </p:spPr>
        <p:txBody>
          <a:bodyPr wrap="square">
            <a:spAutoFit/>
          </a:bodyPr>
          <a:lstStyle/>
          <a:p>
            <a:r>
              <a:rPr lang="en-US" sz="1600">
                <a:solidFill>
                  <a:schemeClr val="bg1"/>
                </a:solidFill>
                <a:latin typeface="Arial Narrow" panose="020B0606020202030204" pitchFamily="34" charset="0"/>
              </a:rPr>
              <a:t>Diuron (1.5 </a:t>
            </a:r>
            <a:r>
              <a:rPr lang="en-US" sz="1600" err="1">
                <a:solidFill>
                  <a:schemeClr val="bg1"/>
                </a:solidFill>
                <a:latin typeface="Arial Narrow" panose="020B0606020202030204" pitchFamily="34" charset="0"/>
              </a:rPr>
              <a:t>pt</a:t>
            </a:r>
            <a:r>
              <a:rPr lang="en-US" sz="1600">
                <a:solidFill>
                  <a:schemeClr val="bg1"/>
                </a:solidFill>
                <a:latin typeface="Arial Narrow" panose="020B0606020202030204" pitchFamily="34" charset="0"/>
              </a:rPr>
              <a:t>) + Roundup </a:t>
            </a:r>
            <a:r>
              <a:rPr lang="en-US" sz="1600" err="1">
                <a:solidFill>
                  <a:schemeClr val="bg1"/>
                </a:solidFill>
                <a:latin typeface="Arial Narrow" panose="020B0606020202030204" pitchFamily="34" charset="0"/>
              </a:rPr>
              <a:t>PowerMAX</a:t>
            </a:r>
            <a:r>
              <a:rPr lang="en-US" sz="1600" baseline="30000">
                <a:solidFill>
                  <a:schemeClr val="bg1"/>
                </a:solidFill>
                <a:latin typeface="Arial Narrow" panose="020B0606020202030204" pitchFamily="34" charset="0"/>
              </a:rPr>
              <a:t>®</a:t>
            </a:r>
            <a:r>
              <a:rPr lang="en-US" sz="1600">
                <a:solidFill>
                  <a:schemeClr val="bg1"/>
                </a:solidFill>
                <a:latin typeface="Arial Narrow" panose="020B0606020202030204" pitchFamily="34" charset="0"/>
              </a:rPr>
              <a:t> II Herbicide (32 </a:t>
            </a:r>
            <a:r>
              <a:rPr lang="en-US" sz="1600" err="1">
                <a:solidFill>
                  <a:schemeClr val="bg1"/>
                </a:solidFill>
                <a:latin typeface="Arial Narrow" panose="020B0606020202030204" pitchFamily="34" charset="0"/>
              </a:rPr>
              <a:t>oz</a:t>
            </a:r>
            <a:r>
              <a:rPr lang="en-US" sz="1600">
                <a:solidFill>
                  <a:schemeClr val="bg1"/>
                </a:solidFill>
                <a:latin typeface="Arial Narrow" panose="020B0606020202030204" pitchFamily="34" charset="0"/>
              </a:rPr>
              <a:t>) or MSMA (2 </a:t>
            </a:r>
            <a:r>
              <a:rPr lang="en-US" sz="1600" err="1">
                <a:solidFill>
                  <a:schemeClr val="bg1"/>
                </a:solidFill>
                <a:latin typeface="Arial Narrow" panose="020B0606020202030204" pitchFamily="34" charset="0"/>
              </a:rPr>
              <a:t>lbs</a:t>
            </a:r>
            <a:r>
              <a:rPr lang="en-US" sz="1600">
                <a:solidFill>
                  <a:schemeClr val="bg1"/>
                </a:solidFill>
                <a:latin typeface="Arial Narrow" panose="020B0606020202030204" pitchFamily="34" charset="0"/>
              </a:rPr>
              <a:t> </a:t>
            </a:r>
            <a:r>
              <a:rPr lang="en-US" sz="1600" err="1">
                <a:solidFill>
                  <a:schemeClr val="bg1"/>
                </a:solidFill>
                <a:latin typeface="Arial Narrow" panose="020B0606020202030204" pitchFamily="34" charset="0"/>
              </a:rPr>
              <a:t>ai</a:t>
            </a:r>
            <a:r>
              <a:rPr lang="en-US" sz="1600">
                <a:solidFill>
                  <a:schemeClr val="bg1"/>
                </a:solidFill>
                <a:latin typeface="Arial Narrow" panose="020B0606020202030204" pitchFamily="34" charset="0"/>
              </a:rPr>
              <a:t>)</a:t>
            </a:r>
          </a:p>
        </p:txBody>
      </p:sp>
      <p:pic>
        <p:nvPicPr>
          <p:cNvPr id="2" name="Picture 1">
            <a:extLst>
              <a:ext uri="{FF2B5EF4-FFF2-40B4-BE49-F238E27FC236}">
                <a16:creationId xmlns:a16="http://schemas.microsoft.com/office/drawing/2014/main" id="{E83C55A5-494E-48A5-BAAF-7BA82CF469E9}"/>
              </a:ext>
            </a:extLst>
          </p:cNvPr>
          <p:cNvPicPr>
            <a:picLocks noChangeAspect="1"/>
          </p:cNvPicPr>
          <p:nvPr/>
        </p:nvPicPr>
        <p:blipFill>
          <a:blip r:embed="rId3"/>
          <a:stretch>
            <a:fillRect/>
          </a:stretch>
        </p:blipFill>
        <p:spPr>
          <a:xfrm>
            <a:off x="854507" y="6354167"/>
            <a:ext cx="1171575" cy="495300"/>
          </a:xfrm>
          <a:prstGeom prst="rect">
            <a:avLst/>
          </a:prstGeom>
        </p:spPr>
      </p:pic>
      <p:pic>
        <p:nvPicPr>
          <p:cNvPr id="20" name="Picture 19">
            <a:extLst>
              <a:ext uri="{FF2B5EF4-FFF2-40B4-BE49-F238E27FC236}">
                <a16:creationId xmlns:a16="http://schemas.microsoft.com/office/drawing/2014/main" id="{63CAFAD4-97A8-4988-81CD-1BE9EB38EE66}"/>
              </a:ext>
            </a:extLst>
          </p:cNvPr>
          <p:cNvPicPr>
            <a:picLocks noChangeAspect="1"/>
          </p:cNvPicPr>
          <p:nvPr/>
        </p:nvPicPr>
        <p:blipFill>
          <a:blip r:embed="rId4"/>
          <a:stretch>
            <a:fillRect/>
          </a:stretch>
        </p:blipFill>
        <p:spPr>
          <a:xfrm>
            <a:off x="838200" y="6393164"/>
            <a:ext cx="1333500" cy="378995"/>
          </a:xfrm>
          <a:prstGeom prst="rect">
            <a:avLst/>
          </a:prstGeom>
        </p:spPr>
      </p:pic>
      <p:sp>
        <p:nvSpPr>
          <p:cNvPr id="21" name="TextBox 20">
            <a:extLst>
              <a:ext uri="{FF2B5EF4-FFF2-40B4-BE49-F238E27FC236}">
                <a16:creationId xmlns:a16="http://schemas.microsoft.com/office/drawing/2014/main" id="{C5EE0564-ED81-4E00-980B-F2D157B7FEAC}"/>
              </a:ext>
            </a:extLst>
          </p:cNvPr>
          <p:cNvSpPr txBox="1"/>
          <p:nvPr/>
        </p:nvSpPr>
        <p:spPr>
          <a:xfrm>
            <a:off x="747580" y="1295381"/>
            <a:ext cx="10589758" cy="523220"/>
          </a:xfrm>
          <a:prstGeom prst="rect">
            <a:avLst/>
          </a:prstGeom>
          <a:solidFill>
            <a:schemeClr val="accent4">
              <a:lumMod val="60000"/>
              <a:lumOff val="40000"/>
            </a:schemeClr>
          </a:solidFill>
        </p:spPr>
        <p:txBody>
          <a:bodyPr wrap="none" rtlCol="0">
            <a:spAutoFit/>
          </a:bodyPr>
          <a:lstStyle/>
          <a:p>
            <a:r>
              <a:rPr lang="en-US" sz="2800">
                <a:solidFill>
                  <a:schemeClr val="bg1"/>
                </a:solidFill>
                <a:latin typeface="Arial Narrow" panose="020B0606020202030204" pitchFamily="34" charset="0"/>
              </a:rPr>
              <a:t>Overlapping residual herbicides are important along with multiple sites of action </a:t>
            </a:r>
          </a:p>
        </p:txBody>
      </p:sp>
    </p:spTree>
    <p:extLst>
      <p:ext uri="{BB962C8B-B14F-4D97-AF65-F5344CB8AC3E}">
        <p14:creationId xmlns:p14="http://schemas.microsoft.com/office/powerpoint/2010/main" val="223862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1000"/>
                                        <p:tgtEl>
                                          <p:spTgt spid="27"/>
                                        </p:tgtEl>
                                      </p:cBhvr>
                                    </p:animEffect>
                                    <p:anim calcmode="lin" valueType="num">
                                      <p:cBhvr>
                                        <p:cTn id="13" dur="1000" fill="hold"/>
                                        <p:tgtEl>
                                          <p:spTgt spid="27"/>
                                        </p:tgtEl>
                                        <p:attrNameLst>
                                          <p:attrName>ppt_x</p:attrName>
                                        </p:attrNameLst>
                                      </p:cBhvr>
                                      <p:tavLst>
                                        <p:tav tm="0">
                                          <p:val>
                                            <p:strVal val="#ppt_x"/>
                                          </p:val>
                                        </p:tav>
                                        <p:tav tm="100000">
                                          <p:val>
                                            <p:strVal val="#ppt_x"/>
                                          </p:val>
                                        </p:tav>
                                      </p:tavLst>
                                    </p:anim>
                                    <p:anim calcmode="lin" valueType="num">
                                      <p:cBhvr>
                                        <p:cTn id="14" dur="1000" fill="hold"/>
                                        <p:tgtEl>
                                          <p:spTgt spid="2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1000"/>
                                        <p:tgtEl>
                                          <p:spTgt spid="35"/>
                                        </p:tgtEl>
                                      </p:cBhvr>
                                    </p:animEffect>
                                    <p:anim calcmode="lin" valueType="num">
                                      <p:cBhvr>
                                        <p:cTn id="18" dur="1000" fill="hold"/>
                                        <p:tgtEl>
                                          <p:spTgt spid="35"/>
                                        </p:tgtEl>
                                        <p:attrNameLst>
                                          <p:attrName>ppt_x</p:attrName>
                                        </p:attrNameLst>
                                      </p:cBhvr>
                                      <p:tavLst>
                                        <p:tav tm="0">
                                          <p:val>
                                            <p:strVal val="#ppt_x"/>
                                          </p:val>
                                        </p:tav>
                                        <p:tav tm="100000">
                                          <p:val>
                                            <p:strVal val="#ppt_x"/>
                                          </p:val>
                                        </p:tav>
                                      </p:tavLst>
                                    </p:anim>
                                    <p:anim calcmode="lin" valueType="num">
                                      <p:cBhvr>
                                        <p:cTn id="19" dur="1000" fill="hold"/>
                                        <p:tgtEl>
                                          <p:spTgt spid="3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1000"/>
                                        <p:tgtEl>
                                          <p:spTgt spid="36"/>
                                        </p:tgtEl>
                                      </p:cBhvr>
                                    </p:animEffect>
                                    <p:anim calcmode="lin" valueType="num">
                                      <p:cBhvr>
                                        <p:cTn id="23" dur="1000" fill="hold"/>
                                        <p:tgtEl>
                                          <p:spTgt spid="36"/>
                                        </p:tgtEl>
                                        <p:attrNameLst>
                                          <p:attrName>ppt_x</p:attrName>
                                        </p:attrNameLst>
                                      </p:cBhvr>
                                      <p:tavLst>
                                        <p:tav tm="0">
                                          <p:val>
                                            <p:strVal val="#ppt_x"/>
                                          </p:val>
                                        </p:tav>
                                        <p:tav tm="100000">
                                          <p:val>
                                            <p:strVal val="#ppt_x"/>
                                          </p:val>
                                        </p:tav>
                                      </p:tavLst>
                                    </p:anim>
                                    <p:anim calcmode="lin" valueType="num">
                                      <p:cBhvr>
                                        <p:cTn id="24" dur="1000" fill="hold"/>
                                        <p:tgtEl>
                                          <p:spTgt spid="36"/>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1000"/>
                                        <p:tgtEl>
                                          <p:spTgt spid="21"/>
                                        </p:tgtEl>
                                      </p:cBhvr>
                                    </p:animEffect>
                                    <p:anim calcmode="lin" valueType="num">
                                      <p:cBhvr>
                                        <p:cTn id="28" dur="1000" fill="hold"/>
                                        <p:tgtEl>
                                          <p:spTgt spid="21"/>
                                        </p:tgtEl>
                                        <p:attrNameLst>
                                          <p:attrName>ppt_x</p:attrName>
                                        </p:attrNameLst>
                                      </p:cBhvr>
                                      <p:tavLst>
                                        <p:tav tm="0">
                                          <p:val>
                                            <p:strVal val="#ppt_x"/>
                                          </p:val>
                                        </p:tav>
                                        <p:tav tm="100000">
                                          <p:val>
                                            <p:strVal val="#ppt_x"/>
                                          </p:val>
                                        </p:tav>
                                      </p:tavLst>
                                    </p:anim>
                                    <p:anim calcmode="lin" valueType="num">
                                      <p:cBhvr>
                                        <p:cTn id="2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35" grpId="0" animBg="1"/>
      <p:bldP spid="36" grpId="0" animBg="1"/>
      <p:bldP spid="21"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Content Placeholder 5">
            <a:extLst>
              <a:ext uri="{FF2B5EF4-FFF2-40B4-BE49-F238E27FC236}">
                <a16:creationId xmlns:a16="http://schemas.microsoft.com/office/drawing/2014/main" id="{17E64A49-E31E-41FB-AC2C-1F5DDD5A2878}"/>
              </a:ext>
            </a:extLst>
          </p:cNvPr>
          <p:cNvSpPr>
            <a:spLocks noGrp="1"/>
          </p:cNvSpPr>
          <p:nvPr>
            <p:ph sz="half" idx="1"/>
          </p:nvPr>
        </p:nvSpPr>
        <p:spPr>
          <a:xfrm>
            <a:off x="270133" y="1716253"/>
            <a:ext cx="11400936" cy="4417620"/>
          </a:xfrm>
        </p:spPr>
        <p:txBody>
          <a:bodyPr vert="horz" wrap="square" lIns="91440" tIns="45720" rIns="91440" bIns="45720" rtlCol="0" anchor="t">
            <a:spAutoFit/>
          </a:bodyPr>
          <a:lstStyle/>
          <a:p>
            <a:pPr marL="0" indent="0">
              <a:buNone/>
            </a:pPr>
            <a:r>
              <a:rPr lang="en-US" sz="2800">
                <a:latin typeface="Arial" panose="020B0604020202020204" pitchFamily="34" charset="0"/>
                <a:ea typeface="+mj-ea"/>
                <a:cs typeface="Arial" panose="020B0604020202020204" pitchFamily="34" charset="0"/>
              </a:rPr>
              <a:t>Weed management in buffer areas should be unique to each situation, options include:</a:t>
            </a:r>
          </a:p>
          <a:p>
            <a:r>
              <a:rPr lang="en-US" sz="2400">
                <a:latin typeface="Arial"/>
                <a:ea typeface="+mj-ea"/>
                <a:cs typeface="Arial"/>
              </a:rPr>
              <a:t>Glufosinate in </a:t>
            </a:r>
            <a:r>
              <a:rPr lang="en-US" sz="2400" err="1">
                <a:latin typeface="Arial"/>
                <a:ea typeface="+mj-ea"/>
                <a:cs typeface="Arial"/>
              </a:rPr>
              <a:t>XtendFlex</a:t>
            </a:r>
            <a:r>
              <a:rPr lang="en-US" sz="2400" baseline="30000">
                <a:latin typeface="Arial"/>
                <a:ea typeface="+mj-ea"/>
                <a:cs typeface="Arial"/>
              </a:rPr>
              <a:t>®</a:t>
            </a:r>
            <a:r>
              <a:rPr lang="en-US" sz="2400">
                <a:latin typeface="Arial"/>
                <a:ea typeface="+mj-ea"/>
                <a:cs typeface="Arial"/>
              </a:rPr>
              <a:t> soybeans/cotton</a:t>
            </a:r>
          </a:p>
          <a:p>
            <a:pPr lvl="1"/>
            <a:r>
              <a:rPr lang="en-US" sz="2200">
                <a:latin typeface="Arial" panose="020B0604020202020204" pitchFamily="34" charset="0"/>
                <a:ea typeface="+mj-ea"/>
                <a:cs typeface="Arial" panose="020B0604020202020204" pitchFamily="34" charset="0"/>
              </a:rPr>
              <a:t>PPO or other herbicide options</a:t>
            </a:r>
          </a:p>
          <a:p>
            <a:r>
              <a:rPr lang="en-US" sz="2400">
                <a:latin typeface="Arial" panose="020B0604020202020204" pitchFamily="34" charset="0"/>
                <a:ea typeface="+mj-ea"/>
                <a:cs typeface="Arial" panose="020B0604020202020204" pitchFamily="34" charset="0"/>
              </a:rPr>
              <a:t>Use higher labeled rates of residual herbicides and additional SOA in possible buffer areas</a:t>
            </a:r>
          </a:p>
          <a:p>
            <a:r>
              <a:rPr lang="en-US" sz="2400">
                <a:latin typeface="Arial"/>
                <a:ea typeface="+mj-ea"/>
                <a:cs typeface="Arial"/>
              </a:rPr>
              <a:t>XtendiMax may be applied in certain downwind buffer areas used in a previous application</a:t>
            </a:r>
          </a:p>
          <a:p>
            <a:pPr lvl="1"/>
            <a:r>
              <a:rPr lang="en-US" sz="2000">
                <a:latin typeface="Arial"/>
                <a:ea typeface="+mj-ea"/>
                <a:cs typeface="Arial"/>
              </a:rPr>
              <a:t>Wait for change in wind direction, determine new buffer distances and adhere to all other application requirements (including endangered species restrictions)</a:t>
            </a:r>
            <a:endParaRPr lang="en-US" sz="2200">
              <a:latin typeface="Arial"/>
              <a:ea typeface="+mj-ea"/>
              <a:cs typeface="Arial"/>
            </a:endParaRPr>
          </a:p>
          <a:p>
            <a:r>
              <a:rPr lang="en-US" sz="2400">
                <a:latin typeface="Arial" panose="020B0604020202020204" pitchFamily="34" charset="0"/>
                <a:ea typeface="+mj-ea"/>
                <a:cs typeface="Arial" panose="020B0604020202020204" pitchFamily="34" charset="0"/>
              </a:rPr>
              <a:t>Contact your Bayer technical or sales representatives for local recommendations</a:t>
            </a:r>
          </a:p>
        </p:txBody>
      </p:sp>
      <p:sp>
        <p:nvSpPr>
          <p:cNvPr id="10" name="Footer Placeholder 9">
            <a:extLst>
              <a:ext uri="{FF2B5EF4-FFF2-40B4-BE49-F238E27FC236}">
                <a16:creationId xmlns:a16="http://schemas.microsoft.com/office/drawing/2014/main" id="{BDA078D2-F97C-4662-BE62-0BB016EBCA79}"/>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11" name="Slide Number Placeholder 10">
            <a:extLst>
              <a:ext uri="{FF2B5EF4-FFF2-40B4-BE49-F238E27FC236}">
                <a16:creationId xmlns:a16="http://schemas.microsoft.com/office/drawing/2014/main" id="{197AFCEF-3015-4ECC-8ADB-D19DE08AAD16}"/>
              </a:ext>
            </a:extLst>
          </p:cNvPr>
          <p:cNvSpPr>
            <a:spLocks noGrp="1"/>
          </p:cNvSpPr>
          <p:nvPr>
            <p:ph type="sldNum" sz="quarter" idx="16"/>
          </p:nvPr>
        </p:nvSpPr>
        <p:spPr/>
        <p:txBody>
          <a:bodyPr/>
          <a:lstStyle/>
          <a:p>
            <a:pPr lvl="0"/>
            <a:fld id="{5A1C2420-D500-4FDF-A245-39DCF46675EA}" type="slidenum">
              <a:rPr lang="en-US" noProof="0" smtClean="0"/>
              <a:pPr lvl="0"/>
              <a:t>57</a:t>
            </a:fld>
            <a:endParaRPr lang="en-US" noProof="0"/>
          </a:p>
        </p:txBody>
      </p:sp>
      <p:sp>
        <p:nvSpPr>
          <p:cNvPr id="25" name="Title 1">
            <a:extLst>
              <a:ext uri="{FF2B5EF4-FFF2-40B4-BE49-F238E27FC236}">
                <a16:creationId xmlns:a16="http://schemas.microsoft.com/office/drawing/2014/main" id="{64505E56-0A15-44F2-9C03-D85FDF38BB4E}"/>
              </a:ext>
            </a:extLst>
          </p:cNvPr>
          <p:cNvSpPr txBox="1">
            <a:spLocks/>
          </p:cNvSpPr>
          <p:nvPr/>
        </p:nvSpPr>
        <p:spPr>
          <a:xfrm>
            <a:off x="501312" y="331942"/>
            <a:ext cx="6549189"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Weed management in buffer area</a:t>
            </a:r>
            <a:endParaRPr lang="en-US" sz="6000"/>
          </a:p>
        </p:txBody>
      </p:sp>
      <p:pic>
        <p:nvPicPr>
          <p:cNvPr id="2" name="Picture 1">
            <a:extLst>
              <a:ext uri="{FF2B5EF4-FFF2-40B4-BE49-F238E27FC236}">
                <a16:creationId xmlns:a16="http://schemas.microsoft.com/office/drawing/2014/main" id="{27B4A501-573C-4283-B611-74588E58E781}"/>
              </a:ext>
            </a:extLst>
          </p:cNvPr>
          <p:cNvPicPr>
            <a:picLocks noChangeAspect="1"/>
          </p:cNvPicPr>
          <p:nvPr/>
        </p:nvPicPr>
        <p:blipFill>
          <a:blip r:embed="rId3"/>
          <a:stretch>
            <a:fillRect/>
          </a:stretch>
        </p:blipFill>
        <p:spPr>
          <a:xfrm>
            <a:off x="880614" y="6362700"/>
            <a:ext cx="1171575" cy="495300"/>
          </a:xfrm>
          <a:prstGeom prst="rect">
            <a:avLst/>
          </a:prstGeom>
        </p:spPr>
      </p:pic>
      <p:pic>
        <p:nvPicPr>
          <p:cNvPr id="37" name="Picture 36">
            <a:extLst>
              <a:ext uri="{FF2B5EF4-FFF2-40B4-BE49-F238E27FC236}">
                <a16:creationId xmlns:a16="http://schemas.microsoft.com/office/drawing/2014/main" id="{DE610795-B1BA-46F0-934F-6B35A8D63A26}"/>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140669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Content Placeholder 5">
            <a:extLst>
              <a:ext uri="{FF2B5EF4-FFF2-40B4-BE49-F238E27FC236}">
                <a16:creationId xmlns:a16="http://schemas.microsoft.com/office/drawing/2014/main" id="{17E64A49-E31E-41FB-AC2C-1F5DDD5A2878}"/>
              </a:ext>
            </a:extLst>
          </p:cNvPr>
          <p:cNvSpPr>
            <a:spLocks noGrp="1"/>
          </p:cNvSpPr>
          <p:nvPr>
            <p:ph sz="half" idx="1"/>
          </p:nvPr>
        </p:nvSpPr>
        <p:spPr>
          <a:xfrm>
            <a:off x="675361" y="1476131"/>
            <a:ext cx="10798480" cy="2322687"/>
          </a:xfrm>
        </p:spPr>
        <p:txBody>
          <a:bodyPr wrap="square">
            <a:spAutoFit/>
          </a:bodyPr>
          <a:lstStyle/>
          <a:p>
            <a:pPr marL="0" indent="0">
              <a:buNone/>
            </a:pPr>
            <a:r>
              <a:rPr lang="en-US" sz="2800">
                <a:latin typeface="Arial" panose="020B0604020202020204" pitchFamily="34" charset="0"/>
                <a:ea typeface="+mj-ea"/>
                <a:cs typeface="Arial" panose="020B0604020202020204" pitchFamily="34" charset="0"/>
              </a:rPr>
              <a:t>Contact the appropriate company if you:</a:t>
            </a:r>
          </a:p>
          <a:p>
            <a:r>
              <a:rPr lang="en-US" sz="2400">
                <a:latin typeface="Arial" panose="020B0604020202020204" pitchFamily="34" charset="0"/>
                <a:ea typeface="+mj-ea"/>
                <a:cs typeface="Arial" panose="020B0604020202020204" pitchFamily="34" charset="0"/>
              </a:rPr>
              <a:t>Experience poor performance on labelled weeds or suspect weed resistance</a:t>
            </a:r>
          </a:p>
          <a:p>
            <a:r>
              <a:rPr lang="en-US" sz="2400">
                <a:latin typeface="Arial" panose="020B0604020202020204" pitchFamily="34" charset="0"/>
                <a:ea typeface="+mj-ea"/>
                <a:cs typeface="Arial" panose="020B0604020202020204" pitchFamily="34" charset="0"/>
              </a:rPr>
              <a:t>Have off-target movement inquiries</a:t>
            </a:r>
          </a:p>
          <a:p>
            <a:r>
              <a:rPr lang="en-US" sz="2400">
                <a:latin typeface="Arial" panose="020B0604020202020204" pitchFamily="34" charset="0"/>
                <a:ea typeface="+mj-ea"/>
                <a:cs typeface="Arial" panose="020B0604020202020204" pitchFamily="34" charset="0"/>
              </a:rPr>
              <a:t>Have crop response inquiries </a:t>
            </a:r>
          </a:p>
          <a:p>
            <a:r>
              <a:rPr lang="en-US" sz="2400">
                <a:latin typeface="Arial" panose="020B0604020202020204" pitchFamily="34" charset="0"/>
                <a:ea typeface="+mj-ea"/>
                <a:cs typeface="Arial" panose="020B0604020202020204" pitchFamily="34" charset="0"/>
              </a:rPr>
              <a:t>Have questions about sensitive crop registries</a:t>
            </a:r>
          </a:p>
        </p:txBody>
      </p:sp>
      <p:sp>
        <p:nvSpPr>
          <p:cNvPr id="10" name="Footer Placeholder 9">
            <a:extLst>
              <a:ext uri="{FF2B5EF4-FFF2-40B4-BE49-F238E27FC236}">
                <a16:creationId xmlns:a16="http://schemas.microsoft.com/office/drawing/2014/main" id="{BDA078D2-F97C-4662-BE62-0BB016EBCA79}"/>
              </a:ext>
            </a:extLst>
          </p:cNvPr>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11" name="Slide Number Placeholder 10">
            <a:extLst>
              <a:ext uri="{FF2B5EF4-FFF2-40B4-BE49-F238E27FC236}">
                <a16:creationId xmlns:a16="http://schemas.microsoft.com/office/drawing/2014/main" id="{197AFCEF-3015-4ECC-8ADB-D19DE08AAD16}"/>
              </a:ext>
            </a:extLst>
          </p:cNvPr>
          <p:cNvSpPr>
            <a:spLocks noGrp="1"/>
          </p:cNvSpPr>
          <p:nvPr>
            <p:ph type="sldNum" sz="quarter" idx="16"/>
          </p:nvPr>
        </p:nvSpPr>
        <p:spPr/>
        <p:txBody>
          <a:bodyPr/>
          <a:lstStyle/>
          <a:p>
            <a:pPr lvl="0"/>
            <a:fld id="{5A1C2420-D500-4FDF-A245-39DCF46675EA}" type="slidenum">
              <a:rPr lang="en-US" noProof="0" smtClean="0"/>
              <a:pPr lvl="0"/>
              <a:t>58</a:t>
            </a:fld>
            <a:endParaRPr lang="en-US" noProof="0"/>
          </a:p>
        </p:txBody>
      </p:sp>
      <p:sp>
        <p:nvSpPr>
          <p:cNvPr id="25" name="Title 1">
            <a:extLst>
              <a:ext uri="{FF2B5EF4-FFF2-40B4-BE49-F238E27FC236}">
                <a16:creationId xmlns:a16="http://schemas.microsoft.com/office/drawing/2014/main" id="{64505E56-0A15-44F2-9C03-D85FDF38BB4E}"/>
              </a:ext>
            </a:extLst>
          </p:cNvPr>
          <p:cNvSpPr txBox="1">
            <a:spLocks/>
          </p:cNvSpPr>
          <p:nvPr/>
        </p:nvSpPr>
        <p:spPr>
          <a:xfrm>
            <a:off x="838200" y="228600"/>
            <a:ext cx="10515600" cy="108813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lvl="0">
              <a:defRPr/>
            </a:pPr>
            <a:r>
              <a:rPr lang="en-US"/>
              <a:t>Applications of low-volatility formulations of dicamba </a:t>
            </a:r>
            <a:endParaRPr lang="en-US" sz="6000"/>
          </a:p>
        </p:txBody>
      </p:sp>
      <p:grpSp>
        <p:nvGrpSpPr>
          <p:cNvPr id="5" name="Group 4">
            <a:extLst>
              <a:ext uri="{FF2B5EF4-FFF2-40B4-BE49-F238E27FC236}">
                <a16:creationId xmlns:a16="http://schemas.microsoft.com/office/drawing/2014/main" id="{A6EBC71B-AF3C-4CB6-AD17-75129A68B0D7}"/>
              </a:ext>
            </a:extLst>
          </p:cNvPr>
          <p:cNvGrpSpPr/>
          <p:nvPr/>
        </p:nvGrpSpPr>
        <p:grpSpPr>
          <a:xfrm>
            <a:off x="8284156" y="4118555"/>
            <a:ext cx="3355909" cy="1155146"/>
            <a:chOff x="8284156" y="4186181"/>
            <a:chExt cx="3355909" cy="1155146"/>
          </a:xfrm>
        </p:grpSpPr>
        <p:grpSp>
          <p:nvGrpSpPr>
            <p:cNvPr id="8" name="Group 7">
              <a:extLst>
                <a:ext uri="{FF2B5EF4-FFF2-40B4-BE49-F238E27FC236}">
                  <a16:creationId xmlns:a16="http://schemas.microsoft.com/office/drawing/2014/main" id="{09793509-F17B-4DC1-AE88-8A64EBD3EBBC}"/>
                </a:ext>
              </a:extLst>
            </p:cNvPr>
            <p:cNvGrpSpPr/>
            <p:nvPr/>
          </p:nvGrpSpPr>
          <p:grpSpPr>
            <a:xfrm>
              <a:off x="8284156" y="4186181"/>
              <a:ext cx="2592682" cy="658381"/>
              <a:chOff x="8068199" y="3976863"/>
              <a:chExt cx="3213353" cy="658381"/>
            </a:xfrm>
          </p:grpSpPr>
          <p:sp>
            <p:nvSpPr>
              <p:cNvPr id="38" name="Content Placeholder 5">
                <a:extLst>
                  <a:ext uri="{FF2B5EF4-FFF2-40B4-BE49-F238E27FC236}">
                    <a16:creationId xmlns:a16="http://schemas.microsoft.com/office/drawing/2014/main" id="{9A21EBD8-6D2B-447C-A4BD-2C07F77ED94E}"/>
                  </a:ext>
                </a:extLst>
              </p:cNvPr>
              <p:cNvSpPr txBox="1">
                <a:spLocks/>
              </p:cNvSpPr>
              <p:nvPr/>
            </p:nvSpPr>
            <p:spPr>
              <a:xfrm>
                <a:off x="8095552" y="4036517"/>
                <a:ext cx="1515876"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err="1">
                    <a:ln>
                      <a:noFill/>
                    </a:ln>
                    <a:solidFill>
                      <a:schemeClr val="tx1"/>
                    </a:solidFill>
                    <a:effectLst/>
                    <a:uLnTx/>
                    <a:uFillTx/>
                    <a:latin typeface="+mn-lt"/>
                    <a:ea typeface="+mn-ea"/>
                    <a:cs typeface="+mn-cs"/>
                  </a:rPr>
                  <a:t>Engenia</a:t>
                </a:r>
                <a:endParaRPr kumimoji="0" lang="en-US" sz="2000" b="0" i="0" u="none" strike="noStrike" kern="1200" cap="none" spc="0" normalizeH="0" baseline="0" noProof="0">
                  <a:ln>
                    <a:noFill/>
                  </a:ln>
                  <a:solidFill>
                    <a:schemeClr val="tx1"/>
                  </a:solidFill>
                  <a:effectLst/>
                  <a:uLnTx/>
                  <a:uFillTx/>
                  <a:latin typeface="+mn-lt"/>
                  <a:ea typeface="+mn-ea"/>
                  <a:cs typeface="+mn-cs"/>
                </a:endParaRPr>
              </a:p>
            </p:txBody>
          </p:sp>
          <p:sp>
            <p:nvSpPr>
              <p:cNvPr id="39" name="Rectangle 38">
                <a:extLst>
                  <a:ext uri="{FF2B5EF4-FFF2-40B4-BE49-F238E27FC236}">
                    <a16:creationId xmlns:a16="http://schemas.microsoft.com/office/drawing/2014/main" id="{F8B5A92C-00C8-48E1-83B9-E7108C515447}"/>
                  </a:ext>
                </a:extLst>
              </p:cNvPr>
              <p:cNvSpPr/>
              <p:nvPr/>
            </p:nvSpPr>
            <p:spPr>
              <a:xfrm>
                <a:off x="8068199" y="3976863"/>
                <a:ext cx="3213353" cy="506264"/>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Isosceles Triangle 39">
                <a:extLst>
                  <a:ext uri="{FF2B5EF4-FFF2-40B4-BE49-F238E27FC236}">
                    <a16:creationId xmlns:a16="http://schemas.microsoft.com/office/drawing/2014/main" id="{D7EA7A8B-C646-4095-8530-2251A48F3629}"/>
                  </a:ext>
                </a:extLst>
              </p:cNvPr>
              <p:cNvSpPr/>
              <p:nvPr/>
            </p:nvSpPr>
            <p:spPr>
              <a:xfrm rot="10800000">
                <a:off x="8374462" y="450403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1" name="Content Placeholder 5">
              <a:extLst>
                <a:ext uri="{FF2B5EF4-FFF2-40B4-BE49-F238E27FC236}">
                  <a16:creationId xmlns:a16="http://schemas.microsoft.com/office/drawing/2014/main" id="{CC13C8A2-C2C5-4358-A21D-FD5CCD15FB5D}"/>
                </a:ext>
              </a:extLst>
            </p:cNvPr>
            <p:cNvSpPr txBox="1">
              <a:spLocks/>
            </p:cNvSpPr>
            <p:nvPr/>
          </p:nvSpPr>
          <p:spPr>
            <a:xfrm>
              <a:off x="8284159" y="4971995"/>
              <a:ext cx="3355906"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sng" strike="noStrike" kern="1200" cap="none" spc="0" normalizeH="0" baseline="0" noProof="0">
                  <a:ln>
                    <a:noFill/>
                  </a:ln>
                  <a:solidFill>
                    <a:schemeClr val="tx1"/>
                  </a:solidFill>
                  <a:effectLst/>
                  <a:uLnTx/>
                  <a:uFillTx/>
                  <a:latin typeface="+mn-lt"/>
                  <a:ea typeface="+mn-ea"/>
                  <a:cs typeface="+mn-cs"/>
                </a:rPr>
                <a:t>www.engeniaquestions.com</a:t>
              </a:r>
            </a:p>
          </p:txBody>
        </p:sp>
      </p:grpSp>
      <p:grpSp>
        <p:nvGrpSpPr>
          <p:cNvPr id="3" name="Group 2">
            <a:extLst>
              <a:ext uri="{FF2B5EF4-FFF2-40B4-BE49-F238E27FC236}">
                <a16:creationId xmlns:a16="http://schemas.microsoft.com/office/drawing/2014/main" id="{6BCBC4F2-591E-4838-A821-F573BEE54FB4}"/>
              </a:ext>
            </a:extLst>
          </p:cNvPr>
          <p:cNvGrpSpPr/>
          <p:nvPr/>
        </p:nvGrpSpPr>
        <p:grpSpPr>
          <a:xfrm>
            <a:off x="838200" y="4118555"/>
            <a:ext cx="3352864" cy="1452015"/>
            <a:chOff x="193525" y="4189541"/>
            <a:chExt cx="3352864" cy="1452015"/>
          </a:xfrm>
        </p:grpSpPr>
        <p:grpSp>
          <p:nvGrpSpPr>
            <p:cNvPr id="6" name="Group 5">
              <a:extLst>
                <a:ext uri="{FF2B5EF4-FFF2-40B4-BE49-F238E27FC236}">
                  <a16:creationId xmlns:a16="http://schemas.microsoft.com/office/drawing/2014/main" id="{35D3DB61-67CB-454B-B666-DE518FB29C75}"/>
                </a:ext>
              </a:extLst>
            </p:cNvPr>
            <p:cNvGrpSpPr/>
            <p:nvPr/>
          </p:nvGrpSpPr>
          <p:grpSpPr>
            <a:xfrm>
              <a:off x="193525" y="4189541"/>
              <a:ext cx="2592684" cy="658381"/>
              <a:chOff x="971028" y="3976863"/>
              <a:chExt cx="3213353" cy="658381"/>
            </a:xfrm>
          </p:grpSpPr>
          <p:sp>
            <p:nvSpPr>
              <p:cNvPr id="42" name="Content Placeholder 5">
                <a:extLst>
                  <a:ext uri="{FF2B5EF4-FFF2-40B4-BE49-F238E27FC236}">
                    <a16:creationId xmlns:a16="http://schemas.microsoft.com/office/drawing/2014/main" id="{86479CA5-94BD-40BC-AFDB-DD6C0DA7FC4B}"/>
                  </a:ext>
                </a:extLst>
              </p:cNvPr>
              <p:cNvSpPr txBox="1">
                <a:spLocks/>
              </p:cNvSpPr>
              <p:nvPr/>
            </p:nvSpPr>
            <p:spPr>
              <a:xfrm>
                <a:off x="998380" y="4036517"/>
                <a:ext cx="2361695"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err="1">
                    <a:ln>
                      <a:noFill/>
                    </a:ln>
                    <a:solidFill>
                      <a:schemeClr val="tx1"/>
                    </a:solidFill>
                    <a:effectLst/>
                    <a:uLnTx/>
                    <a:uFillTx/>
                    <a:latin typeface="+mn-lt"/>
                    <a:ea typeface="+mj-ea"/>
                    <a:cs typeface="+mj-cs"/>
                  </a:rPr>
                  <a:t>XtendiMax</a:t>
                </a: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43" name="Rectangle 42">
                <a:extLst>
                  <a:ext uri="{FF2B5EF4-FFF2-40B4-BE49-F238E27FC236}">
                    <a16:creationId xmlns:a16="http://schemas.microsoft.com/office/drawing/2014/main" id="{BD620320-FB54-4629-9907-4A02A395AAFE}"/>
                  </a:ext>
                </a:extLst>
              </p:cNvPr>
              <p:cNvSpPr/>
              <p:nvPr/>
            </p:nvSpPr>
            <p:spPr>
              <a:xfrm>
                <a:off x="971028" y="3976863"/>
                <a:ext cx="3213353" cy="506264"/>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Isosceles Triangle 43">
                <a:extLst>
                  <a:ext uri="{FF2B5EF4-FFF2-40B4-BE49-F238E27FC236}">
                    <a16:creationId xmlns:a16="http://schemas.microsoft.com/office/drawing/2014/main" id="{C27AAE4F-BA89-4363-A9F6-9790CAFE390A}"/>
                  </a:ext>
                </a:extLst>
              </p:cNvPr>
              <p:cNvSpPr/>
              <p:nvPr/>
            </p:nvSpPr>
            <p:spPr>
              <a:xfrm rot="10800000">
                <a:off x="1277291" y="450403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5" name="Content Placeholder 5">
              <a:extLst>
                <a:ext uri="{FF2B5EF4-FFF2-40B4-BE49-F238E27FC236}">
                  <a16:creationId xmlns:a16="http://schemas.microsoft.com/office/drawing/2014/main" id="{D00FB463-DB71-4779-BC4D-410D8966B31A}"/>
                </a:ext>
              </a:extLst>
            </p:cNvPr>
            <p:cNvSpPr txBox="1">
              <a:spLocks/>
            </p:cNvSpPr>
            <p:nvPr/>
          </p:nvSpPr>
          <p:spPr>
            <a:xfrm>
              <a:off x="193525" y="4894685"/>
              <a:ext cx="3352864" cy="74687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n-lt"/>
                  <a:ea typeface="+mn-ea"/>
                  <a:cs typeface="+mn-cs"/>
                </a:rPr>
                <a:t>1-844-RRXTEN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sng" strike="noStrike" kern="1200" cap="none" spc="0" normalizeH="0" baseline="0" noProof="0">
                  <a:ln>
                    <a:noFill/>
                  </a:ln>
                  <a:solidFill>
                    <a:schemeClr val="tx1"/>
                  </a:solidFill>
                  <a:effectLst/>
                  <a:uLnTx/>
                  <a:uFillTx/>
                  <a:latin typeface="+mn-lt"/>
                  <a:ea typeface="+mn-ea"/>
                  <a:cs typeface="+mn-cs"/>
                </a:rPr>
                <a:t>www.roundupreadyxtend.com</a:t>
              </a:r>
            </a:p>
          </p:txBody>
        </p:sp>
      </p:grpSp>
      <p:grpSp>
        <p:nvGrpSpPr>
          <p:cNvPr id="4" name="Group 3">
            <a:extLst>
              <a:ext uri="{FF2B5EF4-FFF2-40B4-BE49-F238E27FC236}">
                <a16:creationId xmlns:a16="http://schemas.microsoft.com/office/drawing/2014/main" id="{B17C3BBF-6A6E-41E4-866C-82C4A494FE63}"/>
              </a:ext>
            </a:extLst>
          </p:cNvPr>
          <p:cNvGrpSpPr/>
          <p:nvPr/>
        </p:nvGrpSpPr>
        <p:grpSpPr>
          <a:xfrm>
            <a:off x="4644609" y="4118555"/>
            <a:ext cx="3186003" cy="1495613"/>
            <a:chOff x="5020214" y="4145943"/>
            <a:chExt cx="3186003" cy="1495613"/>
          </a:xfrm>
        </p:grpSpPr>
        <p:grpSp>
          <p:nvGrpSpPr>
            <p:cNvPr id="30" name="Group 29">
              <a:extLst>
                <a:ext uri="{FF2B5EF4-FFF2-40B4-BE49-F238E27FC236}">
                  <a16:creationId xmlns:a16="http://schemas.microsoft.com/office/drawing/2014/main" id="{43A61393-15D2-4BD6-B43A-E72A7BF351D3}"/>
                </a:ext>
              </a:extLst>
            </p:cNvPr>
            <p:cNvGrpSpPr/>
            <p:nvPr/>
          </p:nvGrpSpPr>
          <p:grpSpPr>
            <a:xfrm>
              <a:off x="5020214" y="4145943"/>
              <a:ext cx="2592682" cy="658381"/>
              <a:chOff x="4411802" y="3976863"/>
              <a:chExt cx="3213353" cy="658381"/>
            </a:xfrm>
          </p:grpSpPr>
          <p:sp>
            <p:nvSpPr>
              <p:cNvPr id="33" name="Content Placeholder 5">
                <a:extLst>
                  <a:ext uri="{FF2B5EF4-FFF2-40B4-BE49-F238E27FC236}">
                    <a16:creationId xmlns:a16="http://schemas.microsoft.com/office/drawing/2014/main" id="{A2CF3E85-EA4A-4984-8013-8C7841B781F7}"/>
                  </a:ext>
                </a:extLst>
              </p:cNvPr>
              <p:cNvSpPr txBox="1">
                <a:spLocks/>
              </p:cNvSpPr>
              <p:nvPr/>
            </p:nvSpPr>
            <p:spPr>
              <a:xfrm>
                <a:off x="4439155" y="4036517"/>
                <a:ext cx="1515876"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err="1">
                    <a:ln>
                      <a:noFill/>
                    </a:ln>
                    <a:effectLst/>
                    <a:uLnTx/>
                    <a:uFillTx/>
                    <a:latin typeface="+mn-lt"/>
                    <a:ea typeface="+mn-ea"/>
                    <a:cs typeface="+mn-cs"/>
                  </a:rPr>
                  <a:t>Tavium</a:t>
                </a:r>
                <a:endParaRPr kumimoji="0" lang="en-US" sz="2000" b="0" i="0" u="none" strike="noStrike" kern="1200" cap="none" spc="0" normalizeH="0" baseline="0" noProof="0">
                  <a:ln>
                    <a:noFill/>
                  </a:ln>
                  <a:effectLst/>
                  <a:uLnTx/>
                  <a:uFillTx/>
                  <a:latin typeface="+mn-lt"/>
                  <a:ea typeface="+mn-ea"/>
                  <a:cs typeface="+mn-cs"/>
                </a:endParaRPr>
              </a:p>
            </p:txBody>
          </p:sp>
          <p:sp>
            <p:nvSpPr>
              <p:cNvPr id="34" name="Rectangle 33">
                <a:extLst>
                  <a:ext uri="{FF2B5EF4-FFF2-40B4-BE49-F238E27FC236}">
                    <a16:creationId xmlns:a16="http://schemas.microsoft.com/office/drawing/2014/main" id="{4329A5D5-6D62-4905-B995-A21A1E4DEA4E}"/>
                  </a:ext>
                </a:extLst>
              </p:cNvPr>
              <p:cNvSpPr/>
              <p:nvPr/>
            </p:nvSpPr>
            <p:spPr>
              <a:xfrm>
                <a:off x="4411802" y="3976863"/>
                <a:ext cx="3213353" cy="506264"/>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Isosceles Triangle 34">
                <a:extLst>
                  <a:ext uri="{FF2B5EF4-FFF2-40B4-BE49-F238E27FC236}">
                    <a16:creationId xmlns:a16="http://schemas.microsoft.com/office/drawing/2014/main" id="{ECFB7991-2B5D-4B2B-95D2-E076DD9E1AB5}"/>
                  </a:ext>
                </a:extLst>
              </p:cNvPr>
              <p:cNvSpPr/>
              <p:nvPr/>
            </p:nvSpPr>
            <p:spPr>
              <a:xfrm rot="10800000">
                <a:off x="4718065" y="4504033"/>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6" name="Content Placeholder 5">
              <a:extLst>
                <a:ext uri="{FF2B5EF4-FFF2-40B4-BE49-F238E27FC236}">
                  <a16:creationId xmlns:a16="http://schemas.microsoft.com/office/drawing/2014/main" id="{D428B55F-CB20-45C1-AD7F-77A6AF2960C4}"/>
                </a:ext>
              </a:extLst>
            </p:cNvPr>
            <p:cNvSpPr txBox="1">
              <a:spLocks/>
            </p:cNvSpPr>
            <p:nvPr/>
          </p:nvSpPr>
          <p:spPr>
            <a:xfrm>
              <a:off x="5020216" y="4866985"/>
              <a:ext cx="3186001" cy="77457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1-866-796-4368</a:t>
              </a:r>
              <a:endParaRPr kumimoji="0" lang="en-US" sz="2000" b="0" i="0" u="none" strike="noStrike" kern="1200" cap="none" spc="0" normalizeH="0" baseline="0" noProof="0">
                <a:ln>
                  <a:noFill/>
                </a:ln>
                <a:effectLst/>
                <a:uLnTx/>
                <a:uFillTx/>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u="sng"/>
                <a:t>www.syngenta-us</a:t>
              </a:r>
              <a:r>
                <a:rPr kumimoji="0" lang="en-US" sz="2000" b="0" i="0" u="sng" strike="noStrike" kern="1200" cap="none" spc="0" normalizeH="0" baseline="0" noProof="0">
                  <a:ln>
                    <a:noFill/>
                  </a:ln>
                  <a:effectLst/>
                  <a:uLnTx/>
                  <a:uFillTx/>
                  <a:latin typeface="+mn-lt"/>
                  <a:ea typeface="+mn-ea"/>
                  <a:cs typeface="+mn-cs"/>
                </a:rPr>
                <a:t>.com</a:t>
              </a:r>
            </a:p>
          </p:txBody>
        </p:sp>
      </p:grpSp>
      <p:pic>
        <p:nvPicPr>
          <p:cNvPr id="2" name="Picture 1">
            <a:extLst>
              <a:ext uri="{FF2B5EF4-FFF2-40B4-BE49-F238E27FC236}">
                <a16:creationId xmlns:a16="http://schemas.microsoft.com/office/drawing/2014/main" id="{27B4A501-573C-4283-B611-74588E58E781}"/>
              </a:ext>
            </a:extLst>
          </p:cNvPr>
          <p:cNvPicPr>
            <a:picLocks noChangeAspect="1"/>
          </p:cNvPicPr>
          <p:nvPr/>
        </p:nvPicPr>
        <p:blipFill>
          <a:blip r:embed="rId3"/>
          <a:stretch>
            <a:fillRect/>
          </a:stretch>
        </p:blipFill>
        <p:spPr>
          <a:xfrm>
            <a:off x="880614" y="6362700"/>
            <a:ext cx="1171575" cy="495300"/>
          </a:xfrm>
          <a:prstGeom prst="rect">
            <a:avLst/>
          </a:prstGeom>
        </p:spPr>
      </p:pic>
      <p:pic>
        <p:nvPicPr>
          <p:cNvPr id="37" name="Picture 36">
            <a:extLst>
              <a:ext uri="{FF2B5EF4-FFF2-40B4-BE49-F238E27FC236}">
                <a16:creationId xmlns:a16="http://schemas.microsoft.com/office/drawing/2014/main" id="{DE610795-B1BA-46F0-934F-6B35A8D63A26}"/>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256255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988004E3-785F-42B0-8C04-B61CF3ED08AB}"/>
              </a:ext>
            </a:extLst>
          </p:cNvPr>
          <p:cNvSpPr>
            <a:spLocks noGrp="1"/>
          </p:cNvSpPr>
          <p:nvPr>
            <p:ph type="ftr" sz="quarter" idx="10"/>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D8C631AA-4E58-4F07-88EC-5F4AF59A66F1}"/>
              </a:ext>
            </a:extLst>
          </p:cNvPr>
          <p:cNvSpPr>
            <a:spLocks noGrp="1"/>
          </p:cNvSpPr>
          <p:nvPr>
            <p:ph type="sldNum" sz="quarter" idx="11"/>
          </p:nvPr>
        </p:nvSpPr>
        <p:spPr/>
        <p:txBody>
          <a:bodyPr/>
          <a:lstStyle/>
          <a:p>
            <a:fld id="{EA3FE5EA-A969-4B35-AD4B-03E61E783B03}" type="slidenum">
              <a:rPr lang="en-US" smtClean="0"/>
              <a:pPr/>
              <a:t>59</a:t>
            </a:fld>
            <a:endParaRPr lang="en-US"/>
          </a:p>
        </p:txBody>
      </p:sp>
      <p:sp>
        <p:nvSpPr>
          <p:cNvPr id="3" name="Content Placeholder 2">
            <a:extLst>
              <a:ext uri="{FF2B5EF4-FFF2-40B4-BE49-F238E27FC236}">
                <a16:creationId xmlns:a16="http://schemas.microsoft.com/office/drawing/2014/main" id="{8C3043D2-9988-42BD-80AB-C18CBCE52A7D}"/>
              </a:ext>
            </a:extLst>
          </p:cNvPr>
          <p:cNvSpPr>
            <a:spLocks noGrp="1"/>
          </p:cNvSpPr>
          <p:nvPr>
            <p:ph idx="1"/>
          </p:nvPr>
        </p:nvSpPr>
        <p:spPr>
          <a:xfrm>
            <a:off x="1013032" y="1765980"/>
            <a:ext cx="7474834" cy="400110"/>
          </a:xfrm>
        </p:spPr>
        <p:txBody>
          <a:bodyPr vert="horz" wrap="square" lIns="91440" tIns="45720" rIns="91440" bIns="45720" rtlCol="0" anchor="t">
            <a:spAutoFit/>
          </a:bodyPr>
          <a:lstStyle/>
          <a:p>
            <a:pPr marL="0" indent="0">
              <a:lnSpc>
                <a:spcPct val="100000"/>
              </a:lnSpc>
              <a:buNone/>
            </a:pPr>
            <a:r>
              <a:rPr lang="en-US"/>
              <a:t>Make sure you check out before leaving in-person meetings</a:t>
            </a:r>
          </a:p>
        </p:txBody>
      </p:sp>
      <p:sp>
        <p:nvSpPr>
          <p:cNvPr id="2" name="Title 1">
            <a:extLst>
              <a:ext uri="{FF2B5EF4-FFF2-40B4-BE49-F238E27FC236}">
                <a16:creationId xmlns:a16="http://schemas.microsoft.com/office/drawing/2014/main" id="{8989EA00-F10C-49FB-9B69-AAB08312150B}"/>
              </a:ext>
            </a:extLst>
          </p:cNvPr>
          <p:cNvSpPr>
            <a:spLocks noGrp="1"/>
          </p:cNvSpPr>
          <p:nvPr>
            <p:ph type="title"/>
          </p:nvPr>
        </p:nvSpPr>
        <p:spPr/>
        <p:txBody>
          <a:bodyPr/>
          <a:lstStyle/>
          <a:p>
            <a:r>
              <a:rPr lang="en-US"/>
              <a:t>Certificate of Completion</a:t>
            </a:r>
          </a:p>
        </p:txBody>
      </p:sp>
      <p:sp>
        <p:nvSpPr>
          <p:cNvPr id="13" name="Content Placeholder 2">
            <a:extLst>
              <a:ext uri="{FF2B5EF4-FFF2-40B4-BE49-F238E27FC236}">
                <a16:creationId xmlns:a16="http://schemas.microsoft.com/office/drawing/2014/main" id="{4FAECB18-78D3-4EF0-A2AB-88DC914D74A6}"/>
              </a:ext>
            </a:extLst>
          </p:cNvPr>
          <p:cNvSpPr txBox="1">
            <a:spLocks/>
          </p:cNvSpPr>
          <p:nvPr/>
        </p:nvSpPr>
        <p:spPr>
          <a:xfrm>
            <a:off x="1013032" y="2603246"/>
            <a:ext cx="7378511" cy="369332"/>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t>The certificate will be emailed to you within 24-48 hours</a:t>
            </a:r>
          </a:p>
        </p:txBody>
      </p:sp>
      <p:sp>
        <p:nvSpPr>
          <p:cNvPr id="16" name="Content Placeholder 2">
            <a:extLst>
              <a:ext uri="{FF2B5EF4-FFF2-40B4-BE49-F238E27FC236}">
                <a16:creationId xmlns:a16="http://schemas.microsoft.com/office/drawing/2014/main" id="{CF6F62D0-F36F-4E8E-9F0C-987421BD834C}"/>
              </a:ext>
            </a:extLst>
          </p:cNvPr>
          <p:cNvSpPr txBox="1">
            <a:spLocks/>
          </p:cNvSpPr>
          <p:nvPr/>
        </p:nvSpPr>
        <p:spPr>
          <a:xfrm>
            <a:off x="1013032" y="3856524"/>
            <a:ext cx="4647872" cy="1261884"/>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Font typeface="Arial" panose="020B0604020202020204" pitchFamily="34" charset="0"/>
              <a:buNone/>
            </a:pPr>
            <a:r>
              <a:rPr lang="en-US" b="1">
                <a:solidFill>
                  <a:schemeClr val="accent6"/>
                </a:solidFill>
                <a:latin typeface="Arial" panose="020B0604020202020204" pitchFamily="34" charset="0"/>
                <a:ea typeface="+mj-ea"/>
                <a:cs typeface="Arial" panose="020B0604020202020204" pitchFamily="34" charset="0"/>
              </a:rPr>
              <a:t>Didn’t get the email? Try this first:</a:t>
            </a:r>
          </a:p>
          <a:p>
            <a:pPr marL="0" indent="0">
              <a:lnSpc>
                <a:spcPct val="100000"/>
              </a:lnSpc>
              <a:spcBef>
                <a:spcPts val="600"/>
              </a:spcBef>
              <a:spcAft>
                <a:spcPts val="600"/>
              </a:spcAft>
              <a:buFont typeface="Arial" panose="020B0604020202020204" pitchFamily="34" charset="0"/>
              <a:buNone/>
            </a:pPr>
            <a:r>
              <a:rPr lang="en-US" sz="1800"/>
              <a:t>Check your SPAM or junk email box</a:t>
            </a:r>
          </a:p>
          <a:p>
            <a:pPr marL="0" indent="0">
              <a:lnSpc>
                <a:spcPct val="100000"/>
              </a:lnSpc>
              <a:spcBef>
                <a:spcPts val="600"/>
              </a:spcBef>
              <a:spcAft>
                <a:spcPts val="600"/>
              </a:spcAft>
              <a:buFont typeface="Arial" panose="020B0604020202020204" pitchFamily="34" charset="0"/>
              <a:buNone/>
            </a:pPr>
            <a:r>
              <a:rPr lang="en-US" sz="1800"/>
              <a:t>Turn off pop-up blockers</a:t>
            </a:r>
          </a:p>
        </p:txBody>
      </p:sp>
      <p:sp>
        <p:nvSpPr>
          <p:cNvPr id="17" name="Content Placeholder 2">
            <a:extLst>
              <a:ext uri="{FF2B5EF4-FFF2-40B4-BE49-F238E27FC236}">
                <a16:creationId xmlns:a16="http://schemas.microsoft.com/office/drawing/2014/main" id="{01EC91FF-9064-465E-A113-13589221F2C5}"/>
              </a:ext>
            </a:extLst>
          </p:cNvPr>
          <p:cNvSpPr txBox="1">
            <a:spLocks/>
          </p:cNvSpPr>
          <p:nvPr/>
        </p:nvSpPr>
        <p:spPr>
          <a:xfrm>
            <a:off x="6876714" y="3856524"/>
            <a:ext cx="4400886" cy="18158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pPr>
            <a:r>
              <a:rPr lang="en-US" b="1">
                <a:solidFill>
                  <a:schemeClr val="accent6"/>
                </a:solidFill>
                <a:latin typeface="Arial" panose="020B0604020202020204" pitchFamily="34" charset="0"/>
                <a:ea typeface="+mj-ea"/>
                <a:cs typeface="Arial" panose="020B0604020202020204" pitchFamily="34" charset="0"/>
              </a:rPr>
              <a:t>Still missing the email?</a:t>
            </a:r>
          </a:p>
          <a:p>
            <a:pPr marL="0" indent="0">
              <a:lnSpc>
                <a:spcPct val="100000"/>
              </a:lnSpc>
              <a:spcBef>
                <a:spcPts val="600"/>
              </a:spcBef>
              <a:spcAft>
                <a:spcPts val="600"/>
              </a:spcAft>
              <a:buFont typeface="Arial" panose="020B0604020202020204" pitchFamily="34" charset="0"/>
              <a:buNone/>
            </a:pPr>
            <a:r>
              <a:rPr lang="en-US" sz="1800"/>
              <a:t>Call 1-844-RRXTEND between 8:00 a.m. and 5:00 p.m. central time, weekdays</a:t>
            </a:r>
          </a:p>
          <a:p>
            <a:pPr marL="0" indent="0">
              <a:lnSpc>
                <a:spcPct val="100000"/>
              </a:lnSpc>
              <a:spcBef>
                <a:spcPts val="600"/>
              </a:spcBef>
              <a:spcAft>
                <a:spcPts val="600"/>
              </a:spcAft>
              <a:buNone/>
            </a:pPr>
            <a:r>
              <a:rPr lang="en-US" sz="1800"/>
              <a:t>We will confirm your email and resend the certificate</a:t>
            </a:r>
          </a:p>
        </p:txBody>
      </p:sp>
      <p:cxnSp>
        <p:nvCxnSpPr>
          <p:cNvPr id="18" name="Straight Connector 17">
            <a:extLst>
              <a:ext uri="{FF2B5EF4-FFF2-40B4-BE49-F238E27FC236}">
                <a16:creationId xmlns:a16="http://schemas.microsoft.com/office/drawing/2014/main" id="{833B869E-2564-4342-B8F7-6F3BA9643C0D}"/>
              </a:ext>
            </a:extLst>
          </p:cNvPr>
          <p:cNvCxnSpPr>
            <a:cxnSpLocks/>
          </p:cNvCxnSpPr>
          <p:nvPr/>
        </p:nvCxnSpPr>
        <p:spPr>
          <a:xfrm flipV="1">
            <a:off x="6096000" y="3955037"/>
            <a:ext cx="0" cy="158022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4245D80-D904-4AB7-B331-3194E8CC368C}"/>
              </a:ext>
            </a:extLst>
          </p:cNvPr>
          <p:cNvSpPr/>
          <p:nvPr/>
        </p:nvSpPr>
        <p:spPr>
          <a:xfrm>
            <a:off x="970487" y="2524975"/>
            <a:ext cx="6545129" cy="50532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740225AB-596D-448B-AF58-C7E1923BFA1D}"/>
              </a:ext>
            </a:extLst>
          </p:cNvPr>
          <p:cNvSpPr txBox="1">
            <a:spLocks/>
          </p:cNvSpPr>
          <p:nvPr/>
        </p:nvSpPr>
        <p:spPr>
          <a:xfrm>
            <a:off x="1013032" y="3225950"/>
            <a:ext cx="7315200"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t>It will come from </a:t>
            </a:r>
            <a:r>
              <a:rPr lang="en-US" u="sng"/>
              <a:t>dicamba.training@bayer.com</a:t>
            </a:r>
          </a:p>
        </p:txBody>
      </p:sp>
      <p:cxnSp>
        <p:nvCxnSpPr>
          <p:cNvPr id="26" name="Straight Connector 25">
            <a:extLst>
              <a:ext uri="{FF2B5EF4-FFF2-40B4-BE49-F238E27FC236}">
                <a16:creationId xmlns:a16="http://schemas.microsoft.com/office/drawing/2014/main" id="{3F2B4E93-568A-40BA-8250-CCE661B7D6A5}"/>
              </a:ext>
            </a:extLst>
          </p:cNvPr>
          <p:cNvCxnSpPr>
            <a:cxnSpLocks/>
          </p:cNvCxnSpPr>
          <p:nvPr/>
        </p:nvCxnSpPr>
        <p:spPr>
          <a:xfrm>
            <a:off x="6974436" y="4998245"/>
            <a:ext cx="4303164"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8" name="Isosceles Triangle 27">
            <a:extLst>
              <a:ext uri="{FF2B5EF4-FFF2-40B4-BE49-F238E27FC236}">
                <a16:creationId xmlns:a16="http://schemas.microsoft.com/office/drawing/2014/main" id="{E62EA365-1E0D-42D1-BDEC-337EE4BF21AE}"/>
              </a:ext>
            </a:extLst>
          </p:cNvPr>
          <p:cNvSpPr/>
          <p:nvPr/>
        </p:nvSpPr>
        <p:spPr>
          <a:xfrm rot="10800000">
            <a:off x="1080868" y="305026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EBF36FAE-C0CA-F346-82AE-91DE4D149D77}"/>
              </a:ext>
            </a:extLst>
          </p:cNvPr>
          <p:cNvCxnSpPr>
            <a:cxnSpLocks/>
          </p:cNvCxnSpPr>
          <p:nvPr/>
        </p:nvCxnSpPr>
        <p:spPr>
          <a:xfrm>
            <a:off x="937093" y="2272888"/>
            <a:ext cx="103405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2A769BC-968F-7F41-9302-13EE1C6813D0}"/>
              </a:ext>
            </a:extLst>
          </p:cNvPr>
          <p:cNvCxnSpPr>
            <a:cxnSpLocks/>
          </p:cNvCxnSpPr>
          <p:nvPr/>
        </p:nvCxnSpPr>
        <p:spPr>
          <a:xfrm>
            <a:off x="937093" y="3745700"/>
            <a:ext cx="103405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CED7F91-1D6F-4ED5-AD75-184B9C6522FF}"/>
              </a:ext>
            </a:extLst>
          </p:cNvPr>
          <p:cNvCxnSpPr>
            <a:cxnSpLocks/>
          </p:cNvCxnSpPr>
          <p:nvPr/>
        </p:nvCxnSpPr>
        <p:spPr>
          <a:xfrm>
            <a:off x="1097529" y="4719084"/>
            <a:ext cx="4303164"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D0F79EC1-DAEB-4F6B-B025-C54F3A9E0AEC}"/>
              </a:ext>
            </a:extLst>
          </p:cNvPr>
          <p:cNvPicPr>
            <a:picLocks noChangeAspect="1"/>
          </p:cNvPicPr>
          <p:nvPr/>
        </p:nvPicPr>
        <p:blipFill>
          <a:blip r:embed="rId3"/>
          <a:stretch>
            <a:fillRect/>
          </a:stretch>
        </p:blipFill>
        <p:spPr>
          <a:xfrm>
            <a:off x="937093" y="6362700"/>
            <a:ext cx="1171575" cy="495300"/>
          </a:xfrm>
          <a:prstGeom prst="rect">
            <a:avLst/>
          </a:prstGeom>
        </p:spPr>
      </p:pic>
      <p:pic>
        <p:nvPicPr>
          <p:cNvPr id="24" name="Picture 23">
            <a:extLst>
              <a:ext uri="{FF2B5EF4-FFF2-40B4-BE49-F238E27FC236}">
                <a16:creationId xmlns:a16="http://schemas.microsoft.com/office/drawing/2014/main" id="{543EB7C1-2128-4100-B2F8-C4EBEBE4BD6E}"/>
              </a:ext>
            </a:extLst>
          </p:cNvPr>
          <p:cNvPicPr>
            <a:picLocks noChangeAspect="1"/>
          </p:cNvPicPr>
          <p:nvPr/>
        </p:nvPicPr>
        <p:blipFill>
          <a:blip r:embed="rId4"/>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379724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Placeholder 173">
            <a:extLst>
              <a:ext uri="{FF2B5EF4-FFF2-40B4-BE49-F238E27FC236}">
                <a16:creationId xmlns:a16="http://schemas.microsoft.com/office/drawing/2014/main" id="{DB79BEEA-A41F-47F7-A619-3C62FC5D604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81" y="1053447"/>
            <a:ext cx="3948555" cy="3092368"/>
          </a:xfrm>
          <a:prstGeom prst="rect">
            <a:avLst/>
          </a:prstGeom>
          <a:noFill/>
        </p:spPr>
      </p:pic>
      <p:pic>
        <p:nvPicPr>
          <p:cNvPr id="45" name="Picture Placeholder 177">
            <a:extLst>
              <a:ext uri="{FF2B5EF4-FFF2-40B4-BE49-F238E27FC236}">
                <a16:creationId xmlns:a16="http://schemas.microsoft.com/office/drawing/2014/main" id="{C8EB366C-5C35-4009-B0E8-FDBF8900CA61}"/>
              </a:ext>
            </a:extLst>
          </p:cNvPr>
          <p:cNvPicPr>
            <a:picLocks noGrp="1" noChangeAspect="1"/>
          </p:cNvPicPr>
          <p:nvPr>
            <p:ph type="pic" sz="quarter" idx="15"/>
          </p:nvPr>
        </p:nvPicPr>
        <p:blipFill rotWithShape="1">
          <a:blip r:embed="rId4" cstate="email">
            <a:extLst>
              <a:ext uri="{28A0092B-C50C-407E-A947-70E740481C1C}">
                <a14:useLocalDpi xmlns:a14="http://schemas.microsoft.com/office/drawing/2010/main"/>
              </a:ext>
            </a:extLst>
          </a:blip>
          <a:srcRect/>
          <a:stretch/>
        </p:blipFill>
        <p:spPr>
          <a:xfrm>
            <a:off x="4119378" y="1053447"/>
            <a:ext cx="3948555" cy="3092368"/>
          </a:xfrm>
        </p:spPr>
      </p:pic>
      <p:pic>
        <p:nvPicPr>
          <p:cNvPr id="46" name="Picture Placeholder 18">
            <a:extLst>
              <a:ext uri="{FF2B5EF4-FFF2-40B4-BE49-F238E27FC236}">
                <a16:creationId xmlns:a16="http://schemas.microsoft.com/office/drawing/2014/main" id="{24761DE5-944B-44E3-9148-0AF36543319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41137" y="1053447"/>
            <a:ext cx="3948555" cy="3092368"/>
          </a:xfrm>
          <a:prstGeom prst="rect">
            <a:avLst/>
          </a:prstGeom>
          <a:noFill/>
        </p:spPr>
      </p:pic>
      <p:sp>
        <p:nvSpPr>
          <p:cNvPr id="20" name="Text Placeholder 24">
            <a:extLst>
              <a:ext uri="{FF2B5EF4-FFF2-40B4-BE49-F238E27FC236}">
                <a16:creationId xmlns:a16="http://schemas.microsoft.com/office/drawing/2014/main" id="{D91F77F8-85FA-4B79-9502-BC5051778285}"/>
              </a:ext>
            </a:extLst>
          </p:cNvPr>
          <p:cNvSpPr txBox="1">
            <a:spLocks/>
          </p:cNvSpPr>
          <p:nvPr/>
        </p:nvSpPr>
        <p:spPr>
          <a:xfrm>
            <a:off x="838200" y="5821988"/>
            <a:ext cx="3110354" cy="790216"/>
          </a:xfrm>
          <a:prstGeom prst="rect">
            <a:avLst/>
          </a:prstGeom>
        </p:spPr>
        <p:txBody>
          <a:bodyPr vert="horz" lIns="91440" tIns="45720" rIns="91440" bIns="45720" rtlCol="0" anchor="b" anchorCtr="0">
            <a:spAutoFit/>
          </a:bodyPr>
          <a:lstStyle>
            <a:lvl1pPr marL="0" indent="0" algn="l" defTabSz="914400" rtl="0" eaLnBrk="1" latinLnBrk="0" hangingPunct="1">
              <a:lnSpc>
                <a:spcPct val="80000"/>
              </a:lnSpc>
              <a:spcBef>
                <a:spcPts val="0"/>
              </a:spcBef>
              <a:buFont typeface="Arial" panose="020B0604020202020204" pitchFamily="34" charset="0"/>
              <a:buNone/>
              <a:defRPr lang="en-US" sz="2800" kern="1200" dirty="0" smtClean="0">
                <a:solidFill>
                  <a:schemeClr val="bg1"/>
                </a:solidFill>
                <a:latin typeface="Arial Black" panose="020B0A0402010202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21" name="Text Placeholder 26">
            <a:extLst>
              <a:ext uri="{FF2B5EF4-FFF2-40B4-BE49-F238E27FC236}">
                <a16:creationId xmlns:a16="http://schemas.microsoft.com/office/drawing/2014/main" id="{5D1C1203-D178-48FD-9C2F-B873CC4FDFA6}"/>
              </a:ext>
            </a:extLst>
          </p:cNvPr>
          <p:cNvSpPr txBox="1">
            <a:spLocks/>
          </p:cNvSpPr>
          <p:nvPr/>
        </p:nvSpPr>
        <p:spPr>
          <a:xfrm>
            <a:off x="4562907" y="5821988"/>
            <a:ext cx="3110354" cy="790216"/>
          </a:xfrm>
          <a:prstGeom prst="rect">
            <a:avLst/>
          </a:prstGeom>
        </p:spPr>
        <p:txBody>
          <a:bodyPr vert="horz" lIns="91440" tIns="45720" rIns="91440" bIns="45720" rtlCol="0" anchor="b" anchorCtr="0">
            <a:spAutoFit/>
          </a:bodyPr>
          <a:lstStyle>
            <a:lvl1pPr marL="0" indent="0" algn="l" defTabSz="914400" rtl="0" eaLnBrk="1" latinLnBrk="0" hangingPunct="1">
              <a:lnSpc>
                <a:spcPct val="80000"/>
              </a:lnSpc>
              <a:spcBef>
                <a:spcPts val="0"/>
              </a:spcBef>
              <a:buFont typeface="Arial" panose="020B0604020202020204" pitchFamily="34" charset="0"/>
              <a:buNone/>
              <a:defRPr lang="en-US" sz="2800" kern="1200" dirty="0" smtClean="0">
                <a:solidFill>
                  <a:schemeClr val="bg1"/>
                </a:solidFill>
                <a:latin typeface="Arial Black" panose="020B0A0402010202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1" name="Rectangle 10">
            <a:extLst>
              <a:ext uri="{FF2B5EF4-FFF2-40B4-BE49-F238E27FC236}">
                <a16:creationId xmlns:a16="http://schemas.microsoft.com/office/drawing/2014/main" id="{29B9DCA6-1936-48ED-B071-C56B0A0740E5}"/>
              </a:ext>
            </a:extLst>
          </p:cNvPr>
          <p:cNvSpPr/>
          <p:nvPr/>
        </p:nvSpPr>
        <p:spPr>
          <a:xfrm>
            <a:off x="6023354" y="4333424"/>
            <a:ext cx="173204" cy="2468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76B309D3-119D-4F4E-BC62-B09D040E6C40}"/>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a16="http://schemas.microsoft.com/office/drawing/2014/main" id="{AC934D85-CF18-4C90-80C4-ED532A5E42AE}"/>
              </a:ext>
            </a:extLst>
          </p:cNvPr>
          <p:cNvGrpSpPr/>
          <p:nvPr/>
        </p:nvGrpSpPr>
        <p:grpSpPr>
          <a:xfrm>
            <a:off x="950173" y="6425309"/>
            <a:ext cx="1075910" cy="230941"/>
            <a:chOff x="201074" y="6425309"/>
            <a:chExt cx="1075910" cy="230941"/>
          </a:xfrm>
        </p:grpSpPr>
        <p:sp>
          <p:nvSpPr>
            <p:cNvPr id="37" name="Rectangle 36">
              <a:extLst>
                <a:ext uri="{FF2B5EF4-FFF2-40B4-BE49-F238E27FC236}">
                  <a16:creationId xmlns:a16="http://schemas.microsoft.com/office/drawing/2014/main" id="{0C6E3FA6-A28A-445D-9B2D-EE4FE8ADA7B4}"/>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38" name="Straight Connector 37">
              <a:extLst>
                <a:ext uri="{FF2B5EF4-FFF2-40B4-BE49-F238E27FC236}">
                  <a16:creationId xmlns:a16="http://schemas.microsoft.com/office/drawing/2014/main" id="{44763094-0316-49C7-9356-3B0DC37985C7}"/>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itle 1">
              <a:extLst>
                <a:ext uri="{FF2B5EF4-FFF2-40B4-BE49-F238E27FC236}">
                  <a16:creationId xmlns:a16="http://schemas.microsoft.com/office/drawing/2014/main" id="{95621AAC-E7AC-4311-9C8C-B4788F4CAB82}"/>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1</a:t>
              </a:r>
              <a:endParaRPr lang="en-US" sz="1200">
                <a:solidFill>
                  <a:schemeClr val="bg1"/>
                </a:solidFill>
                <a:latin typeface="Arial Black" panose="020B0A04020102020204" pitchFamily="34" charset="0"/>
              </a:endParaRPr>
            </a:p>
          </p:txBody>
        </p:sp>
        <p:sp>
          <p:nvSpPr>
            <p:cNvPr id="40" name="Title 1">
              <a:extLst>
                <a:ext uri="{FF2B5EF4-FFF2-40B4-BE49-F238E27FC236}">
                  <a16:creationId xmlns:a16="http://schemas.microsoft.com/office/drawing/2014/main" id="{60E863BB-E242-4C5A-B13C-A4088C37C4EB}"/>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15" name="Footer Placeholder 14">
            <a:extLst>
              <a:ext uri="{FF2B5EF4-FFF2-40B4-BE49-F238E27FC236}">
                <a16:creationId xmlns:a16="http://schemas.microsoft.com/office/drawing/2014/main" id="{3F64E374-8AFB-4182-9848-AFDEE3D37F39}"/>
              </a:ext>
            </a:extLst>
          </p:cNvPr>
          <p:cNvSpPr>
            <a:spLocks noGrp="1"/>
          </p:cNvSpPr>
          <p:nvPr>
            <p:ph type="ftr" sz="quarter" idx="21"/>
          </p:nvPr>
        </p:nvSpPr>
        <p:spPr/>
        <p:txBody>
          <a:bodyPr/>
          <a:lstStyle/>
          <a:p>
            <a:r>
              <a:rPr lang="en-US"/>
              <a:t>These training materials are designed to satisfy federal training requirements. Please check with your state pesticide regulatory agency for additional training and application requirements imposed by your state. V1-11/20</a:t>
            </a:r>
          </a:p>
        </p:txBody>
      </p:sp>
      <p:sp>
        <p:nvSpPr>
          <p:cNvPr id="16" name="Slide Number Placeholder 15">
            <a:extLst>
              <a:ext uri="{FF2B5EF4-FFF2-40B4-BE49-F238E27FC236}">
                <a16:creationId xmlns:a16="http://schemas.microsoft.com/office/drawing/2014/main" id="{9D6677D9-F8A6-4ADF-A2D7-0E69B6BF97EC}"/>
              </a:ext>
            </a:extLst>
          </p:cNvPr>
          <p:cNvSpPr>
            <a:spLocks noGrp="1"/>
          </p:cNvSpPr>
          <p:nvPr>
            <p:ph type="sldNum" sz="quarter" idx="22"/>
          </p:nvPr>
        </p:nvSpPr>
        <p:spPr/>
        <p:txBody>
          <a:bodyPr/>
          <a:lstStyle/>
          <a:p>
            <a:fld id="{5382645D-9DD6-408C-B0EA-C65795F9B1DE}" type="slidenum">
              <a:rPr lang="en-US" smtClean="0"/>
              <a:pPr/>
              <a:t>6</a:t>
            </a:fld>
            <a:endParaRPr lang="en-US"/>
          </a:p>
        </p:txBody>
      </p:sp>
      <p:sp>
        <p:nvSpPr>
          <p:cNvPr id="17" name="Rectangle 16">
            <a:extLst>
              <a:ext uri="{FF2B5EF4-FFF2-40B4-BE49-F238E27FC236}">
                <a16:creationId xmlns:a16="http://schemas.microsoft.com/office/drawing/2014/main" id="{919EBE1B-449F-41DA-9DCD-7C48ED8EEEDD}"/>
              </a:ext>
            </a:extLst>
          </p:cNvPr>
          <p:cNvSpPr/>
          <p:nvPr/>
        </p:nvSpPr>
        <p:spPr>
          <a:xfrm>
            <a:off x="8241137" y="2285846"/>
            <a:ext cx="3948555" cy="1859969"/>
          </a:xfrm>
          <a:prstGeom prst="rect">
            <a:avLst/>
          </a:prstGeom>
          <a:gradFill>
            <a:gsLst>
              <a:gs pos="2000">
                <a:schemeClr val="tx1">
                  <a:alpha val="0"/>
                </a:schemeClr>
              </a:gs>
              <a:gs pos="46000">
                <a:schemeClr val="tx1">
                  <a:alpha val="6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0665743-AFA3-4292-9619-4A1845766AAE}"/>
              </a:ext>
            </a:extLst>
          </p:cNvPr>
          <p:cNvSpPr/>
          <p:nvPr/>
        </p:nvSpPr>
        <p:spPr>
          <a:xfrm>
            <a:off x="4119378" y="2285846"/>
            <a:ext cx="3948555" cy="1859969"/>
          </a:xfrm>
          <a:prstGeom prst="rect">
            <a:avLst/>
          </a:prstGeom>
          <a:gradFill>
            <a:gsLst>
              <a:gs pos="2000">
                <a:schemeClr val="tx1">
                  <a:alpha val="0"/>
                </a:schemeClr>
              </a:gs>
              <a:gs pos="46000">
                <a:schemeClr val="tx1">
                  <a:alpha val="6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 Placeholder 19">
            <a:extLst>
              <a:ext uri="{FF2B5EF4-FFF2-40B4-BE49-F238E27FC236}">
                <a16:creationId xmlns:a16="http://schemas.microsoft.com/office/drawing/2014/main" id="{29836448-C6A4-4B64-8929-8A7917B920DC}"/>
              </a:ext>
            </a:extLst>
          </p:cNvPr>
          <p:cNvSpPr txBox="1">
            <a:spLocks/>
          </p:cNvSpPr>
          <p:nvPr/>
        </p:nvSpPr>
        <p:spPr>
          <a:xfrm>
            <a:off x="4560466" y="2837422"/>
            <a:ext cx="3137452" cy="1134926"/>
          </a:xfrm>
          <a:prstGeom prst="rect">
            <a:avLst/>
          </a:prstGeom>
        </p:spPr>
        <p:txBody>
          <a:bodyPr vert="horz" wrap="square" lIns="91440" tIns="45720" rIns="91440" bIns="45720" rtlCol="0" anchor="b" anchorCtr="0">
            <a:spAutoFit/>
          </a:bodyPr>
          <a:lstStyle>
            <a:lvl1pPr marL="0" indent="0" algn="l" defTabSz="914400" rtl="0" eaLnBrk="1" latinLnBrk="0" hangingPunct="1">
              <a:lnSpc>
                <a:spcPct val="80000"/>
              </a:lnSpc>
              <a:spcBef>
                <a:spcPts val="0"/>
              </a:spcBef>
              <a:buFont typeface="Arial" panose="020B0604020202020204" pitchFamily="34" charset="0"/>
              <a:buNone/>
              <a:defRPr lang="en-US" sz="2800" kern="1200" dirty="0" smtClean="0">
                <a:solidFill>
                  <a:schemeClr val="bg1"/>
                </a:solidFill>
                <a:latin typeface="Arial Black" panose="020B0A0402010202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KEEPING PESTICIDES ON-TARGET</a:t>
            </a:r>
          </a:p>
        </p:txBody>
      </p:sp>
      <p:sp>
        <p:nvSpPr>
          <p:cNvPr id="60" name="Text Placeholder 23">
            <a:extLst>
              <a:ext uri="{FF2B5EF4-FFF2-40B4-BE49-F238E27FC236}">
                <a16:creationId xmlns:a16="http://schemas.microsoft.com/office/drawing/2014/main" id="{310F6646-F09E-4C8D-9B4B-5CE879BEF762}"/>
              </a:ext>
            </a:extLst>
          </p:cNvPr>
          <p:cNvSpPr txBox="1">
            <a:spLocks/>
          </p:cNvSpPr>
          <p:nvPr/>
        </p:nvSpPr>
        <p:spPr>
          <a:xfrm>
            <a:off x="8446038" y="2837422"/>
            <a:ext cx="3110354" cy="1134926"/>
          </a:xfrm>
          <a:prstGeom prst="rect">
            <a:avLst/>
          </a:prstGeom>
        </p:spPr>
        <p:txBody>
          <a:bodyPr vert="horz" lIns="91440" tIns="45720" rIns="91440" bIns="45720" rtlCol="0" anchor="b" anchorCtr="0">
            <a:spAutoFit/>
          </a:bodyPr>
          <a:lstStyle>
            <a:lvl1pPr marL="0" indent="0" algn="l" defTabSz="914400" rtl="0" eaLnBrk="1" latinLnBrk="0" hangingPunct="1">
              <a:lnSpc>
                <a:spcPct val="80000"/>
              </a:lnSpc>
              <a:spcBef>
                <a:spcPts val="0"/>
              </a:spcBef>
              <a:buFont typeface="Arial" panose="020B0604020202020204" pitchFamily="34" charset="0"/>
              <a:buNone/>
              <a:defRPr lang="en-US" sz="2800" kern="1200" dirty="0" smtClean="0">
                <a:solidFill>
                  <a:schemeClr val="bg1"/>
                </a:solidFill>
                <a:latin typeface="Arial Black" panose="020B0A0402010202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WEED</a:t>
            </a:r>
            <a:r>
              <a:rPr lang="en-US">
                <a:solidFill>
                  <a:srgbClr val="FF0000"/>
                </a:solidFill>
              </a:rPr>
              <a:t> </a:t>
            </a:r>
            <a:r>
              <a:rPr lang="en-US"/>
              <a:t>RESISTANCE MANAGEMENT</a:t>
            </a:r>
          </a:p>
        </p:txBody>
      </p:sp>
      <p:sp>
        <p:nvSpPr>
          <p:cNvPr id="35" name="Rectangle 34">
            <a:extLst>
              <a:ext uri="{FF2B5EF4-FFF2-40B4-BE49-F238E27FC236}">
                <a16:creationId xmlns:a16="http://schemas.microsoft.com/office/drawing/2014/main" id="{EA8C9832-B841-436D-B86E-D8920FDCFDE4}"/>
              </a:ext>
            </a:extLst>
          </p:cNvPr>
          <p:cNvSpPr/>
          <p:nvPr/>
        </p:nvSpPr>
        <p:spPr>
          <a:xfrm>
            <a:off x="-2381" y="2285846"/>
            <a:ext cx="3948555" cy="1859969"/>
          </a:xfrm>
          <a:prstGeom prst="rect">
            <a:avLst/>
          </a:prstGeom>
          <a:gradFill>
            <a:gsLst>
              <a:gs pos="2000">
                <a:schemeClr val="tx1">
                  <a:alpha val="0"/>
                </a:schemeClr>
              </a:gs>
              <a:gs pos="46000">
                <a:schemeClr val="tx1">
                  <a:alpha val="6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 Placeholder 21">
            <a:extLst>
              <a:ext uri="{FF2B5EF4-FFF2-40B4-BE49-F238E27FC236}">
                <a16:creationId xmlns:a16="http://schemas.microsoft.com/office/drawing/2014/main" id="{5F3C2AA2-EA9E-475B-BB3C-BC81CCD1336F}"/>
              </a:ext>
            </a:extLst>
          </p:cNvPr>
          <p:cNvSpPr txBox="1">
            <a:spLocks/>
          </p:cNvSpPr>
          <p:nvPr/>
        </p:nvSpPr>
        <p:spPr>
          <a:xfrm>
            <a:off x="206602" y="2947779"/>
            <a:ext cx="3577242" cy="790216"/>
          </a:xfrm>
          <a:prstGeom prst="rect">
            <a:avLst/>
          </a:prstGeom>
        </p:spPr>
        <p:txBody>
          <a:bodyPr vert="horz" lIns="91440" tIns="45720" rIns="91440" bIns="45720" rtlCol="0" anchor="b" anchorCtr="0">
            <a:spAutoFit/>
          </a:bodyPr>
          <a:lstStyle>
            <a:lvl1pPr marL="0" indent="0" algn="l" defTabSz="914400" rtl="0" eaLnBrk="1" latinLnBrk="0" hangingPunct="1">
              <a:lnSpc>
                <a:spcPct val="80000"/>
              </a:lnSpc>
              <a:spcBef>
                <a:spcPts val="0"/>
              </a:spcBef>
              <a:buFont typeface="Arial" panose="020B0604020202020204" pitchFamily="34" charset="0"/>
              <a:buNone/>
              <a:defRPr lang="en-US" sz="2800" kern="1200" dirty="0" smtClean="0">
                <a:solidFill>
                  <a:schemeClr val="bg1"/>
                </a:solidFill>
                <a:latin typeface="Arial Black" panose="020B0A0402010202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REQUIREMENTS</a:t>
            </a:r>
          </a:p>
        </p:txBody>
      </p:sp>
      <p:sp>
        <p:nvSpPr>
          <p:cNvPr id="5" name="Text Placeholder 4">
            <a:extLst>
              <a:ext uri="{FF2B5EF4-FFF2-40B4-BE49-F238E27FC236}">
                <a16:creationId xmlns:a16="http://schemas.microsoft.com/office/drawing/2014/main" id="{77E1D223-A25C-478E-926F-A714389A1EFA}"/>
              </a:ext>
            </a:extLst>
          </p:cNvPr>
          <p:cNvSpPr>
            <a:spLocks noGrp="1"/>
          </p:cNvSpPr>
          <p:nvPr>
            <p:ph type="body" sz="quarter" idx="14"/>
          </p:nvPr>
        </p:nvSpPr>
        <p:spPr/>
        <p:txBody>
          <a:bodyPr/>
          <a:lstStyle/>
          <a:p>
            <a:r>
              <a:rPr lang="en-US"/>
              <a:t>Topics covered in this training</a:t>
            </a:r>
          </a:p>
        </p:txBody>
      </p:sp>
      <p:sp>
        <p:nvSpPr>
          <p:cNvPr id="144" name="Title 143">
            <a:extLst>
              <a:ext uri="{FF2B5EF4-FFF2-40B4-BE49-F238E27FC236}">
                <a16:creationId xmlns:a16="http://schemas.microsoft.com/office/drawing/2014/main" id="{C77FB588-CE7D-4EEE-91E0-D349C4D64F96}"/>
              </a:ext>
            </a:extLst>
          </p:cNvPr>
          <p:cNvSpPr>
            <a:spLocks noGrp="1"/>
          </p:cNvSpPr>
          <p:nvPr>
            <p:ph type="title"/>
          </p:nvPr>
        </p:nvSpPr>
        <p:spPr/>
        <p:txBody>
          <a:bodyPr/>
          <a:lstStyle/>
          <a:p>
            <a:r>
              <a:rPr lang="en-US"/>
              <a:t>AGENDA</a:t>
            </a:r>
          </a:p>
        </p:txBody>
      </p:sp>
      <p:sp>
        <p:nvSpPr>
          <p:cNvPr id="2" name="Rectangle 1">
            <a:extLst>
              <a:ext uri="{FF2B5EF4-FFF2-40B4-BE49-F238E27FC236}">
                <a16:creationId xmlns:a16="http://schemas.microsoft.com/office/drawing/2014/main" id="{0FD6744E-9F6B-456D-BA04-DC886466FC41}"/>
              </a:ext>
            </a:extLst>
          </p:cNvPr>
          <p:cNvSpPr/>
          <p:nvPr/>
        </p:nvSpPr>
        <p:spPr>
          <a:xfrm>
            <a:off x="5974813"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3" name="Rectangle 2">
            <a:extLst>
              <a:ext uri="{FF2B5EF4-FFF2-40B4-BE49-F238E27FC236}">
                <a16:creationId xmlns:a16="http://schemas.microsoft.com/office/drawing/2014/main" id="{3707F017-244B-4634-91AC-347B62EB06AB}"/>
              </a:ext>
            </a:extLst>
          </p:cNvPr>
          <p:cNvSpPr/>
          <p:nvPr/>
        </p:nvSpPr>
        <p:spPr>
          <a:xfrm>
            <a:off x="6496150" y="5821988"/>
            <a:ext cx="3359197" cy="369332"/>
          </a:xfrm>
          <a:prstGeom prst="rect">
            <a:avLst/>
          </a:prstGeom>
        </p:spPr>
        <p:txBody>
          <a:bodyPr wrap="square">
            <a:spAutoFit/>
          </a:bodyPr>
          <a:lstStyle/>
          <a:p>
            <a:r>
              <a:rPr lang="en-US">
                <a:solidFill>
                  <a:srgbClr val="000000"/>
                </a:solidFill>
                <a:latin typeface="Times New Roman" panose="02020603050405020304" pitchFamily="18" charset="0"/>
              </a:rPr>
              <a:t> </a:t>
            </a:r>
            <a:endParaRPr lang="en-US"/>
          </a:p>
        </p:txBody>
      </p:sp>
      <p:sp>
        <p:nvSpPr>
          <p:cNvPr id="31" name="Text Placeholder 19">
            <a:extLst>
              <a:ext uri="{FF2B5EF4-FFF2-40B4-BE49-F238E27FC236}">
                <a16:creationId xmlns:a16="http://schemas.microsoft.com/office/drawing/2014/main" id="{E1C50AB5-3BC0-4DF5-86EE-443A805656AC}"/>
              </a:ext>
            </a:extLst>
          </p:cNvPr>
          <p:cNvSpPr txBox="1">
            <a:spLocks/>
          </p:cNvSpPr>
          <p:nvPr/>
        </p:nvSpPr>
        <p:spPr>
          <a:xfrm>
            <a:off x="6312224" y="5844191"/>
            <a:ext cx="5354187" cy="445507"/>
          </a:xfrm>
          <a:prstGeom prst="rect">
            <a:avLst/>
          </a:prstGeom>
        </p:spPr>
        <p:txBody>
          <a:bodyPr vert="horz" wrap="square" lIns="91440" tIns="45720" rIns="91440" bIns="45720" rtlCol="0" anchor="b" anchorCtr="0">
            <a:spAutoFit/>
          </a:bodyPr>
          <a:lstStyle>
            <a:lvl1pPr marL="0" indent="0" algn="l" defTabSz="914400" rtl="0" eaLnBrk="1" latinLnBrk="0" hangingPunct="1">
              <a:lnSpc>
                <a:spcPct val="80000"/>
              </a:lnSpc>
              <a:spcBef>
                <a:spcPts val="0"/>
              </a:spcBef>
              <a:buFont typeface="Arial" panose="020B0604020202020204" pitchFamily="34" charset="0"/>
              <a:buNone/>
              <a:defRPr lang="en-US" sz="2800" kern="1200" dirty="0" smtClean="0">
                <a:solidFill>
                  <a:schemeClr val="bg1"/>
                </a:solidFill>
                <a:latin typeface="Arial Black" panose="020B0A04020102020204" pitchFamily="34" charset="0"/>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SUCCESS KITS VIA EMAIL</a:t>
            </a:r>
          </a:p>
        </p:txBody>
      </p:sp>
    </p:spTree>
    <p:extLst>
      <p:ext uri="{BB962C8B-B14F-4D97-AF65-F5344CB8AC3E}">
        <p14:creationId xmlns:p14="http://schemas.microsoft.com/office/powerpoint/2010/main" val="274453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9BEF7CC-CC28-467E-A7D8-37A291A0969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5" name="Slide Number Placeholder 4">
            <a:extLst>
              <a:ext uri="{FF2B5EF4-FFF2-40B4-BE49-F238E27FC236}">
                <a16:creationId xmlns:a16="http://schemas.microsoft.com/office/drawing/2014/main" id="{D7FE581A-18E5-423B-9B5C-A3C7C2F5845D}"/>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3FE5EA-A969-4B35-AD4B-03E61E783B03}"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sp>
        <p:nvSpPr>
          <p:cNvPr id="2" name="Title 1">
            <a:extLst>
              <a:ext uri="{FF2B5EF4-FFF2-40B4-BE49-F238E27FC236}">
                <a16:creationId xmlns:a16="http://schemas.microsoft.com/office/drawing/2014/main" id="{68825FE1-FE26-468C-A70E-678FC3286BD9}"/>
              </a:ext>
            </a:extLst>
          </p:cNvPr>
          <p:cNvSpPr>
            <a:spLocks noGrp="1"/>
          </p:cNvSpPr>
          <p:nvPr>
            <p:ph type="title"/>
          </p:nvPr>
        </p:nvSpPr>
        <p:spPr>
          <a:xfrm>
            <a:off x="838200" y="318014"/>
            <a:ext cx="10515600" cy="590931"/>
          </a:xfrm>
        </p:spPr>
        <p:txBody>
          <a:bodyPr/>
          <a:lstStyle/>
          <a:p>
            <a:r>
              <a:rPr lang="en-US"/>
              <a:t>Disclaimer</a:t>
            </a:r>
          </a:p>
        </p:txBody>
      </p:sp>
      <p:pic>
        <p:nvPicPr>
          <p:cNvPr id="9" name="Picture 8">
            <a:extLst>
              <a:ext uri="{FF2B5EF4-FFF2-40B4-BE49-F238E27FC236}">
                <a16:creationId xmlns:a16="http://schemas.microsoft.com/office/drawing/2014/main" id="{175B8201-E12A-4EEF-947F-BDBCF9A573C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12189" y="5661259"/>
            <a:ext cx="851511" cy="354088"/>
          </a:xfrm>
          <a:prstGeom prst="rect">
            <a:avLst/>
          </a:prstGeom>
        </p:spPr>
      </p:pic>
      <p:pic>
        <p:nvPicPr>
          <p:cNvPr id="11" name="Picture 10">
            <a:extLst>
              <a:ext uri="{FF2B5EF4-FFF2-40B4-BE49-F238E27FC236}">
                <a16:creationId xmlns:a16="http://schemas.microsoft.com/office/drawing/2014/main" id="{742951B1-0E22-4051-AED3-BB0AFAA1E8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5149" y="5548591"/>
            <a:ext cx="794328" cy="601828"/>
          </a:xfrm>
          <a:prstGeom prst="rect">
            <a:avLst/>
          </a:prstGeom>
        </p:spPr>
      </p:pic>
      <p:pic>
        <p:nvPicPr>
          <p:cNvPr id="6" name="Picture 5">
            <a:extLst>
              <a:ext uri="{FF2B5EF4-FFF2-40B4-BE49-F238E27FC236}">
                <a16:creationId xmlns:a16="http://schemas.microsoft.com/office/drawing/2014/main" id="{2B0D3B6B-27E5-4121-89FF-B04E6F00B0FB}"/>
              </a:ext>
            </a:extLst>
          </p:cNvPr>
          <p:cNvPicPr>
            <a:picLocks noChangeAspect="1"/>
          </p:cNvPicPr>
          <p:nvPr/>
        </p:nvPicPr>
        <p:blipFill>
          <a:blip r:embed="rId4"/>
          <a:stretch>
            <a:fillRect/>
          </a:stretch>
        </p:blipFill>
        <p:spPr>
          <a:xfrm>
            <a:off x="914400" y="6323662"/>
            <a:ext cx="1171575" cy="495300"/>
          </a:xfrm>
          <a:prstGeom prst="rect">
            <a:avLst/>
          </a:prstGeom>
        </p:spPr>
      </p:pic>
      <p:pic>
        <p:nvPicPr>
          <p:cNvPr id="10" name="Picture 9">
            <a:extLst>
              <a:ext uri="{FF2B5EF4-FFF2-40B4-BE49-F238E27FC236}">
                <a16:creationId xmlns:a16="http://schemas.microsoft.com/office/drawing/2014/main" id="{ACB756B2-BE3C-40C4-AE42-3077221CAAD6}"/>
              </a:ext>
            </a:extLst>
          </p:cNvPr>
          <p:cNvPicPr>
            <a:picLocks noChangeAspect="1"/>
          </p:cNvPicPr>
          <p:nvPr/>
        </p:nvPicPr>
        <p:blipFill>
          <a:blip r:embed="rId5"/>
          <a:stretch>
            <a:fillRect/>
          </a:stretch>
        </p:blipFill>
        <p:spPr>
          <a:xfrm>
            <a:off x="838200" y="6393164"/>
            <a:ext cx="1333500" cy="378995"/>
          </a:xfrm>
          <a:prstGeom prst="rect">
            <a:avLst/>
          </a:prstGeom>
        </p:spPr>
      </p:pic>
      <p:sp>
        <p:nvSpPr>
          <p:cNvPr id="8" name="Content Placeholder 7">
            <a:extLst>
              <a:ext uri="{FF2B5EF4-FFF2-40B4-BE49-F238E27FC236}">
                <a16:creationId xmlns:a16="http://schemas.microsoft.com/office/drawing/2014/main" id="{BD43E738-4D39-4B3B-9759-4119BF399C47}"/>
              </a:ext>
            </a:extLst>
          </p:cNvPr>
          <p:cNvSpPr>
            <a:spLocks noGrp="1"/>
          </p:cNvSpPr>
          <p:nvPr>
            <p:ph idx="1"/>
          </p:nvPr>
        </p:nvSpPr>
        <p:spPr>
          <a:xfrm>
            <a:off x="838200" y="1203204"/>
            <a:ext cx="10515600" cy="4733174"/>
          </a:xfrm>
        </p:spPr>
        <p:txBody>
          <a:bodyPr>
            <a:normAutofit/>
          </a:bodyPr>
          <a:lstStyle/>
          <a:p>
            <a:pPr marL="0" indent="0">
              <a:buNone/>
            </a:pPr>
            <a:r>
              <a:rPr lang="en-US" sz="1050" b="1"/>
              <a:t>Bayer is a member of Excellence Through Stewardship® (ETS).</a:t>
            </a:r>
            <a:r>
              <a:rPr lang="en-US" sz="1050"/>
              <a:t> Bayer products are commercialized in accordance with ETS Product Launch Stewardship Guidance, and in compliance with Bayer’s Policy for Commercialization of Biotechnology-Derived Plant Products in Commodity Crops. Commercialized products have been approved for import into key export markets with functioning regulatory systems. Any crop or material produced from this product can only be exported to, or used, processed or sold in countries where all necessary regulatory approvals have been granted. It is a violation of national and international law to move material containing biotech traits across boundaries into nations where import is not permitted. Growers should talk to their grain handler or product purchaser to confirm their buying position for this product. Excellence Through Stewardship® is a registered trademark of Excellence Through Stewardship.</a:t>
            </a:r>
            <a:br>
              <a:rPr lang="en-US" sz="1050"/>
            </a:br>
            <a:r>
              <a:rPr lang="en-US" sz="1050"/>
              <a:t/>
            </a:r>
            <a:br>
              <a:rPr lang="en-US" sz="1050"/>
            </a:br>
            <a:r>
              <a:rPr lang="en-US" sz="1050"/>
              <a:t>XtendiMax® herbicide with </a:t>
            </a:r>
            <a:r>
              <a:rPr lang="en-US" sz="1050" err="1"/>
              <a:t>VaporGrip</a:t>
            </a:r>
            <a:r>
              <a:rPr lang="en-US" sz="1050"/>
              <a:t>® Technology is part of the Roundup Ready® Xtend Crop System, is a restricted use pesticide and must be used with </a:t>
            </a:r>
            <a:r>
              <a:rPr lang="en-US" sz="1050" err="1"/>
              <a:t>VaporGrip</a:t>
            </a:r>
            <a:r>
              <a:rPr lang="en-US" sz="1050"/>
              <a:t>® </a:t>
            </a:r>
            <a:r>
              <a:rPr lang="en-US" sz="1050" err="1"/>
              <a:t>Xtra</a:t>
            </a:r>
            <a:r>
              <a:rPr lang="en-US" sz="1050"/>
              <a:t> Agent (or an equivalent vapor reducing agent). For approved tank-mix products (including VRAs and DRAs), nozzles and other important label information visit XtendiMaxApplicationRequirements.com.</a:t>
            </a:r>
            <a:br>
              <a:rPr lang="en-US" sz="1050"/>
            </a:br>
            <a:r>
              <a:rPr lang="en-US" sz="1050"/>
              <a:t/>
            </a:r>
            <a:br>
              <a:rPr lang="en-US" sz="1050"/>
            </a:br>
            <a:r>
              <a:rPr lang="en-US" sz="1050" b="1"/>
              <a:t>ALWAYS READ AND FOLLOW PESTICIDE LABEL DIRECTIONS.</a:t>
            </a:r>
            <a:r>
              <a:rPr lang="en-US" sz="1050"/>
              <a:t> It is a violation of federal and state law to use any pesticide product other than in accordance with its labeling. NOT ALL formulations of dicamba, glyphosate or </a:t>
            </a:r>
            <a:r>
              <a:rPr lang="en-US" sz="1050" err="1"/>
              <a:t>glufosinate</a:t>
            </a:r>
            <a:r>
              <a:rPr lang="en-US" sz="1050"/>
              <a:t> are approved for in-crop use with products with XtendFlex® Technology. ONLY USE FORMULATIONS THAT ARE SPECIFICALLY LABELED FOR SUCH USES AND APPROVED FOR SUCH USE IN THE STATE OF APPLICATION. Contact the U.S. EPA and your state pesticide regulatory agency with any questions about the approval status of dicamba herbicide products for in-crop use with Roundup Ready 2 Xtend® soybeans or products with XtendFlex® Technology.</a:t>
            </a:r>
            <a:br>
              <a:rPr lang="en-US" sz="1050"/>
            </a:br>
            <a:r>
              <a:rPr lang="en-US" sz="1050"/>
              <a:t/>
            </a:r>
            <a:br>
              <a:rPr lang="en-US" sz="1050"/>
            </a:br>
            <a:r>
              <a:rPr lang="en-US" sz="1050" b="1"/>
              <a:t>Products with XtendFlex® Technology contains genes that confer tolerance to glyphosate, </a:t>
            </a:r>
            <a:r>
              <a:rPr lang="en-US" sz="1050" b="1" err="1"/>
              <a:t>glufosinate</a:t>
            </a:r>
            <a:r>
              <a:rPr lang="en-US" sz="1050" b="1"/>
              <a:t> and dicamba. Glyphosate</a:t>
            </a:r>
            <a:r>
              <a:rPr lang="en-US" sz="1050"/>
              <a:t> will kill crops that are not tolerant to glyphosate. </a:t>
            </a:r>
            <a:r>
              <a:rPr lang="en-US" sz="1050" b="1"/>
              <a:t>Dicamba</a:t>
            </a:r>
            <a:r>
              <a:rPr lang="en-US" sz="1050"/>
              <a:t> will kill crops that are not tolerant to dicamba. </a:t>
            </a:r>
            <a:r>
              <a:rPr lang="en-US" sz="1050" b="1" err="1"/>
              <a:t>Glufosinate</a:t>
            </a:r>
            <a:r>
              <a:rPr lang="en-US" sz="1050"/>
              <a:t> will kill crops that are not tolerant to </a:t>
            </a:r>
            <a:r>
              <a:rPr lang="en-US" sz="1050" err="1"/>
              <a:t>glufosinate</a:t>
            </a:r>
            <a:r>
              <a:rPr lang="en-US" sz="1050"/>
              <a:t>. Contact your seed brand dealer or refer to the Bayer Technology Use Guide for recommended weed control programs.</a:t>
            </a:r>
            <a:br>
              <a:rPr lang="en-US" sz="1050"/>
            </a:br>
            <a:r>
              <a:rPr lang="en-US" sz="1050"/>
              <a:t/>
            </a:r>
            <a:br>
              <a:rPr lang="en-US" sz="1050"/>
            </a:br>
            <a:r>
              <a:rPr lang="en-US" sz="1050"/>
              <a:t>XtendiMax® is a restricted use pesticide. Not all products are registered in all states and may be subject to use restrictions. The distribution, sale, or use of an unregistered pesticide is a violation of federal and/or state law and is strictly prohibited. Check with your local dealer or representative for the product registration status in your state. Roundup </a:t>
            </a:r>
            <a:r>
              <a:rPr lang="en-US" sz="1050" err="1"/>
              <a:t>PowerMAX</a:t>
            </a:r>
            <a:r>
              <a:rPr lang="en-US" sz="1050"/>
              <a:t>®, Roundup Ready 2 Yield®, Roundup Ready®, </a:t>
            </a:r>
            <a:r>
              <a:rPr lang="en-US" sz="1050" err="1"/>
              <a:t>VaporGrip</a:t>
            </a:r>
            <a:r>
              <a:rPr lang="en-US" sz="1050"/>
              <a:t>®, Warrant®, XtendFlex® and XtendiMax® are registered trademarks of Bayer Group. </a:t>
            </a:r>
            <a:r>
              <a:rPr lang="en-US" sz="1050" err="1"/>
              <a:t>Gramoxone</a:t>
            </a:r>
            <a:r>
              <a:rPr lang="en-US" sz="1050"/>
              <a:t>® is a registered trademark of a Syngenta group company. </a:t>
            </a:r>
            <a:r>
              <a:rPr lang="en-US" sz="1050" err="1"/>
              <a:t>LibertyLink</a:t>
            </a:r>
            <a:r>
              <a:rPr lang="en-US" sz="1050"/>
              <a:t>® and the Water Droplet Design® is a trademark of BASF Corporation. Cobra® and Valor® are registered trademarks of Valent U.S.A. Corporation. Some of the product(s) discussed herein are restricted use pesticide(s) and may not be registered in all states. The distribution, sale, or use of an unregistered pesticide is a violation of federal and/or state law and is strictly prohibited. Check with your local dealer or product representative for the product registration status in your state. For additional product information call toll-free 1-866-99-BAYER (1-866-992-2937) or visit our website at www.BayerCropScience.us. Bayer </a:t>
            </a:r>
            <a:r>
              <a:rPr lang="en-US" sz="1050" err="1"/>
              <a:t>CropScience</a:t>
            </a:r>
            <a:r>
              <a:rPr lang="en-US" sz="1050"/>
              <a:t> LP, 800 North Lindbergh Boulevard, St. Louis, MO 63167. ©2020 Bayer Group. All rights reserved.</a:t>
            </a:r>
          </a:p>
        </p:txBody>
      </p:sp>
    </p:spTree>
    <p:extLst>
      <p:ext uri="{BB962C8B-B14F-4D97-AF65-F5344CB8AC3E}">
        <p14:creationId xmlns:p14="http://schemas.microsoft.com/office/powerpoint/2010/main" val="9610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6A6923-1EBB-4CAB-BB55-38236E06D219}"/>
              </a:ext>
            </a:extLst>
          </p:cNvPr>
          <p:cNvSpPr>
            <a:spLocks noGrp="1"/>
          </p:cNvSpPr>
          <p:nvPr>
            <p:ph type="title"/>
          </p:nvPr>
        </p:nvSpPr>
        <p:spPr>
          <a:xfrm>
            <a:off x="838200" y="3055230"/>
            <a:ext cx="10515600" cy="1000402"/>
          </a:xfrm>
        </p:spPr>
        <p:txBody>
          <a:bodyPr/>
          <a:lstStyle/>
          <a:p>
            <a:r>
              <a:rPr lang="en-US"/>
              <a:t>Appendix</a:t>
            </a:r>
          </a:p>
        </p:txBody>
      </p:sp>
    </p:spTree>
    <p:extLst>
      <p:ext uri="{BB962C8B-B14F-4D97-AF65-F5344CB8AC3E}">
        <p14:creationId xmlns:p14="http://schemas.microsoft.com/office/powerpoint/2010/main" val="23674143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ALABAM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655537"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D92BFE3C-877B-4C2F-B9CF-888F2A5973C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44FC4405-782F-4832-96E1-9A7BA558441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139FD131-CC04-4187-A275-E2DC643CD4DD}"/>
              </a:ext>
            </a:extLst>
          </p:cNvPr>
          <p:cNvPicPr>
            <a:picLocks noChangeAspect="1"/>
          </p:cNvPicPr>
          <p:nvPr/>
        </p:nvPicPr>
        <p:blipFill>
          <a:blip r:embed="rId2"/>
          <a:stretch>
            <a:fillRect/>
          </a:stretch>
        </p:blipFill>
        <p:spPr>
          <a:xfrm>
            <a:off x="947558" y="6347319"/>
            <a:ext cx="1171575" cy="495300"/>
          </a:xfrm>
          <a:prstGeom prst="rect">
            <a:avLst/>
          </a:prstGeom>
        </p:spPr>
      </p:pic>
      <p:sp>
        <p:nvSpPr>
          <p:cNvPr id="93" name="TextBox 92">
            <a:extLst>
              <a:ext uri="{FF2B5EF4-FFF2-40B4-BE49-F238E27FC236}">
                <a16:creationId xmlns:a16="http://schemas.microsoft.com/office/drawing/2014/main" id="{7B7A3378-356C-4133-8416-7056BFD90DD1}"/>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pic>
        <p:nvPicPr>
          <p:cNvPr id="92" name="Picture 91">
            <a:extLst>
              <a:ext uri="{FF2B5EF4-FFF2-40B4-BE49-F238E27FC236}">
                <a16:creationId xmlns:a16="http://schemas.microsoft.com/office/drawing/2014/main" id="{FC23B67F-255E-4FF7-89F5-8C9CEC4CF793}"/>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5" name="Picture 4">
            <a:extLst>
              <a:ext uri="{FF2B5EF4-FFF2-40B4-BE49-F238E27FC236}">
                <a16:creationId xmlns:a16="http://schemas.microsoft.com/office/drawing/2014/main" id="{C8DB0F5A-D0F8-46DA-97F8-AABACADAD43B}"/>
              </a:ext>
            </a:extLst>
          </p:cNvPr>
          <p:cNvPicPr>
            <a:picLocks noChangeAspect="1"/>
          </p:cNvPicPr>
          <p:nvPr/>
        </p:nvPicPr>
        <p:blipFill>
          <a:blip r:embed="rId4"/>
          <a:stretch>
            <a:fillRect/>
          </a:stretch>
        </p:blipFill>
        <p:spPr>
          <a:xfrm>
            <a:off x="5009114" y="2878051"/>
            <a:ext cx="3152775" cy="2800350"/>
          </a:xfrm>
          <a:prstGeom prst="rect">
            <a:avLst/>
          </a:prstGeom>
        </p:spPr>
      </p:pic>
      <p:pic>
        <p:nvPicPr>
          <p:cNvPr id="14" name="Picture 13">
            <a:extLst>
              <a:ext uri="{FF2B5EF4-FFF2-40B4-BE49-F238E27FC236}">
                <a16:creationId xmlns:a16="http://schemas.microsoft.com/office/drawing/2014/main" id="{856D3AF0-9BBB-4D8E-BAB0-A04516E0CA6B}"/>
              </a:ext>
            </a:extLst>
          </p:cNvPr>
          <p:cNvPicPr>
            <a:picLocks noChangeAspect="1"/>
          </p:cNvPicPr>
          <p:nvPr/>
        </p:nvPicPr>
        <p:blipFill>
          <a:blip r:embed="rId5"/>
          <a:stretch>
            <a:fillRect/>
          </a:stretch>
        </p:blipFill>
        <p:spPr>
          <a:xfrm>
            <a:off x="1557884" y="1123102"/>
            <a:ext cx="2623787" cy="4015409"/>
          </a:xfrm>
          <a:prstGeom prst="rect">
            <a:avLst/>
          </a:prstGeom>
        </p:spPr>
      </p:pic>
    </p:spTree>
    <p:extLst>
      <p:ext uri="{BB962C8B-B14F-4D97-AF65-F5344CB8AC3E}">
        <p14:creationId xmlns:p14="http://schemas.microsoft.com/office/powerpoint/2010/main" val="15852302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rgbClr val="1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ARKANSAS</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655537"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D92BFE3C-877B-4C2F-B9CF-888F2A5973C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44FC4405-782F-4832-96E1-9A7BA558441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139FD131-CC04-4187-A275-E2DC643CD4DD}"/>
              </a:ext>
            </a:extLst>
          </p:cNvPr>
          <p:cNvPicPr>
            <a:picLocks noChangeAspect="1"/>
          </p:cNvPicPr>
          <p:nvPr/>
        </p:nvPicPr>
        <p:blipFill>
          <a:blip r:embed="rId2"/>
          <a:stretch>
            <a:fillRect/>
          </a:stretch>
        </p:blipFill>
        <p:spPr>
          <a:xfrm>
            <a:off x="947558" y="6347319"/>
            <a:ext cx="1171575" cy="495300"/>
          </a:xfrm>
          <a:prstGeom prst="rect">
            <a:avLst/>
          </a:prstGeom>
        </p:spPr>
      </p:pic>
      <p:pic>
        <p:nvPicPr>
          <p:cNvPr id="92" name="Picture 91">
            <a:extLst>
              <a:ext uri="{FF2B5EF4-FFF2-40B4-BE49-F238E27FC236}">
                <a16:creationId xmlns:a16="http://schemas.microsoft.com/office/drawing/2014/main" id="{FC23B67F-255E-4FF7-89F5-8C9CEC4CF793}"/>
              </a:ext>
            </a:extLst>
          </p:cNvPr>
          <p:cNvPicPr>
            <a:picLocks noChangeAspect="1"/>
          </p:cNvPicPr>
          <p:nvPr/>
        </p:nvPicPr>
        <p:blipFill>
          <a:blip r:embed="rId3"/>
          <a:stretch>
            <a:fillRect/>
          </a:stretch>
        </p:blipFill>
        <p:spPr>
          <a:xfrm>
            <a:off x="838200" y="6393164"/>
            <a:ext cx="1333500" cy="378995"/>
          </a:xfrm>
          <a:prstGeom prst="rect">
            <a:avLst/>
          </a:prstGeom>
        </p:spPr>
      </p:pic>
      <p:graphicFrame>
        <p:nvGraphicFramePr>
          <p:cNvPr id="94" name="Table 93">
            <a:extLst>
              <a:ext uri="{FF2B5EF4-FFF2-40B4-BE49-F238E27FC236}">
                <a16:creationId xmlns:a16="http://schemas.microsoft.com/office/drawing/2014/main" id="{C18365D6-4B10-4DA4-A2B9-0A2A5A35805E}"/>
              </a:ext>
            </a:extLst>
          </p:cNvPr>
          <p:cNvGraphicFramePr>
            <a:graphicFrameLocks noGrp="1"/>
          </p:cNvGraphicFramePr>
          <p:nvPr/>
        </p:nvGraphicFramePr>
        <p:xfrm>
          <a:off x="5046177" y="2857500"/>
          <a:ext cx="1347826"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tblGrid>
              <a:tr h="370840">
                <a:tc>
                  <a:txBody>
                    <a:bodyPr/>
                    <a:lstStyle/>
                    <a:p>
                      <a:r>
                        <a:rPr lang="en-US" sz="1600" b="0">
                          <a:solidFill>
                            <a:schemeClr val="tx1"/>
                          </a:solidFill>
                          <a:latin typeface="+mn-lt"/>
                        </a:rPr>
                        <a:t>Drew</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Jefferson</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Pulaski</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pic>
        <p:nvPicPr>
          <p:cNvPr id="6" name="Picture 5">
            <a:extLst>
              <a:ext uri="{FF2B5EF4-FFF2-40B4-BE49-F238E27FC236}">
                <a16:creationId xmlns:a16="http://schemas.microsoft.com/office/drawing/2014/main" id="{6199D0A1-E01A-4125-81E0-926C5D6B761C}"/>
              </a:ext>
            </a:extLst>
          </p:cNvPr>
          <p:cNvPicPr>
            <a:picLocks noChangeAspect="1"/>
          </p:cNvPicPr>
          <p:nvPr/>
        </p:nvPicPr>
        <p:blipFill>
          <a:blip r:embed="rId4"/>
          <a:stretch>
            <a:fillRect/>
          </a:stretch>
        </p:blipFill>
        <p:spPr>
          <a:xfrm>
            <a:off x="1152274" y="1750742"/>
            <a:ext cx="3333742" cy="2869204"/>
          </a:xfrm>
          <a:prstGeom prst="rect">
            <a:avLst/>
          </a:prstGeom>
        </p:spPr>
      </p:pic>
      <p:sp>
        <p:nvSpPr>
          <p:cNvPr id="13" name="TextBox 12">
            <a:extLst>
              <a:ext uri="{FF2B5EF4-FFF2-40B4-BE49-F238E27FC236}">
                <a16:creationId xmlns:a16="http://schemas.microsoft.com/office/drawing/2014/main" id="{AC500C35-EA0D-448E-A888-8F2D5FB1E9D3}"/>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8252291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ARIZONA</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1347826"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tblGrid>
              <a:tr h="370840">
                <a:tc>
                  <a:txBody>
                    <a:bodyPr/>
                    <a:lstStyle/>
                    <a:p>
                      <a:r>
                        <a:rPr lang="en-US" sz="1600" b="0">
                          <a:solidFill>
                            <a:schemeClr val="tx1"/>
                          </a:solidFill>
                          <a:latin typeface="+mn-lt"/>
                        </a:rPr>
                        <a:t>Graham</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Greenlee</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Yuma</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23335"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3" name="Footer Placeholder 2">
            <a:extLst>
              <a:ext uri="{FF2B5EF4-FFF2-40B4-BE49-F238E27FC236}">
                <a16:creationId xmlns:a16="http://schemas.microsoft.com/office/drawing/2014/main" id="{5EB62556-02BB-48BF-9796-6A36B753A62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2D7023D1-D2AC-4D44-A60F-B64490CA0FB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CC526C7B-4797-41C7-AB2B-DF5147300EC7}"/>
              </a:ext>
            </a:extLst>
          </p:cNvPr>
          <p:cNvPicPr>
            <a:picLocks noChangeAspect="1"/>
          </p:cNvPicPr>
          <p:nvPr/>
        </p:nvPicPr>
        <p:blipFill>
          <a:blip r:embed="rId2"/>
          <a:stretch>
            <a:fillRect/>
          </a:stretch>
        </p:blipFill>
        <p:spPr>
          <a:xfrm>
            <a:off x="914400" y="6359525"/>
            <a:ext cx="1171575" cy="495300"/>
          </a:xfrm>
          <a:prstGeom prst="rect">
            <a:avLst/>
          </a:prstGeom>
        </p:spPr>
      </p:pic>
      <p:pic>
        <p:nvPicPr>
          <p:cNvPr id="13" name="Picture 12">
            <a:extLst>
              <a:ext uri="{FF2B5EF4-FFF2-40B4-BE49-F238E27FC236}">
                <a16:creationId xmlns:a16="http://schemas.microsoft.com/office/drawing/2014/main" id="{6AFA0D00-E87F-4C6C-9DDC-E967ABF81D55}"/>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2" name="Picture 1">
            <a:extLst>
              <a:ext uri="{FF2B5EF4-FFF2-40B4-BE49-F238E27FC236}">
                <a16:creationId xmlns:a16="http://schemas.microsoft.com/office/drawing/2014/main" id="{28DD5992-2A20-4C39-AEDB-246EA5C8CF39}"/>
              </a:ext>
            </a:extLst>
          </p:cNvPr>
          <p:cNvPicPr>
            <a:picLocks noChangeAspect="1"/>
          </p:cNvPicPr>
          <p:nvPr/>
        </p:nvPicPr>
        <p:blipFill>
          <a:blip r:embed="rId4"/>
          <a:stretch>
            <a:fillRect/>
          </a:stretch>
        </p:blipFill>
        <p:spPr>
          <a:xfrm>
            <a:off x="1305113" y="1416307"/>
            <a:ext cx="3114675" cy="3429000"/>
          </a:xfrm>
          <a:prstGeom prst="rect">
            <a:avLst/>
          </a:prstGeom>
        </p:spPr>
      </p:pic>
      <p:sp>
        <p:nvSpPr>
          <p:cNvPr id="14" name="TextBox 13">
            <a:extLst>
              <a:ext uri="{FF2B5EF4-FFF2-40B4-BE49-F238E27FC236}">
                <a16:creationId xmlns:a16="http://schemas.microsoft.com/office/drawing/2014/main" id="{E4474816-5495-4EA8-A667-E1072702E031}"/>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8119654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FLORID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23335"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1" name="Table 10">
            <a:extLst>
              <a:ext uri="{FF2B5EF4-FFF2-40B4-BE49-F238E27FC236}">
                <a16:creationId xmlns:a16="http://schemas.microsoft.com/office/drawing/2014/main" id="{F8BD4FB5-665B-4D06-8EEC-37B125FDB391}"/>
              </a:ext>
            </a:extLst>
          </p:cNvPr>
          <p:cNvGraphicFramePr>
            <a:graphicFrameLocks noGrp="1"/>
          </p:cNvGraphicFramePr>
          <p:nvPr/>
        </p:nvGraphicFramePr>
        <p:xfrm>
          <a:off x="5046175" y="2857500"/>
          <a:ext cx="6739130" cy="2664459"/>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4040186071"/>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tblGrid>
              <a:tr h="380637">
                <a:tc>
                  <a:txBody>
                    <a:bodyPr/>
                    <a:lstStyle/>
                    <a:p>
                      <a:r>
                        <a:rPr lang="en-US" b="0">
                          <a:solidFill>
                            <a:schemeClr val="tx1"/>
                          </a:solidFill>
                        </a:rPr>
                        <a:t>Bay</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80637">
                <a:tc>
                  <a:txBody>
                    <a:bodyPr/>
                    <a:lstStyle/>
                    <a:p>
                      <a:r>
                        <a:rPr lang="en-US" sz="1600" b="0">
                          <a:solidFill>
                            <a:schemeClr val="tx1"/>
                          </a:solidFill>
                          <a:latin typeface="+mn-lt"/>
                        </a:rPr>
                        <a:t>Calhoun</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80637">
                <a:tc>
                  <a:txBody>
                    <a:bodyPr/>
                    <a:lstStyle/>
                    <a:p>
                      <a:r>
                        <a:rPr lang="en-US" sz="1600" b="0">
                          <a:solidFill>
                            <a:schemeClr val="tx1"/>
                          </a:solidFill>
                          <a:latin typeface="+mn-lt"/>
                        </a:rPr>
                        <a:t>Gadsden</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Jackson</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80637">
                <a:tc>
                  <a:txBody>
                    <a:bodyPr/>
                    <a:lstStyle/>
                    <a:p>
                      <a:r>
                        <a:rPr lang="en-US" sz="1600" b="0">
                          <a:solidFill>
                            <a:schemeClr val="tx1"/>
                          </a:solidFill>
                          <a:latin typeface="+mn-lt"/>
                        </a:rPr>
                        <a:t>Palm Beach</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80637">
                <a:tc>
                  <a:txBody>
                    <a:bodyPr/>
                    <a:lstStyle/>
                    <a:p>
                      <a:r>
                        <a:rPr lang="en-US" sz="1600" b="0">
                          <a:solidFill>
                            <a:schemeClr val="tx1"/>
                          </a:solidFill>
                          <a:latin typeface="+mn-lt"/>
                        </a:rPr>
                        <a:t>Washington</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8183285"/>
                  </a:ext>
                </a:extLst>
              </a:tr>
              <a:tr h="380637">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087760"/>
                  </a:ext>
                </a:extLst>
              </a:tr>
            </a:tbl>
          </a:graphicData>
        </a:graphic>
      </p:graphicFrame>
      <p:sp>
        <p:nvSpPr>
          <p:cNvPr id="2" name="Footer Placeholder 1">
            <a:extLst>
              <a:ext uri="{FF2B5EF4-FFF2-40B4-BE49-F238E27FC236}">
                <a16:creationId xmlns:a16="http://schemas.microsoft.com/office/drawing/2014/main" id="{425E232E-BF66-4FEC-92FA-AAA538DB262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A2EC6C54-393C-4138-ABE9-E2508C3974B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ABDC0E21-B631-41DE-A9F2-44644B576A37}"/>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3" name="Picture 12">
            <a:extLst>
              <a:ext uri="{FF2B5EF4-FFF2-40B4-BE49-F238E27FC236}">
                <a16:creationId xmlns:a16="http://schemas.microsoft.com/office/drawing/2014/main" id="{3DD37A37-AA63-49C0-A20C-0389CA38DED5}"/>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3" name="Picture 2">
            <a:extLst>
              <a:ext uri="{FF2B5EF4-FFF2-40B4-BE49-F238E27FC236}">
                <a16:creationId xmlns:a16="http://schemas.microsoft.com/office/drawing/2014/main" id="{0405DE47-CD6A-4702-A391-A0DF5B3FF2E4}"/>
              </a:ext>
            </a:extLst>
          </p:cNvPr>
          <p:cNvPicPr>
            <a:picLocks noChangeAspect="1"/>
          </p:cNvPicPr>
          <p:nvPr/>
        </p:nvPicPr>
        <p:blipFill>
          <a:blip r:embed="rId4"/>
          <a:stretch>
            <a:fillRect/>
          </a:stretch>
        </p:blipFill>
        <p:spPr>
          <a:xfrm>
            <a:off x="1089796" y="1594425"/>
            <a:ext cx="3371342" cy="3137596"/>
          </a:xfrm>
          <a:prstGeom prst="rect">
            <a:avLst/>
          </a:prstGeom>
        </p:spPr>
      </p:pic>
      <p:sp>
        <p:nvSpPr>
          <p:cNvPr id="14" name="TextBox 13">
            <a:extLst>
              <a:ext uri="{FF2B5EF4-FFF2-40B4-BE49-F238E27FC236}">
                <a16:creationId xmlns:a16="http://schemas.microsoft.com/office/drawing/2014/main" id="{D9378C6D-443C-42FF-951A-F79C59A8661D}"/>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0976716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GEORGI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EE5760F5-E4DA-4C92-8802-3B6C751E70B5}"/>
              </a:ext>
            </a:extLst>
          </p:cNvPr>
          <p:cNvGraphicFramePr>
            <a:graphicFrameLocks noGrp="1"/>
          </p:cNvGraphicFramePr>
          <p:nvPr/>
        </p:nvGraphicFramePr>
        <p:xfrm>
          <a:off x="5046177" y="2857500"/>
          <a:ext cx="5391304" cy="234696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616622592"/>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tblGrid>
              <a:tr h="286105">
                <a:tc>
                  <a:txBody>
                    <a:bodyPr/>
                    <a:lstStyle/>
                    <a:p>
                      <a:r>
                        <a:rPr lang="en-US" sz="1600" b="0">
                          <a:solidFill>
                            <a:schemeClr val="tx1"/>
                          </a:solidFill>
                          <a:latin typeface="+mn-lt"/>
                        </a:rPr>
                        <a:t>Bartow</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Seminole</a:t>
                      </a: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286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Burke</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Walker</a:t>
                      </a: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286105">
                <a:tc>
                  <a:txBody>
                    <a:bodyPr/>
                    <a:lstStyle/>
                    <a:p>
                      <a:r>
                        <a:rPr lang="en-US" sz="1600" b="0">
                          <a:solidFill>
                            <a:schemeClr val="tx1"/>
                          </a:solidFill>
                          <a:latin typeface="+mn-lt"/>
                        </a:rPr>
                        <a:t>Decatur</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orth</a:t>
                      </a: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286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Floyd</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0020311"/>
                  </a:ext>
                </a:extLst>
              </a:tr>
              <a:tr h="286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Gord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32543021"/>
                  </a:ext>
                </a:extLst>
              </a:tr>
              <a:tr h="286105">
                <a:tc>
                  <a:txBody>
                    <a:bodyPr/>
                    <a:lstStyle/>
                    <a:p>
                      <a:r>
                        <a:rPr lang="en-US" sz="1600" b="0">
                          <a:solidFill>
                            <a:schemeClr val="tx1"/>
                          </a:solidFill>
                          <a:latin typeface="+mn-lt"/>
                        </a:rPr>
                        <a:t>Mitchell</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286105">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2" name="Footer Placeholder 1">
            <a:extLst>
              <a:ext uri="{FF2B5EF4-FFF2-40B4-BE49-F238E27FC236}">
                <a16:creationId xmlns:a16="http://schemas.microsoft.com/office/drawing/2014/main" id="{936C420D-F237-407F-967F-C8636A3573D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5C85A9DC-CC90-48AC-BDD7-116C1A0AAB7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2F96EC71-2254-4FDD-95EF-9CB43994A55E}"/>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4512CE45-7E7A-4479-AB69-8ABEC4BA3B0C}"/>
              </a:ext>
            </a:extLst>
          </p:cNvPr>
          <p:cNvPicPr>
            <a:picLocks noChangeAspect="1"/>
          </p:cNvPicPr>
          <p:nvPr/>
        </p:nvPicPr>
        <p:blipFill>
          <a:blip r:embed="rId3"/>
          <a:stretch>
            <a:fillRect/>
          </a:stretch>
        </p:blipFill>
        <p:spPr>
          <a:xfrm>
            <a:off x="838200" y="6393164"/>
            <a:ext cx="1333500" cy="378995"/>
          </a:xfrm>
          <a:prstGeom prst="rect">
            <a:avLst/>
          </a:prstGeom>
        </p:spPr>
      </p:pic>
      <p:cxnSp>
        <p:nvCxnSpPr>
          <p:cNvPr id="13" name="Straight Connector 12">
            <a:extLst>
              <a:ext uri="{FF2B5EF4-FFF2-40B4-BE49-F238E27FC236}">
                <a16:creationId xmlns:a16="http://schemas.microsoft.com/office/drawing/2014/main" id="{E6DC7D26-2F9E-49F1-833E-E4DFD859E7D1}"/>
              </a:ext>
            </a:extLst>
          </p:cNvPr>
          <p:cNvCxnSpPr>
            <a:cxnSpLocks/>
          </p:cNvCxnSpPr>
          <p:nvPr/>
        </p:nvCxnSpPr>
        <p:spPr>
          <a:xfrm flipH="1">
            <a:off x="6187615" y="2857500"/>
            <a:ext cx="7038" cy="2287164"/>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pic>
        <p:nvPicPr>
          <p:cNvPr id="14" name="Picture 13">
            <a:extLst>
              <a:ext uri="{FF2B5EF4-FFF2-40B4-BE49-F238E27FC236}">
                <a16:creationId xmlns:a16="http://schemas.microsoft.com/office/drawing/2014/main" id="{F2EF6674-D834-4D33-A8DC-9C4895F1F518}"/>
              </a:ext>
            </a:extLst>
          </p:cNvPr>
          <p:cNvPicPr>
            <a:picLocks noChangeAspect="1"/>
          </p:cNvPicPr>
          <p:nvPr/>
        </p:nvPicPr>
        <p:blipFill>
          <a:blip r:embed="rId4"/>
          <a:stretch>
            <a:fillRect/>
          </a:stretch>
        </p:blipFill>
        <p:spPr>
          <a:xfrm>
            <a:off x="1267275" y="1431235"/>
            <a:ext cx="3075757" cy="3568148"/>
          </a:xfrm>
          <a:prstGeom prst="rect">
            <a:avLst/>
          </a:prstGeom>
        </p:spPr>
      </p:pic>
      <p:sp>
        <p:nvSpPr>
          <p:cNvPr id="16" name="TextBox 15">
            <a:extLst>
              <a:ext uri="{FF2B5EF4-FFF2-40B4-BE49-F238E27FC236}">
                <a16:creationId xmlns:a16="http://schemas.microsoft.com/office/drawing/2014/main" id="{008516E8-E217-4733-8237-616AF706C6B5}"/>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849806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IOW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01301"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0" name="Table 9">
            <a:extLst>
              <a:ext uri="{FF2B5EF4-FFF2-40B4-BE49-F238E27FC236}">
                <a16:creationId xmlns:a16="http://schemas.microsoft.com/office/drawing/2014/main" id="{9AEBD4DE-2A16-4ACA-B643-6654E29B939F}"/>
              </a:ext>
            </a:extLst>
          </p:cNvPr>
          <p:cNvGraphicFramePr>
            <a:graphicFrameLocks noGrp="1"/>
          </p:cNvGraphicFramePr>
          <p:nvPr/>
        </p:nvGraphicFramePr>
        <p:xfrm>
          <a:off x="5046177" y="2857500"/>
          <a:ext cx="6739130" cy="222504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1514140408"/>
                    </a:ext>
                  </a:extLst>
                </a:gridCol>
                <a:gridCol w="1347826">
                  <a:extLst>
                    <a:ext uri="{9D8B030D-6E8A-4147-A177-3AD203B41FA5}">
                      <a16:colId xmlns:a16="http://schemas.microsoft.com/office/drawing/2014/main" val="423564165"/>
                    </a:ext>
                  </a:extLst>
                </a:gridCol>
                <a:gridCol w="1347826">
                  <a:extLst>
                    <a:ext uri="{9D8B030D-6E8A-4147-A177-3AD203B41FA5}">
                      <a16:colId xmlns:a16="http://schemas.microsoft.com/office/drawing/2014/main" val="1767400935"/>
                    </a:ext>
                  </a:extLst>
                </a:gridCol>
              </a:tblGrid>
              <a:tr h="370840">
                <a:tc>
                  <a:txBody>
                    <a:bodyPr/>
                    <a:lstStyle/>
                    <a:p>
                      <a:r>
                        <a:rPr lang="en-US" sz="1600" b="0">
                          <a:solidFill>
                            <a:schemeClr val="tx1"/>
                          </a:solidFill>
                          <a:latin typeface="+mn-lt"/>
                        </a:rPr>
                        <a:t>Allamakee</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Emmet</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Cerro Gordo</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Hancock</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6339072"/>
                  </a:ext>
                </a:extLst>
              </a:tr>
              <a:tr h="370840">
                <a:tc>
                  <a:txBody>
                    <a:bodyPr/>
                    <a:lstStyle/>
                    <a:p>
                      <a:r>
                        <a:rPr lang="en-US" sz="1600" b="0">
                          <a:solidFill>
                            <a:schemeClr val="tx1"/>
                          </a:solidFill>
                          <a:latin typeface="+mn-lt"/>
                        </a:rPr>
                        <a:t>Clayton</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Howard</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elaware</a:t>
                      </a:r>
                      <a:endParaRPr lang="en-US" sz="1600" b="0">
                        <a:solidFill>
                          <a:schemeClr val="tx1"/>
                        </a:solidFill>
                        <a:latin typeface="+mn-lt"/>
                      </a:endParaRP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Jacks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Dickinso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Kossuth</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Dubuque</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Osceola</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2" name="Footer Placeholder 1">
            <a:extLst>
              <a:ext uri="{FF2B5EF4-FFF2-40B4-BE49-F238E27FC236}">
                <a16:creationId xmlns:a16="http://schemas.microsoft.com/office/drawing/2014/main" id="{3DB93DE2-C0BD-4C15-BFBF-C308B700B64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0B666ED4-0E89-4B92-AE16-0E54DCCE80F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C94641CE-A043-40C6-BB87-A1963D68600B}"/>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211C2BA5-D22B-4C50-BB7A-97F3FD8B93E2}"/>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3" name="Picture 2">
            <a:extLst>
              <a:ext uri="{FF2B5EF4-FFF2-40B4-BE49-F238E27FC236}">
                <a16:creationId xmlns:a16="http://schemas.microsoft.com/office/drawing/2014/main" id="{9BDC366F-288E-48F5-B842-500598C552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9245" y="2041900"/>
            <a:ext cx="3332956" cy="2177814"/>
          </a:xfrm>
          <a:prstGeom prst="rect">
            <a:avLst/>
          </a:prstGeom>
        </p:spPr>
      </p:pic>
      <p:sp>
        <p:nvSpPr>
          <p:cNvPr id="13" name="TextBox 12">
            <a:extLst>
              <a:ext uri="{FF2B5EF4-FFF2-40B4-BE49-F238E27FC236}">
                <a16:creationId xmlns:a16="http://schemas.microsoft.com/office/drawing/2014/main" id="{DA232578-C3D2-4412-831D-D91A6CBAEE8A}"/>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6549036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ILLINOIS</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1" name="Table 10">
            <a:extLst>
              <a:ext uri="{FF2B5EF4-FFF2-40B4-BE49-F238E27FC236}">
                <a16:creationId xmlns:a16="http://schemas.microsoft.com/office/drawing/2014/main" id="{F8BD4FB5-665B-4D06-8EEC-37B125FDB391}"/>
              </a:ext>
            </a:extLst>
          </p:cNvPr>
          <p:cNvGraphicFramePr>
            <a:graphicFrameLocks noGrp="1"/>
          </p:cNvGraphicFramePr>
          <p:nvPr>
            <p:extLst>
              <p:ext uri="{D42A27DB-BD31-4B8C-83A1-F6EECF244321}">
                <p14:modId xmlns:p14="http://schemas.microsoft.com/office/powerpoint/2010/main" val="1653709090"/>
              </p:ext>
            </p:extLst>
          </p:nvPr>
        </p:nvGraphicFramePr>
        <p:xfrm>
          <a:off x="5046174" y="2857500"/>
          <a:ext cx="4043475" cy="2676418"/>
        </p:xfrm>
        <a:graphic>
          <a:graphicData uri="http://schemas.openxmlformats.org/drawingml/2006/table">
            <a:tbl>
              <a:tblPr firstRow="1" bandRow="1">
                <a:tableStyleId>{5C22544A-7EE6-4342-B048-85BDC9FD1C3A}</a:tableStyleId>
              </a:tblPr>
              <a:tblGrid>
                <a:gridCol w="1347825">
                  <a:extLst>
                    <a:ext uri="{9D8B030D-6E8A-4147-A177-3AD203B41FA5}">
                      <a16:colId xmlns:a16="http://schemas.microsoft.com/office/drawing/2014/main" val="4229228877"/>
                    </a:ext>
                  </a:extLst>
                </a:gridCol>
                <a:gridCol w="1347825">
                  <a:extLst>
                    <a:ext uri="{9D8B030D-6E8A-4147-A177-3AD203B41FA5}">
                      <a16:colId xmlns:a16="http://schemas.microsoft.com/office/drawing/2014/main" val="2595070804"/>
                    </a:ext>
                  </a:extLst>
                </a:gridCol>
                <a:gridCol w="1347825">
                  <a:extLst>
                    <a:ext uri="{9D8B030D-6E8A-4147-A177-3AD203B41FA5}">
                      <a16:colId xmlns:a16="http://schemas.microsoft.com/office/drawing/2014/main" val="2884607966"/>
                    </a:ext>
                  </a:extLst>
                </a:gridCol>
              </a:tblGrid>
              <a:tr h="392596">
                <a:tc>
                  <a:txBody>
                    <a:bodyPr/>
                    <a:lstStyle/>
                    <a:p>
                      <a:r>
                        <a:rPr lang="en-US" sz="1600" b="0" dirty="0">
                          <a:solidFill>
                            <a:schemeClr val="tx1"/>
                          </a:solidFill>
                          <a:latin typeface="+mn-lt"/>
                        </a:rPr>
                        <a:t>Bureau</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LaSal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Schuyl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80637">
                <a:tc>
                  <a:txBody>
                    <a:bodyPr/>
                    <a:lstStyle/>
                    <a:p>
                      <a:r>
                        <a:rPr lang="en-US" sz="1600" b="0" dirty="0">
                          <a:solidFill>
                            <a:schemeClr val="tx1"/>
                          </a:solidFill>
                          <a:latin typeface="+mn-lt"/>
                        </a:rPr>
                        <a:t>Effingham</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Livingst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St. Clai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Fayette</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Madi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dirty="0">
                          <a:solidFill>
                            <a:schemeClr val="tx1"/>
                          </a:solidFill>
                          <a:latin typeface="+mn-lt"/>
                        </a:rPr>
                        <a:t>Tazewell</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Fulto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Mar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kern="1200" dirty="0">
                          <a:solidFill>
                            <a:schemeClr val="tx1"/>
                          </a:solidFill>
                          <a:latin typeface="+mn-lt"/>
                          <a:ea typeface="+mn-ea"/>
                          <a:cs typeface="+mn-cs"/>
                        </a:rPr>
                        <a:t>Will</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Greene</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Morga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Grundy</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Peor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8183285"/>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Kankakee</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rPr>
                        <a:t>Pi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087760"/>
                  </a:ext>
                </a:extLst>
              </a:tr>
            </a:tbl>
          </a:graphicData>
        </a:graphic>
      </p:graphicFrame>
      <p:sp>
        <p:nvSpPr>
          <p:cNvPr id="2" name="Footer Placeholder 1">
            <a:extLst>
              <a:ext uri="{FF2B5EF4-FFF2-40B4-BE49-F238E27FC236}">
                <a16:creationId xmlns:a16="http://schemas.microsoft.com/office/drawing/2014/main" id="{5D394E82-A6FD-4456-BA0F-A0BF378E3D2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E54A1DFF-F16F-4CA2-A683-DC71CB1C98E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50B95A12-EDB4-4EAE-BAF4-85F3C24604C7}"/>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3" name="Picture 12">
            <a:extLst>
              <a:ext uri="{FF2B5EF4-FFF2-40B4-BE49-F238E27FC236}">
                <a16:creationId xmlns:a16="http://schemas.microsoft.com/office/drawing/2014/main" id="{3A7DA186-84AA-4886-8B8B-D870910A39B2}"/>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6" name="Picture 5">
            <a:extLst>
              <a:ext uri="{FF2B5EF4-FFF2-40B4-BE49-F238E27FC236}">
                <a16:creationId xmlns:a16="http://schemas.microsoft.com/office/drawing/2014/main" id="{52DCDAE7-6568-4D5F-BAA7-B5CB5C29774F}"/>
              </a:ext>
            </a:extLst>
          </p:cNvPr>
          <p:cNvPicPr>
            <a:picLocks noChangeAspect="1"/>
          </p:cNvPicPr>
          <p:nvPr/>
        </p:nvPicPr>
        <p:blipFill>
          <a:blip r:embed="rId4"/>
          <a:stretch>
            <a:fillRect/>
          </a:stretch>
        </p:blipFill>
        <p:spPr>
          <a:xfrm>
            <a:off x="1522768" y="1259144"/>
            <a:ext cx="2386292" cy="3820207"/>
          </a:xfrm>
          <a:prstGeom prst="rect">
            <a:avLst/>
          </a:prstGeom>
        </p:spPr>
      </p:pic>
      <p:sp>
        <p:nvSpPr>
          <p:cNvPr id="14" name="TextBox 13">
            <a:extLst>
              <a:ext uri="{FF2B5EF4-FFF2-40B4-BE49-F238E27FC236}">
                <a16:creationId xmlns:a16="http://schemas.microsoft.com/office/drawing/2014/main" id="{9F3BEFE8-6450-4F1F-9117-41674B0B264F}"/>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6417467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INDIAN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1" name="Table 10">
            <a:extLst>
              <a:ext uri="{FF2B5EF4-FFF2-40B4-BE49-F238E27FC236}">
                <a16:creationId xmlns:a16="http://schemas.microsoft.com/office/drawing/2014/main" id="{F8BD4FB5-665B-4D06-8EEC-37B125FDB391}"/>
              </a:ext>
            </a:extLst>
          </p:cNvPr>
          <p:cNvGraphicFramePr>
            <a:graphicFrameLocks noGrp="1"/>
          </p:cNvGraphicFramePr>
          <p:nvPr/>
        </p:nvGraphicFramePr>
        <p:xfrm>
          <a:off x="5046175" y="2857500"/>
          <a:ext cx="6739130" cy="2664459"/>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17156485"/>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tblGrid>
              <a:tr h="380637">
                <a:tc>
                  <a:txBody>
                    <a:bodyPr/>
                    <a:lstStyle/>
                    <a:p>
                      <a:r>
                        <a:rPr lang="en-US" sz="1600" b="0">
                          <a:solidFill>
                            <a:schemeClr val="tx1"/>
                          </a:solidFill>
                          <a:latin typeface="+mn-lt"/>
                        </a:rPr>
                        <a:t>Greene</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80637">
                <a:tc>
                  <a:txBody>
                    <a:bodyPr/>
                    <a:lstStyle/>
                    <a:p>
                      <a:r>
                        <a:rPr lang="en-US" sz="1600" b="0">
                          <a:solidFill>
                            <a:schemeClr val="tx1"/>
                          </a:solidFill>
                          <a:latin typeface="+mn-lt"/>
                        </a:rPr>
                        <a:t>Harrison</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LaGrange</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80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Lake</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80637">
                <a:tc>
                  <a:txBody>
                    <a:bodyPr/>
                    <a:lstStyle/>
                    <a:p>
                      <a:r>
                        <a:rPr lang="en-US" sz="1600" b="0">
                          <a:solidFill>
                            <a:schemeClr val="tx1"/>
                          </a:solidFill>
                          <a:latin typeface="+mn-lt"/>
                        </a:rPr>
                        <a:t>Porter</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80637">
                <a:tc>
                  <a:txBody>
                    <a:bodyPr/>
                    <a:lstStyle/>
                    <a:p>
                      <a:r>
                        <a:rPr lang="en-US" sz="1600" b="0">
                          <a:solidFill>
                            <a:schemeClr val="tx1"/>
                          </a:solidFill>
                          <a:latin typeface="+mn-lt"/>
                        </a:rPr>
                        <a:t>Posey</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8183285"/>
                  </a:ext>
                </a:extLst>
              </a:tr>
              <a:tr h="380637">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087760"/>
                  </a:ext>
                </a:extLst>
              </a:tr>
            </a:tbl>
          </a:graphicData>
        </a:graphic>
      </p:graphicFrame>
      <p:sp>
        <p:nvSpPr>
          <p:cNvPr id="2" name="Footer Placeholder 1">
            <a:extLst>
              <a:ext uri="{FF2B5EF4-FFF2-40B4-BE49-F238E27FC236}">
                <a16:creationId xmlns:a16="http://schemas.microsoft.com/office/drawing/2014/main" id="{067C41DD-6B7D-497F-84F9-A2B1DBA2D77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85205F85-F4F5-4EDA-A158-D1F596FF7E7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C09DB70D-53D0-457F-A9AA-6EA2FEE4CF92}"/>
              </a:ext>
            </a:extLst>
          </p:cNvPr>
          <p:cNvPicPr>
            <a:picLocks noChangeAspect="1"/>
          </p:cNvPicPr>
          <p:nvPr/>
        </p:nvPicPr>
        <p:blipFill>
          <a:blip r:embed="rId2"/>
          <a:stretch>
            <a:fillRect/>
          </a:stretch>
        </p:blipFill>
        <p:spPr>
          <a:xfrm>
            <a:off x="854507" y="6355420"/>
            <a:ext cx="1171575" cy="495300"/>
          </a:xfrm>
          <a:prstGeom prst="rect">
            <a:avLst/>
          </a:prstGeom>
        </p:spPr>
      </p:pic>
      <p:pic>
        <p:nvPicPr>
          <p:cNvPr id="13" name="Picture 12">
            <a:extLst>
              <a:ext uri="{FF2B5EF4-FFF2-40B4-BE49-F238E27FC236}">
                <a16:creationId xmlns:a16="http://schemas.microsoft.com/office/drawing/2014/main" id="{C011B461-F956-48F7-99E2-D03C66BC850F}"/>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4" name="Picture 13">
            <a:extLst>
              <a:ext uri="{FF2B5EF4-FFF2-40B4-BE49-F238E27FC236}">
                <a16:creationId xmlns:a16="http://schemas.microsoft.com/office/drawing/2014/main" id="{0CD84266-B5D0-452D-9E36-ACAB4F75F39C}"/>
              </a:ext>
            </a:extLst>
          </p:cNvPr>
          <p:cNvPicPr>
            <a:picLocks noChangeAspect="1"/>
          </p:cNvPicPr>
          <p:nvPr/>
        </p:nvPicPr>
        <p:blipFill>
          <a:blip r:embed="rId4"/>
          <a:stretch>
            <a:fillRect/>
          </a:stretch>
        </p:blipFill>
        <p:spPr>
          <a:xfrm>
            <a:off x="1229538" y="1018292"/>
            <a:ext cx="2856340" cy="4100362"/>
          </a:xfrm>
          <a:prstGeom prst="rect">
            <a:avLst/>
          </a:prstGeom>
        </p:spPr>
      </p:pic>
      <p:sp>
        <p:nvSpPr>
          <p:cNvPr id="16" name="TextBox 15">
            <a:extLst>
              <a:ext uri="{FF2B5EF4-FFF2-40B4-BE49-F238E27FC236}">
                <a16:creationId xmlns:a16="http://schemas.microsoft.com/office/drawing/2014/main" id="{BCB151AA-3357-4E5B-B03E-2DAC038C039A}"/>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1133914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6" name="Slide Number Placeholder 5"/>
          <p:cNvSpPr>
            <a:spLocks noGrp="1"/>
          </p:cNvSpPr>
          <p:nvPr>
            <p:ph type="sldNum" sz="quarter" idx="16"/>
          </p:nvPr>
        </p:nvSpPr>
        <p:spPr/>
        <p:txBody>
          <a:bodyPr/>
          <a:lstStyle/>
          <a:p>
            <a:pPr lvl="0"/>
            <a:fld id="{5382645D-9DD6-408C-B0EA-C65795F9B1DE}" type="slidenum">
              <a:rPr lang="en-US" noProof="0" smtClean="0"/>
              <a:pPr lvl="0"/>
              <a:t>7</a:t>
            </a:fld>
            <a:endParaRPr lang="en-US" noProof="0"/>
          </a:p>
        </p:txBody>
      </p:sp>
      <p:sp>
        <p:nvSpPr>
          <p:cNvPr id="8" name="Title 7"/>
          <p:cNvSpPr>
            <a:spLocks noGrp="1"/>
          </p:cNvSpPr>
          <p:nvPr>
            <p:ph type="title"/>
          </p:nvPr>
        </p:nvSpPr>
        <p:spPr/>
        <p:txBody>
          <a:bodyPr/>
          <a:lstStyle/>
          <a:p>
            <a:r>
              <a:rPr lang="en-US"/>
              <a:t>USE Restrictions</a:t>
            </a:r>
          </a:p>
        </p:txBody>
      </p:sp>
      <p:sp>
        <p:nvSpPr>
          <p:cNvPr id="12" name="TextBox 11">
            <a:extLst>
              <a:ext uri="{FF2B5EF4-FFF2-40B4-BE49-F238E27FC236}">
                <a16:creationId xmlns:a16="http://schemas.microsoft.com/office/drawing/2014/main" id="{AADDEF1A-1FAF-B24D-9AA8-DB68CF0FF975}"/>
              </a:ext>
            </a:extLst>
          </p:cNvPr>
          <p:cNvSpPr txBox="1"/>
          <p:nvPr/>
        </p:nvSpPr>
        <p:spPr>
          <a:xfrm>
            <a:off x="4393125" y="1919716"/>
            <a:ext cx="3294453" cy="2031325"/>
          </a:xfrm>
          <a:prstGeom prst="rect">
            <a:avLst/>
          </a:prstGeom>
          <a:noFill/>
        </p:spPr>
        <p:txBody>
          <a:bodyPr wrap="square" lIns="91440" tIns="45720" rIns="91440" bIns="45720" rtlCol="0" anchor="t">
            <a:spAutoFit/>
          </a:bodyPr>
          <a:lstStyle/>
          <a:p>
            <a:pPr>
              <a:defRPr/>
            </a:pPr>
            <a:r>
              <a:rPr lang="en-US" kern="0" dirty="0"/>
              <a:t>Products not found on the application requirements website.</a:t>
            </a:r>
            <a:endParaRPr lang="en-US" kern="0" dirty="0">
              <a:solidFill>
                <a:sysClr val="windowText" lastClr="000000"/>
              </a:solidFill>
            </a:endParaRPr>
          </a:p>
          <a:p>
            <a:pPr lvl="0">
              <a:defRPr/>
            </a:pPr>
            <a:endParaRPr lang="en-US" kern="0">
              <a:solidFill>
                <a:sysClr val="windowText" lastClr="000000"/>
              </a:solidFil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effectLst/>
                <a:uLnTx/>
                <a:uFillTx/>
              </a:rPr>
              <a:t>Products containing ammonium sulfate (AMS).</a:t>
            </a:r>
            <a:endParaRPr lang="en-US" b="0" i="0" u="none" strike="noStrike" kern="0" cap="none" spc="0" normalizeH="0" baseline="0" noProof="0" dirty="0">
              <a:ln>
                <a:noFill/>
              </a:ln>
              <a:effectLst/>
              <a:uLnTx/>
              <a:uFillTx/>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lang="en-US" kern="0">
              <a:solidFill>
                <a:sysClr val="windowText" lastClr="000000"/>
              </a:solidFill>
            </a:endParaRPr>
          </a:p>
        </p:txBody>
      </p:sp>
      <p:sp>
        <p:nvSpPr>
          <p:cNvPr id="14" name="TextBox 13">
            <a:extLst>
              <a:ext uri="{FF2B5EF4-FFF2-40B4-BE49-F238E27FC236}">
                <a16:creationId xmlns:a16="http://schemas.microsoft.com/office/drawing/2014/main" id="{071202B2-6FD4-3241-9ACC-740FE54B01BE}"/>
              </a:ext>
            </a:extLst>
          </p:cNvPr>
          <p:cNvSpPr txBox="1"/>
          <p:nvPr/>
        </p:nvSpPr>
        <p:spPr>
          <a:xfrm>
            <a:off x="8020112" y="1877184"/>
            <a:ext cx="3316941" cy="3693319"/>
          </a:xfrm>
          <a:prstGeom prst="rect">
            <a:avLst/>
          </a:prstGeom>
          <a:noFill/>
        </p:spPr>
        <p:txBody>
          <a:bodyPr wrap="square" lIns="91440" tIns="45720" rIns="91440" bIns="45720" rtlCol="0" anchor="t">
            <a:spAutoFit/>
          </a:bodyPr>
          <a:lstStyle/>
          <a:p>
            <a:r>
              <a:rPr kumimoji="0" lang="en-US" b="1" i="0" u="none" strike="noStrike" kern="0" cap="none" spc="0" normalizeH="0" baseline="0" noProof="0">
                <a:ln>
                  <a:noFill/>
                </a:ln>
                <a:effectLst/>
                <a:uLnTx/>
                <a:uFillTx/>
              </a:rPr>
              <a:t>If rain </a:t>
            </a:r>
            <a:r>
              <a:rPr lang="en-US" b="1"/>
              <a:t>that may exceed soil field capacity and result in </a:t>
            </a:r>
            <a:br>
              <a:rPr lang="en-US" b="1"/>
            </a:br>
            <a:r>
              <a:rPr lang="en-US" b="1"/>
              <a:t>runoff </a:t>
            </a:r>
            <a:r>
              <a:rPr kumimoji="0" lang="en-US" b="1" i="0" u="none" strike="noStrike" kern="0" cap="none" spc="0" normalizeH="0" baseline="0" noProof="0">
                <a:ln>
                  <a:noFill/>
                </a:ln>
                <a:effectLst/>
                <a:uLnTx/>
                <a:uFillTx/>
              </a:rPr>
              <a:t>is expected in the </a:t>
            </a:r>
            <a:r>
              <a:rPr lang="en-US" b="1" i="0" u="none" strike="noStrike" kern="0" cap="none" spc="0" normalizeH="0" baseline="0" noProof="0">
                <a:ln>
                  <a:noFill/>
                </a:ln>
                <a:effectLst/>
                <a:uLnTx/>
                <a:uFillTx/>
              </a:rPr>
              <a:t/>
            </a:r>
            <a:br>
              <a:rPr lang="en-US" b="1" i="0" u="none" strike="noStrike" kern="0" cap="none" spc="0" normalizeH="0" baseline="0" noProof="0">
                <a:ln>
                  <a:noFill/>
                </a:ln>
                <a:effectLst/>
                <a:uLnTx/>
                <a:uFillTx/>
              </a:rPr>
            </a:br>
            <a:r>
              <a:rPr kumimoji="0" lang="en-US" b="1" i="0" u="none" strike="noStrike" kern="0" cap="none" spc="0" normalizeH="0" baseline="0" noProof="0">
                <a:ln>
                  <a:noFill/>
                </a:ln>
                <a:effectLst/>
                <a:uLnTx/>
                <a:uFillTx/>
              </a:rPr>
              <a:t>next</a:t>
            </a:r>
            <a:r>
              <a:rPr lang="en-US" b="1" kern="0"/>
              <a:t> </a:t>
            </a:r>
            <a:r>
              <a:rPr kumimoji="0" lang="en-US" b="1" i="0" u="none" strike="noStrike" kern="0" cap="none" spc="0" normalizeH="0" baseline="0" noProof="0">
                <a:ln>
                  <a:noFill/>
                </a:ln>
                <a:solidFill>
                  <a:srgbClr val="00B050"/>
                </a:solidFill>
                <a:effectLst/>
                <a:uLnTx/>
                <a:uFillTx/>
              </a:rPr>
              <a:t>48 hours</a:t>
            </a:r>
            <a:r>
              <a:rPr kumimoji="0" lang="en-US" b="1" i="0" u="none" strike="noStrike" kern="0" cap="none" spc="0" normalizeH="0" baseline="0" noProof="0">
                <a:ln>
                  <a:noFill/>
                </a:ln>
                <a:effectLst/>
                <a:uLnTx/>
                <a:uFillTx/>
              </a:rPr>
              <a:t> </a:t>
            </a:r>
            <a:r>
              <a:rPr kumimoji="0" lang="en-US" b="0" i="0" u="none" strike="noStrike" kern="0" cap="none" spc="0" normalizeH="0" baseline="0" noProof="0">
                <a:ln>
                  <a:noFill/>
                </a:ln>
                <a:solidFill>
                  <a:schemeClr val="accent6"/>
                </a:solidFill>
                <a:effectLst/>
                <a:uLnTx/>
                <a:uFillTx/>
              </a:rPr>
              <a:t>(For prevention </a:t>
            </a:r>
            <a:r>
              <a:rPr lang="en-US" kern="0">
                <a:solidFill>
                  <a:schemeClr val="accent6"/>
                </a:solidFill>
              </a:rPr>
              <a:t>of</a:t>
            </a:r>
            <a:r>
              <a:rPr kumimoji="0" lang="en-US" b="0" i="0" u="none" strike="noStrike" kern="0" cap="none" spc="0" normalizeH="0" baseline="0" noProof="0">
                <a:ln>
                  <a:noFill/>
                </a:ln>
                <a:solidFill>
                  <a:schemeClr val="accent6"/>
                </a:solidFill>
                <a:effectLst/>
                <a:uLnTx/>
                <a:uFillTx/>
              </a:rPr>
              <a:t> potential runoff when excessive rain may occur).</a:t>
            </a:r>
          </a:p>
          <a:p>
            <a:endParaRPr lang="en-US" kern="0">
              <a:solidFill>
                <a:schemeClr val="accent6"/>
              </a:solidFill>
            </a:endParaRPr>
          </a:p>
          <a:p>
            <a:r>
              <a:rPr kumimoji="0" lang="en-US" b="0" i="0" u="none" strike="noStrike" kern="0" cap="none" spc="0" normalizeH="0" baseline="0" noProof="0">
                <a:ln>
                  <a:noFill/>
                </a:ln>
                <a:solidFill>
                  <a:srgbClr val="00B050"/>
                </a:solidFill>
                <a:effectLst/>
                <a:uLnTx/>
                <a:uFillTx/>
              </a:rPr>
              <a:t>Without including required Drift </a:t>
            </a:r>
            <a:r>
              <a:rPr lang="en-US" kern="0">
                <a:solidFill>
                  <a:srgbClr val="00B050"/>
                </a:solidFill>
              </a:rPr>
              <a:t>Reduction</a:t>
            </a:r>
            <a:r>
              <a:rPr kumimoji="0" lang="en-US" b="0" i="0" u="none" strike="noStrike" kern="0" cap="none" spc="0" normalizeH="0" baseline="0" noProof="0">
                <a:ln>
                  <a:noFill/>
                </a:ln>
                <a:solidFill>
                  <a:srgbClr val="00B050"/>
                </a:solidFill>
                <a:effectLst/>
                <a:uLnTx/>
                <a:uFillTx/>
              </a:rPr>
              <a:t> Adjuvant (DRA) and Volatility Reduction Adjuvant (VRA) as listed on the application requirements website.</a:t>
            </a:r>
            <a:endParaRPr lang="en-US" b="0" i="0" u="none" strike="noStrike" kern="0" cap="none" spc="0" normalizeH="0" baseline="0" noProof="0">
              <a:ln>
                <a:noFill/>
              </a:ln>
              <a:solidFill>
                <a:srgbClr val="00B050"/>
              </a:solidFill>
              <a:effectLst/>
              <a:uLnTx/>
              <a:uFillTx/>
              <a:cs typeface="Arial"/>
            </a:endParaRPr>
          </a:p>
        </p:txBody>
      </p:sp>
      <p:sp>
        <p:nvSpPr>
          <p:cNvPr id="11" name="TextBox 10">
            <a:extLst>
              <a:ext uri="{FF2B5EF4-FFF2-40B4-BE49-F238E27FC236}">
                <a16:creationId xmlns:a16="http://schemas.microsoft.com/office/drawing/2014/main" id="{6C9A8333-8C57-3945-8EF7-46EEF742F1E1}"/>
              </a:ext>
            </a:extLst>
          </p:cNvPr>
          <p:cNvSpPr txBox="1"/>
          <p:nvPr/>
        </p:nvSpPr>
        <p:spPr>
          <a:xfrm>
            <a:off x="863830" y="1877184"/>
            <a:ext cx="3115235" cy="369331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ysClr val="windowText" lastClr="000000"/>
                </a:solidFill>
                <a:effectLst/>
                <a:uLnTx/>
                <a:uFillTx/>
              </a:rPr>
              <a:t>Aerially.</a:t>
            </a:r>
          </a:p>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ysClr val="windowText" lastClr="000000"/>
                </a:solidFill>
                <a:effectLst/>
                <a:uLnTx/>
                <a:uFillTx/>
              </a:rPr>
              <a:t/>
            </a:r>
            <a:br>
              <a:rPr kumimoji="0" lang="en-US" b="0" i="0" u="none" strike="noStrike" kern="0" cap="none" spc="0" normalizeH="0" baseline="0" noProof="0">
                <a:ln>
                  <a:noFill/>
                </a:ln>
                <a:solidFill>
                  <a:sysClr val="windowText" lastClr="000000"/>
                </a:solidFill>
                <a:effectLst/>
                <a:uLnTx/>
                <a:uFillTx/>
              </a:rPr>
            </a:br>
            <a:r>
              <a:rPr kumimoji="0" lang="en-US" b="0" i="0" u="none" strike="noStrike" kern="0" cap="none" spc="0" normalizeH="0" baseline="0" noProof="0">
                <a:ln>
                  <a:noFill/>
                </a:ln>
                <a:solidFill>
                  <a:sysClr val="windowText" lastClr="000000"/>
                </a:solidFill>
                <a:effectLst/>
                <a:uLnTx/>
                <a:uFillTx/>
              </a:rPr>
              <a:t>Through any type of irrigation equipment. Do not treat irrigation ditches or water used for crop irrigation or domestic purposes.</a:t>
            </a:r>
          </a:p>
          <a:p>
            <a:pPr marL="0" marR="0" lvl="0" indent="0" defTabSz="914400" eaLnBrk="1" fontAlgn="auto" latinLnBrk="0" hangingPunct="1">
              <a:lnSpc>
                <a:spcPct val="100000"/>
              </a:lnSpc>
              <a:spcBef>
                <a:spcPts val="0"/>
              </a:spcBef>
              <a:spcAft>
                <a:spcPts val="0"/>
              </a:spcAft>
              <a:buClrTx/>
              <a:buSzTx/>
              <a:buFontTx/>
              <a:buNone/>
              <a:tabLst/>
              <a:defRPr/>
            </a:pPr>
            <a:endParaRPr lang="en-US" kern="0">
              <a:solidFill>
                <a:sysClr val="windowText" lastClr="000000"/>
              </a:solidFil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effectLst/>
                <a:uLnTx/>
                <a:uFillTx/>
              </a:rPr>
              <a:t>To </a:t>
            </a:r>
            <a:r>
              <a:rPr lang="en-US" kern="0"/>
              <a:t>crop </a:t>
            </a:r>
            <a:r>
              <a:rPr kumimoji="0" lang="en-US" b="0" i="0" u="none" strike="noStrike" kern="0" cap="none" spc="0" normalizeH="0" baseline="0" noProof="0">
                <a:ln>
                  <a:noFill/>
                </a:ln>
                <a:effectLst/>
                <a:uLnTx/>
                <a:uFillTx/>
              </a:rPr>
              <a:t>under stress due </a:t>
            </a:r>
            <a:r>
              <a:rPr lang="en-US" kern="0"/>
              <a:t>to environmental factors, herbicide injury, mechanical damage, insect pressure, etc.  </a:t>
            </a:r>
            <a:endParaRPr kumimoji="0" lang="en-US" b="0" i="0" u="none" strike="noStrike" kern="0" cap="none" spc="0" normalizeH="0" baseline="0" noProof="0">
              <a:ln>
                <a:noFill/>
              </a:ln>
              <a:effectLst/>
              <a:uLnTx/>
              <a:uFillTx/>
            </a:endParaRPr>
          </a:p>
        </p:txBody>
      </p:sp>
      <p:cxnSp>
        <p:nvCxnSpPr>
          <p:cNvPr id="16" name="Straight Connector 15">
            <a:extLst>
              <a:ext uri="{FF2B5EF4-FFF2-40B4-BE49-F238E27FC236}">
                <a16:creationId xmlns:a16="http://schemas.microsoft.com/office/drawing/2014/main" id="{EE9B3EC9-4191-B649-9A95-9CA241408007}"/>
              </a:ext>
            </a:extLst>
          </p:cNvPr>
          <p:cNvCxnSpPr>
            <a:cxnSpLocks/>
          </p:cNvCxnSpPr>
          <p:nvPr/>
        </p:nvCxnSpPr>
        <p:spPr>
          <a:xfrm>
            <a:off x="936400" y="2326729"/>
            <a:ext cx="3007659"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5CB30DB-E3DD-4F8C-9F48-0CED1A594854}"/>
              </a:ext>
            </a:extLst>
          </p:cNvPr>
          <p:cNvGrpSpPr/>
          <p:nvPr/>
        </p:nvGrpSpPr>
        <p:grpSpPr>
          <a:xfrm>
            <a:off x="936400" y="1712191"/>
            <a:ext cx="3211139" cy="131211"/>
            <a:chOff x="953147" y="2457109"/>
            <a:chExt cx="3211139" cy="131211"/>
          </a:xfrm>
        </p:grpSpPr>
        <p:sp>
          <p:nvSpPr>
            <p:cNvPr id="36" name="Isosceles Triangle 32">
              <a:extLst>
                <a:ext uri="{FF2B5EF4-FFF2-40B4-BE49-F238E27FC236}">
                  <a16:creationId xmlns:a16="http://schemas.microsoft.com/office/drawing/2014/main" id="{9CDF02A6-6B3A-A14C-B9D2-BCA14D44F4E2}"/>
                </a:ext>
              </a:extLst>
            </p:cNvPr>
            <p:cNvSpPr/>
            <p:nvPr/>
          </p:nvSpPr>
          <p:spPr>
            <a:xfrm rot="10800000">
              <a:off x="2424966" y="245710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42" name="Straight Connector 41">
              <a:extLst>
                <a:ext uri="{FF2B5EF4-FFF2-40B4-BE49-F238E27FC236}">
                  <a16:creationId xmlns:a16="http://schemas.microsoft.com/office/drawing/2014/main" id="{686F432B-4476-E44C-9C95-1F73EBC72278}"/>
                </a:ext>
              </a:extLst>
            </p:cNvPr>
            <p:cNvCxnSpPr>
              <a:cxnSpLocks/>
            </p:cNvCxnSpPr>
            <p:nvPr/>
          </p:nvCxnSpPr>
          <p:spPr>
            <a:xfrm flipH="1">
              <a:off x="953147" y="2464752"/>
              <a:ext cx="3211139"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38B073AE-AEF8-4BE5-8D38-C8BF06E06886}"/>
              </a:ext>
            </a:extLst>
          </p:cNvPr>
          <p:cNvGrpSpPr/>
          <p:nvPr/>
        </p:nvGrpSpPr>
        <p:grpSpPr>
          <a:xfrm>
            <a:off x="8067949" y="830197"/>
            <a:ext cx="3050312" cy="785164"/>
            <a:chOff x="8366759" y="1524315"/>
            <a:chExt cx="3050312" cy="785164"/>
          </a:xfrm>
        </p:grpSpPr>
        <p:sp>
          <p:nvSpPr>
            <p:cNvPr id="31" name="TextBox 30">
              <a:extLst>
                <a:ext uri="{FF2B5EF4-FFF2-40B4-BE49-F238E27FC236}">
                  <a16:creationId xmlns:a16="http://schemas.microsoft.com/office/drawing/2014/main" id="{17F53AD4-EE30-4A46-A64F-F3B145334DC8}"/>
                </a:ext>
              </a:extLst>
            </p:cNvPr>
            <p:cNvSpPr txBox="1"/>
            <p:nvPr/>
          </p:nvSpPr>
          <p:spPr>
            <a:xfrm>
              <a:off x="9153144" y="1637338"/>
              <a:ext cx="2263927"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accent4"/>
                  </a:solidFill>
                  <a:effectLst/>
                  <a:uLnTx/>
                  <a:uFillTx/>
                  <a:latin typeface="+mj-lt"/>
                </a:rPr>
                <a:t>DO NOT MAKE APPLICATION:</a:t>
              </a:r>
              <a:endParaRPr kumimoji="0" lang="en-US" b="0" i="1" u="none" strike="noStrike" kern="0" cap="none" spc="0" normalizeH="0" baseline="0" noProof="0">
                <a:ln>
                  <a:noFill/>
                </a:ln>
                <a:solidFill>
                  <a:schemeClr val="accent4"/>
                </a:solidFill>
                <a:effectLst/>
                <a:uLnTx/>
                <a:uFillTx/>
              </a:endParaRPr>
            </a:p>
          </p:txBody>
        </p:sp>
        <p:grpSp>
          <p:nvGrpSpPr>
            <p:cNvPr id="58" name="Group 57">
              <a:extLst>
                <a:ext uri="{FF2B5EF4-FFF2-40B4-BE49-F238E27FC236}">
                  <a16:creationId xmlns:a16="http://schemas.microsoft.com/office/drawing/2014/main" id="{B591F3B2-3037-49A6-BBD2-D44E96E8A76B}"/>
                </a:ext>
              </a:extLst>
            </p:cNvPr>
            <p:cNvGrpSpPr/>
            <p:nvPr/>
          </p:nvGrpSpPr>
          <p:grpSpPr>
            <a:xfrm>
              <a:off x="8366759" y="1524315"/>
              <a:ext cx="786263" cy="785164"/>
              <a:chOff x="11363326" y="588963"/>
              <a:chExt cx="1127125" cy="1125538"/>
            </a:xfrm>
            <a:solidFill>
              <a:schemeClr val="accent4"/>
            </a:solidFill>
          </p:grpSpPr>
          <p:sp>
            <p:nvSpPr>
              <p:cNvPr id="59" name="Freeform 5">
                <a:extLst>
                  <a:ext uri="{FF2B5EF4-FFF2-40B4-BE49-F238E27FC236}">
                    <a16:creationId xmlns:a16="http://schemas.microsoft.com/office/drawing/2014/main" id="{D67246A3-63DF-4099-AEEF-9DC5ADF2ECAE}"/>
                  </a:ext>
                </a:extLst>
              </p:cNvPr>
              <p:cNvSpPr>
                <a:spLocks/>
              </p:cNvSpPr>
              <p:nvPr/>
            </p:nvSpPr>
            <p:spPr bwMode="auto">
              <a:xfrm>
                <a:off x="11907838" y="773113"/>
                <a:ext cx="33338" cy="107950"/>
              </a:xfrm>
              <a:custGeom>
                <a:avLst/>
                <a:gdLst>
                  <a:gd name="T0" fmla="*/ 4 w 8"/>
                  <a:gd name="T1" fmla="*/ 0 h 25"/>
                  <a:gd name="T2" fmla="*/ 0 w 8"/>
                  <a:gd name="T3" fmla="*/ 4 h 25"/>
                  <a:gd name="T4" fmla="*/ 0 w 8"/>
                  <a:gd name="T5" fmla="*/ 21 h 25"/>
                  <a:gd name="T6" fmla="*/ 4 w 8"/>
                  <a:gd name="T7" fmla="*/ 25 h 25"/>
                  <a:gd name="T8" fmla="*/ 8 w 8"/>
                  <a:gd name="T9" fmla="*/ 21 h 25"/>
                  <a:gd name="T10" fmla="*/ 8 w 8"/>
                  <a:gd name="T11" fmla="*/ 4 h 25"/>
                  <a:gd name="T12" fmla="*/ 4 w 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 h="25">
                    <a:moveTo>
                      <a:pt x="4" y="0"/>
                    </a:moveTo>
                    <a:cubicBezTo>
                      <a:pt x="2" y="0"/>
                      <a:pt x="0" y="2"/>
                      <a:pt x="0" y="4"/>
                    </a:cubicBezTo>
                    <a:cubicBezTo>
                      <a:pt x="0" y="21"/>
                      <a:pt x="0" y="21"/>
                      <a:pt x="0" y="21"/>
                    </a:cubicBezTo>
                    <a:cubicBezTo>
                      <a:pt x="0" y="23"/>
                      <a:pt x="2" y="25"/>
                      <a:pt x="4" y="25"/>
                    </a:cubicBezTo>
                    <a:cubicBezTo>
                      <a:pt x="6" y="25"/>
                      <a:pt x="8" y="23"/>
                      <a:pt x="8" y="21"/>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
                <a:extLst>
                  <a:ext uri="{FF2B5EF4-FFF2-40B4-BE49-F238E27FC236}">
                    <a16:creationId xmlns:a16="http://schemas.microsoft.com/office/drawing/2014/main" id="{3C2E26AE-256A-490B-A34D-CB6C470AB651}"/>
                  </a:ext>
                </a:extLst>
              </p:cNvPr>
              <p:cNvSpPr>
                <a:spLocks/>
              </p:cNvSpPr>
              <p:nvPr/>
            </p:nvSpPr>
            <p:spPr bwMode="auto">
              <a:xfrm>
                <a:off x="11907838" y="896938"/>
                <a:ext cx="33338" cy="107950"/>
              </a:xfrm>
              <a:custGeom>
                <a:avLst/>
                <a:gdLst>
                  <a:gd name="T0" fmla="*/ 4 w 8"/>
                  <a:gd name="T1" fmla="*/ 0 h 25"/>
                  <a:gd name="T2" fmla="*/ 0 w 8"/>
                  <a:gd name="T3" fmla="*/ 4 h 25"/>
                  <a:gd name="T4" fmla="*/ 0 w 8"/>
                  <a:gd name="T5" fmla="*/ 21 h 25"/>
                  <a:gd name="T6" fmla="*/ 4 w 8"/>
                  <a:gd name="T7" fmla="*/ 25 h 25"/>
                  <a:gd name="T8" fmla="*/ 8 w 8"/>
                  <a:gd name="T9" fmla="*/ 21 h 25"/>
                  <a:gd name="T10" fmla="*/ 8 w 8"/>
                  <a:gd name="T11" fmla="*/ 4 h 25"/>
                  <a:gd name="T12" fmla="*/ 4 w 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 h="25">
                    <a:moveTo>
                      <a:pt x="4" y="0"/>
                    </a:moveTo>
                    <a:cubicBezTo>
                      <a:pt x="2" y="0"/>
                      <a:pt x="0" y="1"/>
                      <a:pt x="0" y="4"/>
                    </a:cubicBezTo>
                    <a:cubicBezTo>
                      <a:pt x="0" y="21"/>
                      <a:pt x="0" y="21"/>
                      <a:pt x="0" y="21"/>
                    </a:cubicBezTo>
                    <a:cubicBezTo>
                      <a:pt x="0" y="23"/>
                      <a:pt x="2" y="25"/>
                      <a:pt x="4" y="25"/>
                    </a:cubicBezTo>
                    <a:cubicBezTo>
                      <a:pt x="6" y="25"/>
                      <a:pt x="8" y="23"/>
                      <a:pt x="8" y="21"/>
                    </a:cubicBezTo>
                    <a:cubicBezTo>
                      <a:pt x="8" y="4"/>
                      <a:pt x="8" y="4"/>
                      <a:pt x="8" y="4"/>
                    </a:cubicBezTo>
                    <a:cubicBezTo>
                      <a:pt x="8" y="1"/>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7">
                <a:extLst>
                  <a:ext uri="{FF2B5EF4-FFF2-40B4-BE49-F238E27FC236}">
                    <a16:creationId xmlns:a16="http://schemas.microsoft.com/office/drawing/2014/main" id="{00F2436F-3EDE-4D33-AF72-3D5B8330C681}"/>
                  </a:ext>
                </a:extLst>
              </p:cNvPr>
              <p:cNvSpPr>
                <a:spLocks/>
              </p:cNvSpPr>
              <p:nvPr/>
            </p:nvSpPr>
            <p:spPr bwMode="auto">
              <a:xfrm>
                <a:off x="11812588" y="777876"/>
                <a:ext cx="52388" cy="80963"/>
              </a:xfrm>
              <a:custGeom>
                <a:avLst/>
                <a:gdLst>
                  <a:gd name="T0" fmla="*/ 9 w 12"/>
                  <a:gd name="T1" fmla="*/ 1 h 19"/>
                  <a:gd name="T2" fmla="*/ 4 w 12"/>
                  <a:gd name="T3" fmla="*/ 4 h 19"/>
                  <a:gd name="T4" fmla="*/ 0 w 12"/>
                  <a:gd name="T5" fmla="*/ 13 h 19"/>
                  <a:gd name="T6" fmla="*/ 3 w 12"/>
                  <a:gd name="T7" fmla="*/ 19 h 19"/>
                  <a:gd name="T8" fmla="*/ 4 w 12"/>
                  <a:gd name="T9" fmla="*/ 19 h 19"/>
                  <a:gd name="T10" fmla="*/ 8 w 12"/>
                  <a:gd name="T11" fmla="*/ 16 h 19"/>
                  <a:gd name="T12" fmla="*/ 11 w 12"/>
                  <a:gd name="T13" fmla="*/ 6 h 19"/>
                  <a:gd name="T14" fmla="*/ 9 w 12"/>
                  <a:gd name="T15" fmla="*/ 1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9">
                    <a:moveTo>
                      <a:pt x="9" y="1"/>
                    </a:moveTo>
                    <a:cubicBezTo>
                      <a:pt x="7" y="0"/>
                      <a:pt x="4" y="2"/>
                      <a:pt x="4" y="4"/>
                    </a:cubicBezTo>
                    <a:cubicBezTo>
                      <a:pt x="0" y="13"/>
                      <a:pt x="0" y="13"/>
                      <a:pt x="0" y="13"/>
                    </a:cubicBezTo>
                    <a:cubicBezTo>
                      <a:pt x="0" y="16"/>
                      <a:pt x="1" y="18"/>
                      <a:pt x="3" y="19"/>
                    </a:cubicBezTo>
                    <a:cubicBezTo>
                      <a:pt x="3" y="19"/>
                      <a:pt x="4" y="19"/>
                      <a:pt x="4" y="19"/>
                    </a:cubicBezTo>
                    <a:cubicBezTo>
                      <a:pt x="6" y="19"/>
                      <a:pt x="7" y="18"/>
                      <a:pt x="8" y="16"/>
                    </a:cubicBezTo>
                    <a:cubicBezTo>
                      <a:pt x="11" y="6"/>
                      <a:pt x="11" y="6"/>
                      <a:pt x="11" y="6"/>
                    </a:cubicBezTo>
                    <a:cubicBezTo>
                      <a:pt x="12" y="4"/>
                      <a:pt x="11" y="2"/>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8">
                <a:extLst>
                  <a:ext uri="{FF2B5EF4-FFF2-40B4-BE49-F238E27FC236}">
                    <a16:creationId xmlns:a16="http://schemas.microsoft.com/office/drawing/2014/main" id="{B5746813-0FD8-4398-A53E-15A517D9EF17}"/>
                  </a:ext>
                </a:extLst>
              </p:cNvPr>
              <p:cNvSpPr>
                <a:spLocks/>
              </p:cNvSpPr>
              <p:nvPr/>
            </p:nvSpPr>
            <p:spPr bwMode="auto">
              <a:xfrm>
                <a:off x="12026901" y="866776"/>
                <a:ext cx="52388" cy="82550"/>
              </a:xfrm>
              <a:custGeom>
                <a:avLst/>
                <a:gdLst>
                  <a:gd name="T0" fmla="*/ 8 w 12"/>
                  <a:gd name="T1" fmla="*/ 3 h 19"/>
                  <a:gd name="T2" fmla="*/ 3 w 12"/>
                  <a:gd name="T3" fmla="*/ 0 h 19"/>
                  <a:gd name="T4" fmla="*/ 1 w 12"/>
                  <a:gd name="T5" fmla="*/ 5 h 19"/>
                  <a:gd name="T6" fmla="*/ 4 w 12"/>
                  <a:gd name="T7" fmla="*/ 16 h 19"/>
                  <a:gd name="T8" fmla="*/ 8 w 12"/>
                  <a:gd name="T9" fmla="*/ 19 h 19"/>
                  <a:gd name="T10" fmla="*/ 9 w 12"/>
                  <a:gd name="T11" fmla="*/ 18 h 19"/>
                  <a:gd name="T12" fmla="*/ 12 w 12"/>
                  <a:gd name="T13" fmla="*/ 13 h 19"/>
                  <a:gd name="T14" fmla="*/ 8 w 12"/>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9">
                    <a:moveTo>
                      <a:pt x="8" y="3"/>
                    </a:moveTo>
                    <a:cubicBezTo>
                      <a:pt x="8" y="1"/>
                      <a:pt x="5" y="0"/>
                      <a:pt x="3" y="0"/>
                    </a:cubicBezTo>
                    <a:cubicBezTo>
                      <a:pt x="1" y="1"/>
                      <a:pt x="0" y="3"/>
                      <a:pt x="1" y="5"/>
                    </a:cubicBezTo>
                    <a:cubicBezTo>
                      <a:pt x="4" y="16"/>
                      <a:pt x="4" y="16"/>
                      <a:pt x="4" y="16"/>
                    </a:cubicBezTo>
                    <a:cubicBezTo>
                      <a:pt x="5" y="17"/>
                      <a:pt x="6" y="19"/>
                      <a:pt x="8" y="19"/>
                    </a:cubicBezTo>
                    <a:cubicBezTo>
                      <a:pt x="8" y="19"/>
                      <a:pt x="9" y="18"/>
                      <a:pt x="9" y="18"/>
                    </a:cubicBezTo>
                    <a:cubicBezTo>
                      <a:pt x="11" y="18"/>
                      <a:pt x="12" y="15"/>
                      <a:pt x="12" y="13"/>
                    </a:cubicBezTo>
                    <a:lnTo>
                      <a:pt x="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9">
                <a:extLst>
                  <a:ext uri="{FF2B5EF4-FFF2-40B4-BE49-F238E27FC236}">
                    <a16:creationId xmlns:a16="http://schemas.microsoft.com/office/drawing/2014/main" id="{69A991B2-0084-4AE2-BF56-6C07D5E0DF21}"/>
                  </a:ext>
                </a:extLst>
              </p:cNvPr>
              <p:cNvSpPr>
                <a:spLocks/>
              </p:cNvSpPr>
              <p:nvPr/>
            </p:nvSpPr>
            <p:spPr bwMode="auto">
              <a:xfrm>
                <a:off x="11984038" y="782638"/>
                <a:ext cx="55563" cy="76200"/>
              </a:xfrm>
              <a:custGeom>
                <a:avLst/>
                <a:gdLst>
                  <a:gd name="T0" fmla="*/ 12 w 13"/>
                  <a:gd name="T1" fmla="*/ 12 h 18"/>
                  <a:gd name="T2" fmla="*/ 9 w 13"/>
                  <a:gd name="T3" fmla="*/ 3 h 18"/>
                  <a:gd name="T4" fmla="*/ 4 w 13"/>
                  <a:gd name="T5" fmla="*/ 0 h 18"/>
                  <a:gd name="T6" fmla="*/ 1 w 13"/>
                  <a:gd name="T7" fmla="*/ 5 h 18"/>
                  <a:gd name="T8" fmla="*/ 4 w 13"/>
                  <a:gd name="T9" fmla="*/ 15 h 18"/>
                  <a:gd name="T10" fmla="*/ 8 w 13"/>
                  <a:gd name="T11" fmla="*/ 18 h 18"/>
                  <a:gd name="T12" fmla="*/ 10 w 13"/>
                  <a:gd name="T13" fmla="*/ 18 h 18"/>
                  <a:gd name="T14" fmla="*/ 12 w 13"/>
                  <a:gd name="T15" fmla="*/ 12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8">
                    <a:moveTo>
                      <a:pt x="12" y="12"/>
                    </a:moveTo>
                    <a:cubicBezTo>
                      <a:pt x="9" y="3"/>
                      <a:pt x="9" y="3"/>
                      <a:pt x="9" y="3"/>
                    </a:cubicBezTo>
                    <a:cubicBezTo>
                      <a:pt x="8" y="1"/>
                      <a:pt x="6" y="0"/>
                      <a:pt x="4" y="0"/>
                    </a:cubicBezTo>
                    <a:cubicBezTo>
                      <a:pt x="2" y="1"/>
                      <a:pt x="0" y="3"/>
                      <a:pt x="1" y="5"/>
                    </a:cubicBezTo>
                    <a:cubicBezTo>
                      <a:pt x="4" y="15"/>
                      <a:pt x="4" y="15"/>
                      <a:pt x="4" y="15"/>
                    </a:cubicBezTo>
                    <a:cubicBezTo>
                      <a:pt x="5" y="17"/>
                      <a:pt x="7" y="18"/>
                      <a:pt x="8" y="18"/>
                    </a:cubicBezTo>
                    <a:cubicBezTo>
                      <a:pt x="9" y="18"/>
                      <a:pt x="9" y="18"/>
                      <a:pt x="10" y="18"/>
                    </a:cubicBezTo>
                    <a:cubicBezTo>
                      <a:pt x="12" y="17"/>
                      <a:pt x="13" y="15"/>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0">
                <a:extLst>
                  <a:ext uri="{FF2B5EF4-FFF2-40B4-BE49-F238E27FC236}">
                    <a16:creationId xmlns:a16="http://schemas.microsoft.com/office/drawing/2014/main" id="{C2AC3B09-8DD0-4227-B6D1-3F054ADA0716}"/>
                  </a:ext>
                </a:extLst>
              </p:cNvPr>
              <p:cNvSpPr>
                <a:spLocks noEditPoints="1"/>
              </p:cNvSpPr>
              <p:nvPr/>
            </p:nvSpPr>
            <p:spPr bwMode="auto">
              <a:xfrm>
                <a:off x="11363326" y="588963"/>
                <a:ext cx="1127125" cy="1125538"/>
              </a:xfrm>
              <a:custGeom>
                <a:avLst/>
                <a:gdLst>
                  <a:gd name="T0" fmla="*/ 50 w 263"/>
                  <a:gd name="T1" fmla="*/ 28 h 263"/>
                  <a:gd name="T2" fmla="*/ 49 w 263"/>
                  <a:gd name="T3" fmla="*/ 30 h 263"/>
                  <a:gd name="T4" fmla="*/ 131 w 263"/>
                  <a:gd name="T5" fmla="*/ 263 h 263"/>
                  <a:gd name="T6" fmla="*/ 213 w 263"/>
                  <a:gd name="T7" fmla="*/ 235 h 263"/>
                  <a:gd name="T8" fmla="*/ 263 w 263"/>
                  <a:gd name="T9" fmla="*/ 132 h 263"/>
                  <a:gd name="T10" fmla="*/ 79 w 263"/>
                  <a:gd name="T11" fmla="*/ 235 h 263"/>
                  <a:gd name="T12" fmla="*/ 53 w 263"/>
                  <a:gd name="T13" fmla="*/ 47 h 263"/>
                  <a:gd name="T14" fmla="*/ 113 w 263"/>
                  <a:gd name="T15" fmla="*/ 176 h 263"/>
                  <a:gd name="T16" fmla="*/ 95 w 263"/>
                  <a:gd name="T17" fmla="*/ 174 h 263"/>
                  <a:gd name="T18" fmla="*/ 119 w 263"/>
                  <a:gd name="T19" fmla="*/ 213 h 263"/>
                  <a:gd name="T20" fmla="*/ 124 w 263"/>
                  <a:gd name="T21" fmla="*/ 210 h 263"/>
                  <a:gd name="T22" fmla="*/ 103 w 263"/>
                  <a:gd name="T23" fmla="*/ 182 h 263"/>
                  <a:gd name="T24" fmla="*/ 119 w 263"/>
                  <a:gd name="T25" fmla="*/ 200 h 263"/>
                  <a:gd name="T26" fmla="*/ 126 w 263"/>
                  <a:gd name="T27" fmla="*/ 196 h 263"/>
                  <a:gd name="T28" fmla="*/ 142 w 263"/>
                  <a:gd name="T29" fmla="*/ 180 h 263"/>
                  <a:gd name="T30" fmla="*/ 127 w 263"/>
                  <a:gd name="T31" fmla="*/ 211 h 263"/>
                  <a:gd name="T32" fmla="*/ 127 w 263"/>
                  <a:gd name="T33" fmla="*/ 224 h 263"/>
                  <a:gd name="T34" fmla="*/ 103 w 263"/>
                  <a:gd name="T35" fmla="*/ 228 h 263"/>
                  <a:gd name="T36" fmla="*/ 79 w 263"/>
                  <a:gd name="T37" fmla="*/ 235 h 263"/>
                  <a:gd name="T38" fmla="*/ 150 w 263"/>
                  <a:gd name="T39" fmla="*/ 185 h 263"/>
                  <a:gd name="T40" fmla="*/ 152 w 263"/>
                  <a:gd name="T41" fmla="*/ 199 h 263"/>
                  <a:gd name="T42" fmla="*/ 150 w 263"/>
                  <a:gd name="T43" fmla="*/ 185 h 263"/>
                  <a:gd name="T44" fmla="*/ 155 w 263"/>
                  <a:gd name="T45" fmla="*/ 175 h 263"/>
                  <a:gd name="T46" fmla="*/ 149 w 263"/>
                  <a:gd name="T47" fmla="*/ 167 h 263"/>
                  <a:gd name="T48" fmla="*/ 90 w 263"/>
                  <a:gd name="T49" fmla="*/ 240 h 263"/>
                  <a:gd name="T50" fmla="*/ 149 w 263"/>
                  <a:gd name="T51" fmla="*/ 236 h 263"/>
                  <a:gd name="T52" fmla="*/ 131 w 263"/>
                  <a:gd name="T53" fmla="*/ 247 h 263"/>
                  <a:gd name="T54" fmla="*/ 195 w 263"/>
                  <a:gd name="T55" fmla="*/ 228 h 263"/>
                  <a:gd name="T56" fmla="*/ 135 w 263"/>
                  <a:gd name="T57" fmla="*/ 225 h 263"/>
                  <a:gd name="T58" fmla="*/ 135 w 263"/>
                  <a:gd name="T59" fmla="*/ 214 h 263"/>
                  <a:gd name="T60" fmla="*/ 166 w 263"/>
                  <a:gd name="T61" fmla="*/ 189 h 263"/>
                  <a:gd name="T62" fmla="*/ 195 w 263"/>
                  <a:gd name="T63" fmla="*/ 228 h 263"/>
                  <a:gd name="T64" fmla="*/ 102 w 263"/>
                  <a:gd name="T65" fmla="*/ 82 h 263"/>
                  <a:gd name="T66" fmla="*/ 107 w 263"/>
                  <a:gd name="T67" fmla="*/ 70 h 263"/>
                  <a:gd name="T68" fmla="*/ 99 w 263"/>
                  <a:gd name="T69" fmla="*/ 68 h 263"/>
                  <a:gd name="T70" fmla="*/ 66 w 263"/>
                  <a:gd name="T71" fmla="*/ 37 h 263"/>
                  <a:gd name="T72" fmla="*/ 125 w 263"/>
                  <a:gd name="T73" fmla="*/ 40 h 263"/>
                  <a:gd name="T74" fmla="*/ 121 w 263"/>
                  <a:gd name="T75" fmla="*/ 28 h 263"/>
                  <a:gd name="T76" fmla="*/ 117 w 263"/>
                  <a:gd name="T77" fmla="*/ 17 h 263"/>
                  <a:gd name="T78" fmla="*/ 146 w 263"/>
                  <a:gd name="T79" fmla="*/ 17 h 263"/>
                  <a:gd name="T80" fmla="*/ 137 w 263"/>
                  <a:gd name="T81" fmla="*/ 31 h 263"/>
                  <a:gd name="T82" fmla="*/ 154 w 263"/>
                  <a:gd name="T83" fmla="*/ 19 h 263"/>
                  <a:gd name="T84" fmla="*/ 209 w 263"/>
                  <a:gd name="T85" fmla="*/ 21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131" y="0"/>
                    </a:moveTo>
                    <a:cubicBezTo>
                      <a:pt x="101" y="0"/>
                      <a:pt x="72" y="11"/>
                      <a:pt x="50" y="28"/>
                    </a:cubicBezTo>
                    <a:cubicBezTo>
                      <a:pt x="50" y="29"/>
                      <a:pt x="50" y="29"/>
                      <a:pt x="49" y="29"/>
                    </a:cubicBezTo>
                    <a:cubicBezTo>
                      <a:pt x="49" y="29"/>
                      <a:pt x="49" y="29"/>
                      <a:pt x="49" y="30"/>
                    </a:cubicBezTo>
                    <a:cubicBezTo>
                      <a:pt x="19" y="54"/>
                      <a:pt x="0" y="91"/>
                      <a:pt x="0" y="132"/>
                    </a:cubicBezTo>
                    <a:cubicBezTo>
                      <a:pt x="0" y="204"/>
                      <a:pt x="59" y="263"/>
                      <a:pt x="131" y="263"/>
                    </a:cubicBezTo>
                    <a:cubicBezTo>
                      <a:pt x="162" y="263"/>
                      <a:pt x="190" y="253"/>
                      <a:pt x="213" y="235"/>
                    </a:cubicBezTo>
                    <a:cubicBezTo>
                      <a:pt x="213" y="235"/>
                      <a:pt x="213" y="235"/>
                      <a:pt x="213" y="235"/>
                    </a:cubicBezTo>
                    <a:cubicBezTo>
                      <a:pt x="213" y="235"/>
                      <a:pt x="213" y="234"/>
                      <a:pt x="214" y="234"/>
                    </a:cubicBezTo>
                    <a:cubicBezTo>
                      <a:pt x="244" y="210"/>
                      <a:pt x="263" y="173"/>
                      <a:pt x="263" y="132"/>
                    </a:cubicBezTo>
                    <a:cubicBezTo>
                      <a:pt x="263" y="59"/>
                      <a:pt x="204" y="0"/>
                      <a:pt x="131" y="0"/>
                    </a:cubicBezTo>
                    <a:close/>
                    <a:moveTo>
                      <a:pt x="79" y="235"/>
                    </a:moveTo>
                    <a:cubicBezTo>
                      <a:pt x="41" y="216"/>
                      <a:pt x="16" y="177"/>
                      <a:pt x="16" y="132"/>
                    </a:cubicBezTo>
                    <a:cubicBezTo>
                      <a:pt x="16" y="98"/>
                      <a:pt x="30" y="68"/>
                      <a:pt x="53" y="47"/>
                    </a:cubicBezTo>
                    <a:cubicBezTo>
                      <a:pt x="128" y="141"/>
                      <a:pt x="128" y="141"/>
                      <a:pt x="128" y="141"/>
                    </a:cubicBezTo>
                    <a:cubicBezTo>
                      <a:pt x="126" y="144"/>
                      <a:pt x="113" y="157"/>
                      <a:pt x="113" y="176"/>
                    </a:cubicBezTo>
                    <a:cubicBezTo>
                      <a:pt x="110" y="175"/>
                      <a:pt x="105" y="174"/>
                      <a:pt x="99" y="173"/>
                    </a:cubicBezTo>
                    <a:cubicBezTo>
                      <a:pt x="97" y="173"/>
                      <a:pt x="96" y="173"/>
                      <a:pt x="95" y="174"/>
                    </a:cubicBezTo>
                    <a:cubicBezTo>
                      <a:pt x="95" y="175"/>
                      <a:pt x="94" y="176"/>
                      <a:pt x="94" y="177"/>
                    </a:cubicBezTo>
                    <a:cubicBezTo>
                      <a:pt x="94" y="187"/>
                      <a:pt x="99" y="207"/>
                      <a:pt x="119" y="213"/>
                    </a:cubicBezTo>
                    <a:cubicBezTo>
                      <a:pt x="120" y="213"/>
                      <a:pt x="120" y="213"/>
                      <a:pt x="120" y="213"/>
                    </a:cubicBezTo>
                    <a:cubicBezTo>
                      <a:pt x="122" y="213"/>
                      <a:pt x="124" y="211"/>
                      <a:pt x="124" y="210"/>
                    </a:cubicBezTo>
                    <a:cubicBezTo>
                      <a:pt x="125" y="207"/>
                      <a:pt x="124" y="205"/>
                      <a:pt x="121" y="205"/>
                    </a:cubicBezTo>
                    <a:cubicBezTo>
                      <a:pt x="108" y="201"/>
                      <a:pt x="104" y="189"/>
                      <a:pt x="103" y="182"/>
                    </a:cubicBezTo>
                    <a:cubicBezTo>
                      <a:pt x="109" y="183"/>
                      <a:pt x="112" y="185"/>
                      <a:pt x="114" y="185"/>
                    </a:cubicBezTo>
                    <a:cubicBezTo>
                      <a:pt x="115" y="190"/>
                      <a:pt x="116" y="195"/>
                      <a:pt x="119" y="200"/>
                    </a:cubicBezTo>
                    <a:cubicBezTo>
                      <a:pt x="120" y="202"/>
                      <a:pt x="123" y="202"/>
                      <a:pt x="124" y="201"/>
                    </a:cubicBezTo>
                    <a:cubicBezTo>
                      <a:pt x="126" y="200"/>
                      <a:pt x="127" y="198"/>
                      <a:pt x="126" y="196"/>
                    </a:cubicBezTo>
                    <a:cubicBezTo>
                      <a:pt x="114" y="174"/>
                      <a:pt x="125" y="156"/>
                      <a:pt x="131" y="150"/>
                    </a:cubicBezTo>
                    <a:cubicBezTo>
                      <a:pt x="139" y="160"/>
                      <a:pt x="143" y="170"/>
                      <a:pt x="142" y="180"/>
                    </a:cubicBezTo>
                    <a:cubicBezTo>
                      <a:pt x="141" y="196"/>
                      <a:pt x="129" y="207"/>
                      <a:pt x="129" y="207"/>
                    </a:cubicBezTo>
                    <a:cubicBezTo>
                      <a:pt x="128" y="208"/>
                      <a:pt x="127" y="209"/>
                      <a:pt x="127" y="211"/>
                    </a:cubicBezTo>
                    <a:cubicBezTo>
                      <a:pt x="127" y="211"/>
                      <a:pt x="127" y="211"/>
                      <a:pt x="127" y="211"/>
                    </a:cubicBezTo>
                    <a:cubicBezTo>
                      <a:pt x="127" y="224"/>
                      <a:pt x="127" y="224"/>
                      <a:pt x="127" y="224"/>
                    </a:cubicBezTo>
                    <a:cubicBezTo>
                      <a:pt x="127" y="224"/>
                      <a:pt x="128" y="224"/>
                      <a:pt x="128" y="224"/>
                    </a:cubicBezTo>
                    <a:cubicBezTo>
                      <a:pt x="119" y="224"/>
                      <a:pt x="111" y="226"/>
                      <a:pt x="103" y="228"/>
                    </a:cubicBezTo>
                    <a:cubicBezTo>
                      <a:pt x="80" y="235"/>
                      <a:pt x="80" y="235"/>
                      <a:pt x="80" y="235"/>
                    </a:cubicBezTo>
                    <a:cubicBezTo>
                      <a:pt x="79" y="235"/>
                      <a:pt x="79" y="235"/>
                      <a:pt x="79" y="235"/>
                    </a:cubicBezTo>
                    <a:close/>
                    <a:moveTo>
                      <a:pt x="150" y="185"/>
                    </a:moveTo>
                    <a:cubicBezTo>
                      <a:pt x="150" y="185"/>
                      <a:pt x="150" y="185"/>
                      <a:pt x="150" y="185"/>
                    </a:cubicBezTo>
                    <a:cubicBezTo>
                      <a:pt x="150" y="185"/>
                      <a:pt x="152" y="183"/>
                      <a:pt x="160" y="182"/>
                    </a:cubicBezTo>
                    <a:cubicBezTo>
                      <a:pt x="159" y="187"/>
                      <a:pt x="157" y="194"/>
                      <a:pt x="152" y="199"/>
                    </a:cubicBezTo>
                    <a:cubicBezTo>
                      <a:pt x="149" y="202"/>
                      <a:pt x="145" y="204"/>
                      <a:pt x="141" y="205"/>
                    </a:cubicBezTo>
                    <a:cubicBezTo>
                      <a:pt x="144" y="201"/>
                      <a:pt x="148" y="194"/>
                      <a:pt x="150" y="185"/>
                    </a:cubicBezTo>
                    <a:close/>
                    <a:moveTo>
                      <a:pt x="149" y="167"/>
                    </a:moveTo>
                    <a:cubicBezTo>
                      <a:pt x="155" y="175"/>
                      <a:pt x="155" y="175"/>
                      <a:pt x="155" y="175"/>
                    </a:cubicBezTo>
                    <a:cubicBezTo>
                      <a:pt x="153" y="175"/>
                      <a:pt x="152" y="176"/>
                      <a:pt x="150" y="176"/>
                    </a:cubicBezTo>
                    <a:cubicBezTo>
                      <a:pt x="150" y="173"/>
                      <a:pt x="150" y="170"/>
                      <a:pt x="149" y="167"/>
                    </a:cubicBezTo>
                    <a:close/>
                    <a:moveTo>
                      <a:pt x="131" y="247"/>
                    </a:moveTo>
                    <a:cubicBezTo>
                      <a:pt x="117" y="247"/>
                      <a:pt x="103" y="245"/>
                      <a:pt x="90" y="240"/>
                    </a:cubicBezTo>
                    <a:cubicBezTo>
                      <a:pt x="105" y="236"/>
                      <a:pt x="105" y="236"/>
                      <a:pt x="105" y="236"/>
                    </a:cubicBezTo>
                    <a:cubicBezTo>
                      <a:pt x="119" y="231"/>
                      <a:pt x="134" y="231"/>
                      <a:pt x="149" y="236"/>
                    </a:cubicBezTo>
                    <a:cubicBezTo>
                      <a:pt x="157" y="238"/>
                      <a:pt x="166" y="239"/>
                      <a:pt x="174" y="239"/>
                    </a:cubicBezTo>
                    <a:cubicBezTo>
                      <a:pt x="161" y="244"/>
                      <a:pt x="146" y="247"/>
                      <a:pt x="131" y="247"/>
                    </a:cubicBezTo>
                    <a:close/>
                    <a:moveTo>
                      <a:pt x="195" y="228"/>
                    </a:moveTo>
                    <a:cubicBezTo>
                      <a:pt x="195" y="228"/>
                      <a:pt x="195" y="228"/>
                      <a:pt x="195" y="228"/>
                    </a:cubicBezTo>
                    <a:cubicBezTo>
                      <a:pt x="181" y="232"/>
                      <a:pt x="165" y="232"/>
                      <a:pt x="151" y="228"/>
                    </a:cubicBezTo>
                    <a:cubicBezTo>
                      <a:pt x="146" y="226"/>
                      <a:pt x="141" y="225"/>
                      <a:pt x="135" y="225"/>
                    </a:cubicBezTo>
                    <a:cubicBezTo>
                      <a:pt x="135" y="225"/>
                      <a:pt x="135" y="224"/>
                      <a:pt x="135" y="224"/>
                    </a:cubicBezTo>
                    <a:cubicBezTo>
                      <a:pt x="135" y="214"/>
                      <a:pt x="135" y="214"/>
                      <a:pt x="135" y="214"/>
                    </a:cubicBezTo>
                    <a:cubicBezTo>
                      <a:pt x="144" y="214"/>
                      <a:pt x="152" y="211"/>
                      <a:pt x="157" y="205"/>
                    </a:cubicBezTo>
                    <a:cubicBezTo>
                      <a:pt x="162" y="200"/>
                      <a:pt x="165" y="194"/>
                      <a:pt x="166" y="189"/>
                    </a:cubicBezTo>
                    <a:cubicBezTo>
                      <a:pt x="197" y="227"/>
                      <a:pt x="197" y="227"/>
                      <a:pt x="197" y="227"/>
                    </a:cubicBezTo>
                    <a:cubicBezTo>
                      <a:pt x="196" y="227"/>
                      <a:pt x="196" y="228"/>
                      <a:pt x="195" y="228"/>
                    </a:cubicBezTo>
                    <a:close/>
                    <a:moveTo>
                      <a:pt x="209" y="217"/>
                    </a:moveTo>
                    <a:cubicBezTo>
                      <a:pt x="102" y="82"/>
                      <a:pt x="102" y="82"/>
                      <a:pt x="102" y="82"/>
                    </a:cubicBezTo>
                    <a:cubicBezTo>
                      <a:pt x="103" y="82"/>
                      <a:pt x="103" y="81"/>
                      <a:pt x="103" y="81"/>
                    </a:cubicBezTo>
                    <a:cubicBezTo>
                      <a:pt x="107" y="70"/>
                      <a:pt x="107" y="70"/>
                      <a:pt x="107" y="70"/>
                    </a:cubicBezTo>
                    <a:cubicBezTo>
                      <a:pt x="107" y="68"/>
                      <a:pt x="106" y="66"/>
                      <a:pt x="104" y="65"/>
                    </a:cubicBezTo>
                    <a:cubicBezTo>
                      <a:pt x="102" y="65"/>
                      <a:pt x="100" y="66"/>
                      <a:pt x="99" y="68"/>
                    </a:cubicBezTo>
                    <a:cubicBezTo>
                      <a:pt x="96" y="75"/>
                      <a:pt x="96" y="75"/>
                      <a:pt x="96" y="75"/>
                    </a:cubicBezTo>
                    <a:cubicBezTo>
                      <a:pt x="66" y="37"/>
                      <a:pt x="66" y="37"/>
                      <a:pt x="66" y="37"/>
                    </a:cubicBezTo>
                    <a:cubicBezTo>
                      <a:pt x="78" y="28"/>
                      <a:pt x="93" y="22"/>
                      <a:pt x="109" y="19"/>
                    </a:cubicBezTo>
                    <a:cubicBezTo>
                      <a:pt x="109" y="29"/>
                      <a:pt x="116" y="37"/>
                      <a:pt x="125" y="40"/>
                    </a:cubicBezTo>
                    <a:cubicBezTo>
                      <a:pt x="125" y="31"/>
                      <a:pt x="125" y="31"/>
                      <a:pt x="125" y="31"/>
                    </a:cubicBezTo>
                    <a:cubicBezTo>
                      <a:pt x="124" y="31"/>
                      <a:pt x="122" y="30"/>
                      <a:pt x="121" y="28"/>
                    </a:cubicBezTo>
                    <a:cubicBezTo>
                      <a:pt x="118" y="26"/>
                      <a:pt x="117" y="22"/>
                      <a:pt x="117" y="18"/>
                    </a:cubicBezTo>
                    <a:cubicBezTo>
                      <a:pt x="117" y="17"/>
                      <a:pt x="117" y="17"/>
                      <a:pt x="117" y="17"/>
                    </a:cubicBezTo>
                    <a:cubicBezTo>
                      <a:pt x="121" y="17"/>
                      <a:pt x="126" y="16"/>
                      <a:pt x="131" y="16"/>
                    </a:cubicBezTo>
                    <a:cubicBezTo>
                      <a:pt x="136" y="16"/>
                      <a:pt x="141" y="17"/>
                      <a:pt x="146" y="17"/>
                    </a:cubicBezTo>
                    <a:cubicBezTo>
                      <a:pt x="146" y="18"/>
                      <a:pt x="146" y="18"/>
                      <a:pt x="146" y="18"/>
                    </a:cubicBezTo>
                    <a:cubicBezTo>
                      <a:pt x="146" y="24"/>
                      <a:pt x="142" y="29"/>
                      <a:pt x="137" y="31"/>
                    </a:cubicBezTo>
                    <a:cubicBezTo>
                      <a:pt x="137" y="40"/>
                      <a:pt x="137" y="40"/>
                      <a:pt x="137" y="40"/>
                    </a:cubicBezTo>
                    <a:cubicBezTo>
                      <a:pt x="147" y="37"/>
                      <a:pt x="153" y="29"/>
                      <a:pt x="154" y="19"/>
                    </a:cubicBezTo>
                    <a:cubicBezTo>
                      <a:pt x="207" y="29"/>
                      <a:pt x="247" y="76"/>
                      <a:pt x="247" y="132"/>
                    </a:cubicBezTo>
                    <a:cubicBezTo>
                      <a:pt x="247" y="166"/>
                      <a:pt x="232" y="196"/>
                      <a:pt x="20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 8">
            <a:extLst>
              <a:ext uri="{FF2B5EF4-FFF2-40B4-BE49-F238E27FC236}">
                <a16:creationId xmlns:a16="http://schemas.microsoft.com/office/drawing/2014/main" id="{68E5ED4D-654F-402C-9EC5-8AF565C9F0D2}"/>
              </a:ext>
            </a:extLst>
          </p:cNvPr>
          <p:cNvGrpSpPr/>
          <p:nvPr/>
        </p:nvGrpSpPr>
        <p:grpSpPr>
          <a:xfrm>
            <a:off x="4502115" y="830199"/>
            <a:ext cx="3051858" cy="786277"/>
            <a:chOff x="4725037" y="1524317"/>
            <a:chExt cx="3051858" cy="786277"/>
          </a:xfrm>
        </p:grpSpPr>
        <p:sp>
          <p:nvSpPr>
            <p:cNvPr id="26" name="TextBox 25">
              <a:extLst>
                <a:ext uri="{FF2B5EF4-FFF2-40B4-BE49-F238E27FC236}">
                  <a16:creationId xmlns:a16="http://schemas.microsoft.com/office/drawing/2014/main" id="{AC1AC6D7-1A35-0C49-8045-E5A6BE08A454}"/>
                </a:ext>
              </a:extLst>
            </p:cNvPr>
            <p:cNvSpPr txBox="1"/>
            <p:nvPr/>
          </p:nvSpPr>
          <p:spPr>
            <a:xfrm>
              <a:off x="5512968" y="1637338"/>
              <a:ext cx="2263927"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accent4"/>
                  </a:solidFill>
                  <a:effectLst/>
                  <a:uLnTx/>
                  <a:uFillTx/>
                  <a:latin typeface="+mj-lt"/>
                </a:rPr>
                <a:t>DO NOT TANK</a:t>
              </a:r>
            </a:p>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accent4"/>
                  </a:solidFill>
                  <a:effectLst/>
                  <a:uLnTx/>
                  <a:uFillTx/>
                  <a:latin typeface="+mj-lt"/>
                </a:rPr>
                <a:t>MIX WITH:</a:t>
              </a:r>
              <a:endParaRPr kumimoji="0" lang="en-US" b="0" i="0" u="none" strike="noStrike" kern="0" cap="none" spc="0" normalizeH="0" baseline="0" noProof="0">
                <a:ln>
                  <a:noFill/>
                </a:ln>
                <a:solidFill>
                  <a:schemeClr val="accent4"/>
                </a:solidFill>
                <a:effectLst/>
                <a:uLnTx/>
                <a:uFillTx/>
              </a:endParaRPr>
            </a:p>
          </p:txBody>
        </p:sp>
        <p:grpSp>
          <p:nvGrpSpPr>
            <p:cNvPr id="65" name="Group 64">
              <a:extLst>
                <a:ext uri="{FF2B5EF4-FFF2-40B4-BE49-F238E27FC236}">
                  <a16:creationId xmlns:a16="http://schemas.microsoft.com/office/drawing/2014/main" id="{8EF5DE10-BD76-47E8-A993-ECA5D39B4EBA}"/>
                </a:ext>
              </a:extLst>
            </p:cNvPr>
            <p:cNvGrpSpPr/>
            <p:nvPr/>
          </p:nvGrpSpPr>
          <p:grpSpPr>
            <a:xfrm>
              <a:off x="4725037" y="1524317"/>
              <a:ext cx="785153" cy="786277"/>
              <a:chOff x="8618538" y="96838"/>
              <a:chExt cx="1125538" cy="1127125"/>
            </a:xfrm>
          </p:grpSpPr>
          <p:sp>
            <p:nvSpPr>
              <p:cNvPr id="66" name="Freeform 14">
                <a:extLst>
                  <a:ext uri="{FF2B5EF4-FFF2-40B4-BE49-F238E27FC236}">
                    <a16:creationId xmlns:a16="http://schemas.microsoft.com/office/drawing/2014/main" id="{4633CF20-A98B-4A01-8838-50FE877E5AD5}"/>
                  </a:ext>
                </a:extLst>
              </p:cNvPr>
              <p:cNvSpPr>
                <a:spLocks/>
              </p:cNvSpPr>
              <p:nvPr/>
            </p:nvSpPr>
            <p:spPr bwMode="auto">
              <a:xfrm>
                <a:off x="9512300" y="457200"/>
                <a:ext cx="34925" cy="209550"/>
              </a:xfrm>
              <a:custGeom>
                <a:avLst/>
                <a:gdLst>
                  <a:gd name="T0" fmla="*/ 4 w 8"/>
                  <a:gd name="T1" fmla="*/ 0 h 49"/>
                  <a:gd name="T2" fmla="*/ 0 w 8"/>
                  <a:gd name="T3" fmla="*/ 4 h 49"/>
                  <a:gd name="T4" fmla="*/ 0 w 8"/>
                  <a:gd name="T5" fmla="*/ 45 h 49"/>
                  <a:gd name="T6" fmla="*/ 4 w 8"/>
                  <a:gd name="T7" fmla="*/ 49 h 49"/>
                  <a:gd name="T8" fmla="*/ 8 w 8"/>
                  <a:gd name="T9" fmla="*/ 45 h 49"/>
                  <a:gd name="T10" fmla="*/ 8 w 8"/>
                  <a:gd name="T11" fmla="*/ 4 h 49"/>
                  <a:gd name="T12" fmla="*/ 4 w 8"/>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8" h="49">
                    <a:moveTo>
                      <a:pt x="4" y="0"/>
                    </a:moveTo>
                    <a:cubicBezTo>
                      <a:pt x="1" y="0"/>
                      <a:pt x="0" y="2"/>
                      <a:pt x="0" y="4"/>
                    </a:cubicBezTo>
                    <a:cubicBezTo>
                      <a:pt x="0" y="45"/>
                      <a:pt x="0" y="45"/>
                      <a:pt x="0" y="45"/>
                    </a:cubicBezTo>
                    <a:cubicBezTo>
                      <a:pt x="0" y="48"/>
                      <a:pt x="1" y="49"/>
                      <a:pt x="4" y="49"/>
                    </a:cubicBezTo>
                    <a:cubicBezTo>
                      <a:pt x="6" y="49"/>
                      <a:pt x="8" y="48"/>
                      <a:pt x="8" y="45"/>
                    </a:cubicBezTo>
                    <a:cubicBezTo>
                      <a:pt x="8" y="4"/>
                      <a:pt x="8" y="4"/>
                      <a:pt x="8" y="4"/>
                    </a:cubicBezTo>
                    <a:cubicBezTo>
                      <a:pt x="8" y="2"/>
                      <a:pt x="6"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5">
                <a:extLst>
                  <a:ext uri="{FF2B5EF4-FFF2-40B4-BE49-F238E27FC236}">
                    <a16:creationId xmlns:a16="http://schemas.microsoft.com/office/drawing/2014/main" id="{3EB1A229-B58E-45CC-8150-D68406777B9E}"/>
                  </a:ext>
                </a:extLst>
              </p:cNvPr>
              <p:cNvSpPr>
                <a:spLocks/>
              </p:cNvSpPr>
              <p:nvPr/>
            </p:nvSpPr>
            <p:spPr bwMode="auto">
              <a:xfrm>
                <a:off x="8828088" y="457200"/>
                <a:ext cx="33338" cy="209550"/>
              </a:xfrm>
              <a:custGeom>
                <a:avLst/>
                <a:gdLst>
                  <a:gd name="T0" fmla="*/ 4 w 8"/>
                  <a:gd name="T1" fmla="*/ 0 h 49"/>
                  <a:gd name="T2" fmla="*/ 0 w 8"/>
                  <a:gd name="T3" fmla="*/ 4 h 49"/>
                  <a:gd name="T4" fmla="*/ 0 w 8"/>
                  <a:gd name="T5" fmla="*/ 45 h 49"/>
                  <a:gd name="T6" fmla="*/ 4 w 8"/>
                  <a:gd name="T7" fmla="*/ 49 h 49"/>
                  <a:gd name="T8" fmla="*/ 8 w 8"/>
                  <a:gd name="T9" fmla="*/ 45 h 49"/>
                  <a:gd name="T10" fmla="*/ 8 w 8"/>
                  <a:gd name="T11" fmla="*/ 4 h 49"/>
                  <a:gd name="T12" fmla="*/ 4 w 8"/>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8" h="49">
                    <a:moveTo>
                      <a:pt x="4" y="0"/>
                    </a:moveTo>
                    <a:cubicBezTo>
                      <a:pt x="2" y="0"/>
                      <a:pt x="0" y="2"/>
                      <a:pt x="0" y="4"/>
                    </a:cubicBezTo>
                    <a:cubicBezTo>
                      <a:pt x="0" y="45"/>
                      <a:pt x="0" y="45"/>
                      <a:pt x="0" y="45"/>
                    </a:cubicBezTo>
                    <a:cubicBezTo>
                      <a:pt x="0" y="48"/>
                      <a:pt x="2" y="49"/>
                      <a:pt x="4" y="49"/>
                    </a:cubicBezTo>
                    <a:cubicBezTo>
                      <a:pt x="7" y="49"/>
                      <a:pt x="8" y="48"/>
                      <a:pt x="8" y="45"/>
                    </a:cubicBezTo>
                    <a:cubicBezTo>
                      <a:pt x="8" y="4"/>
                      <a:pt x="8" y="4"/>
                      <a:pt x="8" y="4"/>
                    </a:cubicBezTo>
                    <a:cubicBezTo>
                      <a:pt x="8" y="2"/>
                      <a:pt x="7"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6">
                <a:extLst>
                  <a:ext uri="{FF2B5EF4-FFF2-40B4-BE49-F238E27FC236}">
                    <a16:creationId xmlns:a16="http://schemas.microsoft.com/office/drawing/2014/main" id="{BDB128D4-F8B1-46DA-9933-72E576752E86}"/>
                  </a:ext>
                </a:extLst>
              </p:cNvPr>
              <p:cNvSpPr>
                <a:spLocks noEditPoints="1"/>
              </p:cNvSpPr>
              <p:nvPr/>
            </p:nvSpPr>
            <p:spPr bwMode="auto">
              <a:xfrm>
                <a:off x="8618538" y="96838"/>
                <a:ext cx="1125538" cy="1127125"/>
              </a:xfrm>
              <a:custGeom>
                <a:avLst/>
                <a:gdLst>
                  <a:gd name="T0" fmla="*/ 0 w 263"/>
                  <a:gd name="T1" fmla="*/ 132 h 263"/>
                  <a:gd name="T2" fmla="*/ 263 w 263"/>
                  <a:gd name="T3" fmla="*/ 132 h 263"/>
                  <a:gd name="T4" fmla="*/ 132 w 263"/>
                  <a:gd name="T5" fmla="*/ 247 h 263"/>
                  <a:gd name="T6" fmla="*/ 51 w 263"/>
                  <a:gd name="T7" fmla="*/ 49 h 263"/>
                  <a:gd name="T8" fmla="*/ 68 w 263"/>
                  <a:gd name="T9" fmla="*/ 86 h 263"/>
                  <a:gd name="T10" fmla="*/ 64 w 263"/>
                  <a:gd name="T11" fmla="*/ 127 h 263"/>
                  <a:gd name="T12" fmla="*/ 82 w 263"/>
                  <a:gd name="T13" fmla="*/ 131 h 263"/>
                  <a:gd name="T14" fmla="*/ 86 w 263"/>
                  <a:gd name="T15" fmla="*/ 126 h 263"/>
                  <a:gd name="T16" fmla="*/ 118 w 263"/>
                  <a:gd name="T17" fmla="*/ 171 h 263"/>
                  <a:gd name="T18" fmla="*/ 118 w 263"/>
                  <a:gd name="T19" fmla="*/ 211 h 263"/>
                  <a:gd name="T20" fmla="*/ 128 w 263"/>
                  <a:gd name="T21" fmla="*/ 215 h 263"/>
                  <a:gd name="T22" fmla="*/ 127 w 263"/>
                  <a:gd name="T23" fmla="*/ 172 h 263"/>
                  <a:gd name="T24" fmla="*/ 131 w 263"/>
                  <a:gd name="T25" fmla="*/ 150 h 263"/>
                  <a:gd name="T26" fmla="*/ 139 w 263"/>
                  <a:gd name="T27" fmla="*/ 171 h 263"/>
                  <a:gd name="T28" fmla="*/ 139 w 263"/>
                  <a:gd name="T29" fmla="*/ 173 h 263"/>
                  <a:gd name="T30" fmla="*/ 143 w 263"/>
                  <a:gd name="T31" fmla="*/ 215 h 263"/>
                  <a:gd name="T32" fmla="*/ 148 w 263"/>
                  <a:gd name="T33" fmla="*/ 173 h 263"/>
                  <a:gd name="T34" fmla="*/ 193 w 263"/>
                  <a:gd name="T35" fmla="*/ 229 h 263"/>
                  <a:gd name="T36" fmla="*/ 78 w 263"/>
                  <a:gd name="T37" fmla="*/ 94 h 263"/>
                  <a:gd name="T38" fmla="*/ 72 w 263"/>
                  <a:gd name="T39" fmla="*/ 123 h 263"/>
                  <a:gd name="T40" fmla="*/ 78 w 263"/>
                  <a:gd name="T41" fmla="*/ 94 h 263"/>
                  <a:gd name="T42" fmla="*/ 124 w 263"/>
                  <a:gd name="T43" fmla="*/ 142 h 263"/>
                  <a:gd name="T44" fmla="*/ 122 w 263"/>
                  <a:gd name="T45" fmla="*/ 148 h 263"/>
                  <a:gd name="T46" fmla="*/ 86 w 263"/>
                  <a:gd name="T47" fmla="*/ 116 h 263"/>
                  <a:gd name="T48" fmla="*/ 99 w 263"/>
                  <a:gd name="T49" fmla="*/ 109 h 263"/>
                  <a:gd name="T50" fmla="*/ 86 w 263"/>
                  <a:gd name="T51" fmla="*/ 93 h 263"/>
                  <a:gd name="T52" fmla="*/ 86 w 263"/>
                  <a:gd name="T53" fmla="*/ 95 h 263"/>
                  <a:gd name="T54" fmla="*/ 180 w 263"/>
                  <a:gd name="T55" fmla="*/ 105 h 263"/>
                  <a:gd name="T56" fmla="*/ 146 w 263"/>
                  <a:gd name="T57" fmla="*/ 144 h 263"/>
                  <a:gd name="T58" fmla="*/ 206 w 263"/>
                  <a:gd name="T59" fmla="*/ 220 h 263"/>
                  <a:gd name="T60" fmla="*/ 180 w 263"/>
                  <a:gd name="T61" fmla="*/ 126 h 263"/>
                  <a:gd name="T62" fmla="*/ 184 w 263"/>
                  <a:gd name="T63" fmla="*/ 131 h 263"/>
                  <a:gd name="T64" fmla="*/ 202 w 263"/>
                  <a:gd name="T65" fmla="*/ 127 h 263"/>
                  <a:gd name="T66" fmla="*/ 198 w 263"/>
                  <a:gd name="T67" fmla="*/ 86 h 263"/>
                  <a:gd name="T68" fmla="*/ 180 w 263"/>
                  <a:gd name="T69" fmla="*/ 90 h 263"/>
                  <a:gd name="T70" fmla="*/ 133 w 263"/>
                  <a:gd name="T71" fmla="*/ 126 h 263"/>
                  <a:gd name="T72" fmla="*/ 133 w 263"/>
                  <a:gd name="T73" fmla="*/ 126 h 263"/>
                  <a:gd name="T74" fmla="*/ 63 w 263"/>
                  <a:gd name="T75" fmla="*/ 39 h 263"/>
                  <a:gd name="T76" fmla="*/ 247 w 263"/>
                  <a:gd name="T77" fmla="*/ 132 h 263"/>
                  <a:gd name="T78" fmla="*/ 188 w 263"/>
                  <a:gd name="T79" fmla="*/ 123 h 263"/>
                  <a:gd name="T80" fmla="*/ 194 w 263"/>
                  <a:gd name="T81" fmla="*/ 94 h 263"/>
                  <a:gd name="T82" fmla="*/ 188 w 263"/>
                  <a:gd name="T83" fmla="*/ 12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3" h="263">
                    <a:moveTo>
                      <a:pt x="132" y="0"/>
                    </a:moveTo>
                    <a:cubicBezTo>
                      <a:pt x="59" y="0"/>
                      <a:pt x="0" y="59"/>
                      <a:pt x="0" y="132"/>
                    </a:cubicBezTo>
                    <a:cubicBezTo>
                      <a:pt x="0" y="204"/>
                      <a:pt x="59" y="263"/>
                      <a:pt x="132" y="263"/>
                    </a:cubicBezTo>
                    <a:cubicBezTo>
                      <a:pt x="204" y="263"/>
                      <a:pt x="263" y="204"/>
                      <a:pt x="263" y="132"/>
                    </a:cubicBezTo>
                    <a:cubicBezTo>
                      <a:pt x="263" y="59"/>
                      <a:pt x="204" y="0"/>
                      <a:pt x="132" y="0"/>
                    </a:cubicBezTo>
                    <a:close/>
                    <a:moveTo>
                      <a:pt x="132" y="247"/>
                    </a:moveTo>
                    <a:cubicBezTo>
                      <a:pt x="68" y="247"/>
                      <a:pt x="16" y="195"/>
                      <a:pt x="16" y="132"/>
                    </a:cubicBezTo>
                    <a:cubicBezTo>
                      <a:pt x="16" y="99"/>
                      <a:pt x="30" y="70"/>
                      <a:pt x="51" y="49"/>
                    </a:cubicBezTo>
                    <a:cubicBezTo>
                      <a:pt x="80" y="86"/>
                      <a:pt x="80" y="86"/>
                      <a:pt x="80" y="86"/>
                    </a:cubicBezTo>
                    <a:cubicBezTo>
                      <a:pt x="68" y="86"/>
                      <a:pt x="68" y="86"/>
                      <a:pt x="68" y="86"/>
                    </a:cubicBezTo>
                    <a:cubicBezTo>
                      <a:pt x="65" y="86"/>
                      <a:pt x="64" y="88"/>
                      <a:pt x="64" y="90"/>
                    </a:cubicBezTo>
                    <a:cubicBezTo>
                      <a:pt x="64" y="127"/>
                      <a:pt x="64" y="127"/>
                      <a:pt x="64" y="127"/>
                    </a:cubicBezTo>
                    <a:cubicBezTo>
                      <a:pt x="64" y="129"/>
                      <a:pt x="65" y="131"/>
                      <a:pt x="68" y="131"/>
                    </a:cubicBezTo>
                    <a:cubicBezTo>
                      <a:pt x="82" y="131"/>
                      <a:pt x="82" y="131"/>
                      <a:pt x="82" y="131"/>
                    </a:cubicBezTo>
                    <a:cubicBezTo>
                      <a:pt x="84" y="131"/>
                      <a:pt x="86" y="129"/>
                      <a:pt x="86" y="127"/>
                    </a:cubicBezTo>
                    <a:cubicBezTo>
                      <a:pt x="86" y="126"/>
                      <a:pt x="86" y="126"/>
                      <a:pt x="86" y="126"/>
                    </a:cubicBezTo>
                    <a:cubicBezTo>
                      <a:pt x="104" y="133"/>
                      <a:pt x="117" y="150"/>
                      <a:pt x="118" y="170"/>
                    </a:cubicBezTo>
                    <a:cubicBezTo>
                      <a:pt x="118" y="171"/>
                      <a:pt x="118" y="171"/>
                      <a:pt x="118" y="171"/>
                    </a:cubicBezTo>
                    <a:cubicBezTo>
                      <a:pt x="118" y="171"/>
                      <a:pt x="118" y="172"/>
                      <a:pt x="118" y="173"/>
                    </a:cubicBezTo>
                    <a:cubicBezTo>
                      <a:pt x="118" y="211"/>
                      <a:pt x="118" y="211"/>
                      <a:pt x="118" y="211"/>
                    </a:cubicBezTo>
                    <a:cubicBezTo>
                      <a:pt x="118" y="213"/>
                      <a:pt x="120" y="215"/>
                      <a:pt x="123" y="215"/>
                    </a:cubicBezTo>
                    <a:cubicBezTo>
                      <a:pt x="128" y="215"/>
                      <a:pt x="128" y="215"/>
                      <a:pt x="128" y="215"/>
                    </a:cubicBezTo>
                    <a:cubicBezTo>
                      <a:pt x="127" y="173"/>
                      <a:pt x="127" y="173"/>
                      <a:pt x="127" y="173"/>
                    </a:cubicBezTo>
                    <a:cubicBezTo>
                      <a:pt x="127" y="173"/>
                      <a:pt x="127" y="172"/>
                      <a:pt x="127" y="172"/>
                    </a:cubicBezTo>
                    <a:cubicBezTo>
                      <a:pt x="127" y="171"/>
                      <a:pt x="127" y="171"/>
                      <a:pt x="127" y="171"/>
                    </a:cubicBezTo>
                    <a:cubicBezTo>
                      <a:pt x="128" y="164"/>
                      <a:pt x="129" y="157"/>
                      <a:pt x="131" y="150"/>
                    </a:cubicBezTo>
                    <a:cubicBezTo>
                      <a:pt x="137" y="158"/>
                      <a:pt x="137" y="158"/>
                      <a:pt x="137" y="158"/>
                    </a:cubicBezTo>
                    <a:cubicBezTo>
                      <a:pt x="138" y="162"/>
                      <a:pt x="138" y="166"/>
                      <a:pt x="139" y="171"/>
                    </a:cubicBezTo>
                    <a:cubicBezTo>
                      <a:pt x="139" y="171"/>
                      <a:pt x="139" y="171"/>
                      <a:pt x="139" y="172"/>
                    </a:cubicBezTo>
                    <a:cubicBezTo>
                      <a:pt x="139" y="172"/>
                      <a:pt x="139" y="173"/>
                      <a:pt x="139" y="173"/>
                    </a:cubicBezTo>
                    <a:cubicBezTo>
                      <a:pt x="139" y="215"/>
                      <a:pt x="139" y="215"/>
                      <a:pt x="139" y="215"/>
                    </a:cubicBezTo>
                    <a:cubicBezTo>
                      <a:pt x="143" y="215"/>
                      <a:pt x="143" y="215"/>
                      <a:pt x="143" y="215"/>
                    </a:cubicBezTo>
                    <a:cubicBezTo>
                      <a:pt x="146" y="215"/>
                      <a:pt x="148" y="213"/>
                      <a:pt x="148" y="211"/>
                    </a:cubicBezTo>
                    <a:cubicBezTo>
                      <a:pt x="148" y="173"/>
                      <a:pt x="148" y="173"/>
                      <a:pt x="148" y="173"/>
                    </a:cubicBezTo>
                    <a:cubicBezTo>
                      <a:pt x="148" y="173"/>
                      <a:pt x="148" y="172"/>
                      <a:pt x="148" y="172"/>
                    </a:cubicBezTo>
                    <a:cubicBezTo>
                      <a:pt x="193" y="229"/>
                      <a:pt x="193" y="229"/>
                      <a:pt x="193" y="229"/>
                    </a:cubicBezTo>
                    <a:cubicBezTo>
                      <a:pt x="176" y="241"/>
                      <a:pt x="155" y="247"/>
                      <a:pt x="132" y="247"/>
                    </a:cubicBezTo>
                    <a:close/>
                    <a:moveTo>
                      <a:pt x="78" y="94"/>
                    </a:moveTo>
                    <a:cubicBezTo>
                      <a:pt x="78" y="123"/>
                      <a:pt x="78" y="123"/>
                      <a:pt x="78" y="123"/>
                    </a:cubicBezTo>
                    <a:cubicBezTo>
                      <a:pt x="72" y="123"/>
                      <a:pt x="72" y="123"/>
                      <a:pt x="72" y="123"/>
                    </a:cubicBezTo>
                    <a:cubicBezTo>
                      <a:pt x="72" y="94"/>
                      <a:pt x="72" y="94"/>
                      <a:pt x="72" y="94"/>
                    </a:cubicBezTo>
                    <a:lnTo>
                      <a:pt x="78" y="94"/>
                    </a:lnTo>
                    <a:close/>
                    <a:moveTo>
                      <a:pt x="99" y="109"/>
                    </a:moveTo>
                    <a:cubicBezTo>
                      <a:pt x="124" y="142"/>
                      <a:pt x="124" y="142"/>
                      <a:pt x="124" y="142"/>
                    </a:cubicBezTo>
                    <a:cubicBezTo>
                      <a:pt x="124" y="144"/>
                      <a:pt x="123" y="145"/>
                      <a:pt x="122" y="147"/>
                    </a:cubicBezTo>
                    <a:cubicBezTo>
                      <a:pt x="122" y="148"/>
                      <a:pt x="122" y="148"/>
                      <a:pt x="122" y="148"/>
                    </a:cubicBezTo>
                    <a:cubicBezTo>
                      <a:pt x="122" y="147"/>
                      <a:pt x="122" y="147"/>
                      <a:pt x="122" y="147"/>
                    </a:cubicBezTo>
                    <a:cubicBezTo>
                      <a:pt x="114" y="132"/>
                      <a:pt x="101" y="121"/>
                      <a:pt x="86" y="116"/>
                    </a:cubicBezTo>
                    <a:cubicBezTo>
                      <a:pt x="86" y="105"/>
                      <a:pt x="86" y="105"/>
                      <a:pt x="86" y="105"/>
                    </a:cubicBezTo>
                    <a:cubicBezTo>
                      <a:pt x="90" y="106"/>
                      <a:pt x="95" y="107"/>
                      <a:pt x="99" y="109"/>
                    </a:cubicBezTo>
                    <a:close/>
                    <a:moveTo>
                      <a:pt x="86" y="95"/>
                    </a:moveTo>
                    <a:cubicBezTo>
                      <a:pt x="86" y="93"/>
                      <a:pt x="86" y="93"/>
                      <a:pt x="86" y="93"/>
                    </a:cubicBezTo>
                    <a:cubicBezTo>
                      <a:pt x="88" y="96"/>
                      <a:pt x="88" y="96"/>
                      <a:pt x="88" y="96"/>
                    </a:cubicBezTo>
                    <a:cubicBezTo>
                      <a:pt x="87" y="96"/>
                      <a:pt x="86" y="95"/>
                      <a:pt x="86" y="95"/>
                    </a:cubicBezTo>
                    <a:close/>
                    <a:moveTo>
                      <a:pt x="139" y="134"/>
                    </a:moveTo>
                    <a:cubicBezTo>
                      <a:pt x="149" y="119"/>
                      <a:pt x="163" y="109"/>
                      <a:pt x="180" y="105"/>
                    </a:cubicBezTo>
                    <a:cubicBezTo>
                      <a:pt x="180" y="116"/>
                      <a:pt x="180" y="116"/>
                      <a:pt x="180" y="116"/>
                    </a:cubicBezTo>
                    <a:cubicBezTo>
                      <a:pt x="166" y="121"/>
                      <a:pt x="154" y="131"/>
                      <a:pt x="146" y="144"/>
                    </a:cubicBezTo>
                    <a:lnTo>
                      <a:pt x="139" y="134"/>
                    </a:lnTo>
                    <a:close/>
                    <a:moveTo>
                      <a:pt x="206" y="220"/>
                    </a:moveTo>
                    <a:cubicBezTo>
                      <a:pt x="153" y="152"/>
                      <a:pt x="153" y="152"/>
                      <a:pt x="153" y="152"/>
                    </a:cubicBezTo>
                    <a:cubicBezTo>
                      <a:pt x="158" y="140"/>
                      <a:pt x="168" y="131"/>
                      <a:pt x="180" y="126"/>
                    </a:cubicBezTo>
                    <a:cubicBezTo>
                      <a:pt x="180" y="127"/>
                      <a:pt x="180" y="127"/>
                      <a:pt x="180" y="127"/>
                    </a:cubicBezTo>
                    <a:cubicBezTo>
                      <a:pt x="180" y="129"/>
                      <a:pt x="182" y="131"/>
                      <a:pt x="184" y="131"/>
                    </a:cubicBezTo>
                    <a:cubicBezTo>
                      <a:pt x="198" y="131"/>
                      <a:pt x="198" y="131"/>
                      <a:pt x="198" y="131"/>
                    </a:cubicBezTo>
                    <a:cubicBezTo>
                      <a:pt x="201" y="131"/>
                      <a:pt x="202" y="129"/>
                      <a:pt x="202" y="127"/>
                    </a:cubicBezTo>
                    <a:cubicBezTo>
                      <a:pt x="202" y="90"/>
                      <a:pt x="202" y="90"/>
                      <a:pt x="202" y="90"/>
                    </a:cubicBezTo>
                    <a:cubicBezTo>
                      <a:pt x="202" y="88"/>
                      <a:pt x="201" y="86"/>
                      <a:pt x="198" y="86"/>
                    </a:cubicBezTo>
                    <a:cubicBezTo>
                      <a:pt x="184" y="86"/>
                      <a:pt x="184" y="86"/>
                      <a:pt x="184" y="86"/>
                    </a:cubicBezTo>
                    <a:cubicBezTo>
                      <a:pt x="182" y="86"/>
                      <a:pt x="180" y="88"/>
                      <a:pt x="180" y="90"/>
                    </a:cubicBezTo>
                    <a:cubicBezTo>
                      <a:pt x="180" y="95"/>
                      <a:pt x="180" y="95"/>
                      <a:pt x="180" y="95"/>
                    </a:cubicBezTo>
                    <a:cubicBezTo>
                      <a:pt x="162" y="99"/>
                      <a:pt x="145" y="110"/>
                      <a:pt x="133" y="126"/>
                    </a:cubicBezTo>
                    <a:cubicBezTo>
                      <a:pt x="133" y="126"/>
                      <a:pt x="133" y="126"/>
                      <a:pt x="133" y="126"/>
                    </a:cubicBezTo>
                    <a:cubicBezTo>
                      <a:pt x="133" y="126"/>
                      <a:pt x="133" y="126"/>
                      <a:pt x="133" y="126"/>
                    </a:cubicBezTo>
                    <a:cubicBezTo>
                      <a:pt x="131" y="123"/>
                      <a:pt x="128" y="120"/>
                      <a:pt x="126" y="118"/>
                    </a:cubicBezTo>
                    <a:cubicBezTo>
                      <a:pt x="63" y="39"/>
                      <a:pt x="63" y="39"/>
                      <a:pt x="63" y="39"/>
                    </a:cubicBezTo>
                    <a:cubicBezTo>
                      <a:pt x="83" y="25"/>
                      <a:pt x="106" y="16"/>
                      <a:pt x="132" y="16"/>
                    </a:cubicBezTo>
                    <a:cubicBezTo>
                      <a:pt x="196" y="16"/>
                      <a:pt x="247" y="68"/>
                      <a:pt x="247" y="132"/>
                    </a:cubicBezTo>
                    <a:cubicBezTo>
                      <a:pt x="247" y="167"/>
                      <a:pt x="231" y="199"/>
                      <a:pt x="206" y="220"/>
                    </a:cubicBezTo>
                    <a:close/>
                    <a:moveTo>
                      <a:pt x="188" y="123"/>
                    </a:moveTo>
                    <a:cubicBezTo>
                      <a:pt x="188" y="94"/>
                      <a:pt x="188" y="94"/>
                      <a:pt x="188" y="94"/>
                    </a:cubicBezTo>
                    <a:cubicBezTo>
                      <a:pt x="194" y="94"/>
                      <a:pt x="194" y="94"/>
                      <a:pt x="194" y="94"/>
                    </a:cubicBezTo>
                    <a:cubicBezTo>
                      <a:pt x="194" y="123"/>
                      <a:pt x="194" y="123"/>
                      <a:pt x="194" y="123"/>
                    </a:cubicBezTo>
                    <a:lnTo>
                      <a:pt x="188" y="12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a:extLst>
              <a:ext uri="{FF2B5EF4-FFF2-40B4-BE49-F238E27FC236}">
                <a16:creationId xmlns:a16="http://schemas.microsoft.com/office/drawing/2014/main" id="{9575040A-89FD-426F-BBA2-8DBF8CF1C59F}"/>
              </a:ext>
            </a:extLst>
          </p:cNvPr>
          <p:cNvGrpSpPr/>
          <p:nvPr/>
        </p:nvGrpSpPr>
        <p:grpSpPr>
          <a:xfrm>
            <a:off x="936509" y="830212"/>
            <a:ext cx="3052581" cy="786281"/>
            <a:chOff x="1093416" y="1524330"/>
            <a:chExt cx="3052581" cy="786281"/>
          </a:xfrm>
        </p:grpSpPr>
        <p:sp>
          <p:nvSpPr>
            <p:cNvPr id="23" name="TextBox 22">
              <a:extLst>
                <a:ext uri="{FF2B5EF4-FFF2-40B4-BE49-F238E27FC236}">
                  <a16:creationId xmlns:a16="http://schemas.microsoft.com/office/drawing/2014/main" id="{A0BE34C5-3D10-6246-B366-98F9EC8078CF}"/>
                </a:ext>
              </a:extLst>
            </p:cNvPr>
            <p:cNvSpPr txBox="1"/>
            <p:nvPr/>
          </p:nvSpPr>
          <p:spPr>
            <a:xfrm>
              <a:off x="1882070" y="1637338"/>
              <a:ext cx="2263927"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accent4"/>
                  </a:solidFill>
                  <a:effectLst/>
                  <a:uLnTx/>
                  <a:uFillTx/>
                  <a:latin typeface="+mj-lt"/>
                </a:rPr>
                <a:t>DO NOT APPLY</a:t>
              </a:r>
              <a:br>
                <a:rPr kumimoji="0" lang="en-US" b="0" i="0" u="none" strike="noStrike" kern="0" cap="none" spc="0" normalizeH="0" baseline="0" noProof="0">
                  <a:ln>
                    <a:noFill/>
                  </a:ln>
                  <a:solidFill>
                    <a:schemeClr val="accent4"/>
                  </a:solidFill>
                  <a:effectLst/>
                  <a:uLnTx/>
                  <a:uFillTx/>
                  <a:latin typeface="+mj-lt"/>
                </a:rPr>
              </a:br>
              <a:r>
                <a:rPr kumimoji="0" lang="en-US" b="0" i="0" u="none" strike="noStrike" kern="0" cap="none" spc="0" normalizeH="0" baseline="0" noProof="0">
                  <a:ln>
                    <a:noFill/>
                  </a:ln>
                  <a:solidFill>
                    <a:schemeClr val="accent4"/>
                  </a:solidFill>
                  <a:effectLst/>
                  <a:uLnTx/>
                  <a:uFillTx/>
                  <a:latin typeface="+mj-lt"/>
                </a:rPr>
                <a:t>THIS PRODUCT:</a:t>
              </a:r>
              <a:endParaRPr kumimoji="0" lang="en-US" b="0" i="0" u="none" strike="noStrike" kern="0" cap="none" spc="0" normalizeH="0" baseline="0" noProof="0">
                <a:ln>
                  <a:noFill/>
                </a:ln>
                <a:solidFill>
                  <a:schemeClr val="accent4"/>
                </a:solidFill>
                <a:effectLst/>
                <a:uLnTx/>
                <a:uFillTx/>
              </a:endParaRPr>
            </a:p>
          </p:txBody>
        </p:sp>
        <p:grpSp>
          <p:nvGrpSpPr>
            <p:cNvPr id="69" name="Group 68">
              <a:extLst>
                <a:ext uri="{FF2B5EF4-FFF2-40B4-BE49-F238E27FC236}">
                  <a16:creationId xmlns:a16="http://schemas.microsoft.com/office/drawing/2014/main" id="{E88749BD-B0E6-43BE-8426-2E3360305129}"/>
                </a:ext>
              </a:extLst>
            </p:cNvPr>
            <p:cNvGrpSpPr/>
            <p:nvPr/>
          </p:nvGrpSpPr>
          <p:grpSpPr>
            <a:xfrm>
              <a:off x="1093416" y="1524330"/>
              <a:ext cx="785178" cy="786281"/>
              <a:chOff x="12217401" y="2098676"/>
              <a:chExt cx="1125538" cy="1127125"/>
            </a:xfrm>
            <a:solidFill>
              <a:schemeClr val="accent4"/>
            </a:solidFill>
          </p:grpSpPr>
          <p:sp>
            <p:nvSpPr>
              <p:cNvPr id="70" name="Freeform 20">
                <a:extLst>
                  <a:ext uri="{FF2B5EF4-FFF2-40B4-BE49-F238E27FC236}">
                    <a16:creationId xmlns:a16="http://schemas.microsoft.com/office/drawing/2014/main" id="{4F9674C6-ADC3-4A4E-8744-E27C3AE11497}"/>
                  </a:ext>
                </a:extLst>
              </p:cNvPr>
              <p:cNvSpPr>
                <a:spLocks/>
              </p:cNvSpPr>
              <p:nvPr/>
            </p:nvSpPr>
            <p:spPr bwMode="auto">
              <a:xfrm>
                <a:off x="12871451" y="2373313"/>
                <a:ext cx="52388" cy="25400"/>
              </a:xfrm>
              <a:custGeom>
                <a:avLst/>
                <a:gdLst>
                  <a:gd name="T0" fmla="*/ 9 w 12"/>
                  <a:gd name="T1" fmla="*/ 0 h 6"/>
                  <a:gd name="T2" fmla="*/ 3 w 12"/>
                  <a:gd name="T3" fmla="*/ 0 h 6"/>
                  <a:gd name="T4" fmla="*/ 0 w 12"/>
                  <a:gd name="T5" fmla="*/ 3 h 6"/>
                  <a:gd name="T6" fmla="*/ 3 w 12"/>
                  <a:gd name="T7" fmla="*/ 6 h 6"/>
                  <a:gd name="T8" fmla="*/ 9 w 12"/>
                  <a:gd name="T9" fmla="*/ 6 h 6"/>
                  <a:gd name="T10" fmla="*/ 12 w 12"/>
                  <a:gd name="T11" fmla="*/ 3 h 6"/>
                  <a:gd name="T12" fmla="*/ 9 w 1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9" y="0"/>
                    </a:moveTo>
                    <a:cubicBezTo>
                      <a:pt x="3" y="0"/>
                      <a:pt x="3" y="0"/>
                      <a:pt x="3" y="0"/>
                    </a:cubicBezTo>
                    <a:cubicBezTo>
                      <a:pt x="1" y="0"/>
                      <a:pt x="0" y="1"/>
                      <a:pt x="0" y="3"/>
                    </a:cubicBezTo>
                    <a:cubicBezTo>
                      <a:pt x="0" y="4"/>
                      <a:pt x="1" y="6"/>
                      <a:pt x="3" y="6"/>
                    </a:cubicBezTo>
                    <a:cubicBezTo>
                      <a:pt x="9" y="6"/>
                      <a:pt x="9" y="6"/>
                      <a:pt x="9" y="6"/>
                    </a:cubicBezTo>
                    <a:cubicBezTo>
                      <a:pt x="11" y="6"/>
                      <a:pt x="12" y="4"/>
                      <a:pt x="12" y="3"/>
                    </a:cubicBezTo>
                    <a:cubicBezTo>
                      <a:pt x="12" y="1"/>
                      <a:pt x="11"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1">
                <a:extLst>
                  <a:ext uri="{FF2B5EF4-FFF2-40B4-BE49-F238E27FC236}">
                    <a16:creationId xmlns:a16="http://schemas.microsoft.com/office/drawing/2014/main" id="{F3C84240-A90B-4560-8C73-7B679F9B19A2}"/>
                  </a:ext>
                </a:extLst>
              </p:cNvPr>
              <p:cNvSpPr>
                <a:spLocks noEditPoints="1"/>
              </p:cNvSpPr>
              <p:nvPr/>
            </p:nvSpPr>
            <p:spPr bwMode="auto">
              <a:xfrm>
                <a:off x="12217401" y="2098676"/>
                <a:ext cx="1125538" cy="1127125"/>
              </a:xfrm>
              <a:custGeom>
                <a:avLst/>
                <a:gdLst>
                  <a:gd name="T0" fmla="*/ 51 w 263"/>
                  <a:gd name="T1" fmla="*/ 28 h 263"/>
                  <a:gd name="T2" fmla="*/ 0 w 263"/>
                  <a:gd name="T3" fmla="*/ 132 h 263"/>
                  <a:gd name="T4" fmla="*/ 214 w 263"/>
                  <a:gd name="T5" fmla="*/ 235 h 263"/>
                  <a:gd name="T6" fmla="*/ 247 w 263"/>
                  <a:gd name="T7" fmla="*/ 132 h 263"/>
                  <a:gd name="T8" fmla="*/ 181 w 263"/>
                  <a:gd name="T9" fmla="*/ 85 h 263"/>
                  <a:gd name="T10" fmla="*/ 177 w 263"/>
                  <a:gd name="T11" fmla="*/ 67 h 263"/>
                  <a:gd name="T12" fmla="*/ 177 w 263"/>
                  <a:gd name="T13" fmla="*/ 60 h 263"/>
                  <a:gd name="T14" fmla="*/ 147 w 263"/>
                  <a:gd name="T15" fmla="*/ 53 h 263"/>
                  <a:gd name="T16" fmla="*/ 141 w 263"/>
                  <a:gd name="T17" fmla="*/ 61 h 263"/>
                  <a:gd name="T18" fmla="*/ 103 w 263"/>
                  <a:gd name="T19" fmla="*/ 53 h 263"/>
                  <a:gd name="T20" fmla="*/ 132 w 263"/>
                  <a:gd name="T21" fmla="*/ 16 h 263"/>
                  <a:gd name="T22" fmla="*/ 86 w 263"/>
                  <a:gd name="T23" fmla="*/ 110 h 263"/>
                  <a:gd name="T24" fmla="*/ 92 w 263"/>
                  <a:gd name="T25" fmla="*/ 95 h 263"/>
                  <a:gd name="T26" fmla="*/ 104 w 263"/>
                  <a:gd name="T27" fmla="*/ 109 h 263"/>
                  <a:gd name="T28" fmla="*/ 93 w 263"/>
                  <a:gd name="T29" fmla="*/ 124 h 263"/>
                  <a:gd name="T30" fmla="*/ 154 w 263"/>
                  <a:gd name="T31" fmla="*/ 192 h 263"/>
                  <a:gd name="T32" fmla="*/ 173 w 263"/>
                  <a:gd name="T33" fmla="*/ 197 h 263"/>
                  <a:gd name="T34" fmla="*/ 86 w 263"/>
                  <a:gd name="T35" fmla="*/ 197 h 263"/>
                  <a:gd name="T36" fmla="*/ 102 w 263"/>
                  <a:gd name="T37" fmla="*/ 81 h 263"/>
                  <a:gd name="T38" fmla="*/ 128 w 263"/>
                  <a:gd name="T39" fmla="*/ 77 h 263"/>
                  <a:gd name="T40" fmla="*/ 138 w 263"/>
                  <a:gd name="T41" fmla="*/ 83 h 263"/>
                  <a:gd name="T42" fmla="*/ 114 w 263"/>
                  <a:gd name="T43" fmla="*/ 97 h 263"/>
                  <a:gd name="T44" fmla="*/ 134 w 263"/>
                  <a:gd name="T45" fmla="*/ 121 h 263"/>
                  <a:gd name="T46" fmla="*/ 157 w 263"/>
                  <a:gd name="T47" fmla="*/ 151 h 263"/>
                  <a:gd name="T48" fmla="*/ 154 w 263"/>
                  <a:gd name="T49" fmla="*/ 184 h 263"/>
                  <a:gd name="T50" fmla="*/ 101 w 263"/>
                  <a:gd name="T51" fmla="*/ 124 h 263"/>
                  <a:gd name="T52" fmla="*/ 157 w 263"/>
                  <a:gd name="T53" fmla="*/ 176 h 263"/>
                  <a:gd name="T54" fmla="*/ 154 w 263"/>
                  <a:gd name="T55" fmla="*/ 113 h 263"/>
                  <a:gd name="T56" fmla="*/ 142 w 263"/>
                  <a:gd name="T57" fmla="*/ 92 h 263"/>
                  <a:gd name="T58" fmla="*/ 136 w 263"/>
                  <a:gd name="T59" fmla="*/ 73 h 263"/>
                  <a:gd name="T60" fmla="*/ 96 w 263"/>
                  <a:gd name="T61" fmla="*/ 74 h 263"/>
                  <a:gd name="T62" fmla="*/ 128 w 263"/>
                  <a:gd name="T63" fmla="*/ 61 h 263"/>
                  <a:gd name="T64" fmla="*/ 146 w 263"/>
                  <a:gd name="T65" fmla="*/ 71 h 263"/>
                  <a:gd name="T66" fmla="*/ 150 w 263"/>
                  <a:gd name="T67" fmla="*/ 64 h 263"/>
                  <a:gd name="T68" fmla="*/ 169 w 263"/>
                  <a:gd name="T69" fmla="*/ 61 h 263"/>
                  <a:gd name="T70" fmla="*/ 169 w 263"/>
                  <a:gd name="T71" fmla="*/ 67 h 263"/>
                  <a:gd name="T72" fmla="*/ 165 w 263"/>
                  <a:gd name="T73" fmla="*/ 75 h 263"/>
                  <a:gd name="T74" fmla="*/ 173 w 263"/>
                  <a:gd name="T75" fmla="*/ 170 h 263"/>
                  <a:gd name="T76" fmla="*/ 149 w 263"/>
                  <a:gd name="T77" fmla="*/ 60 h 263"/>
                  <a:gd name="T78" fmla="*/ 145 w 263"/>
                  <a:gd name="T79" fmla="*/ 60 h 263"/>
                  <a:gd name="T80" fmla="*/ 80 w 263"/>
                  <a:gd name="T81" fmla="*/ 80 h 263"/>
                  <a:gd name="T82" fmla="*/ 78 w 263"/>
                  <a:gd name="T83" fmla="*/ 197 h 263"/>
                  <a:gd name="T84" fmla="*/ 179 w 263"/>
                  <a:gd name="T85" fmla="*/ 204 h 263"/>
                  <a:gd name="T86" fmla="*/ 16 w 263"/>
                  <a:gd name="T87" fmla="*/ 13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3">
                    <a:moveTo>
                      <a:pt x="263" y="132"/>
                    </a:moveTo>
                    <a:cubicBezTo>
                      <a:pt x="263" y="59"/>
                      <a:pt x="204" y="0"/>
                      <a:pt x="132" y="0"/>
                    </a:cubicBezTo>
                    <a:cubicBezTo>
                      <a:pt x="101" y="0"/>
                      <a:pt x="73" y="11"/>
                      <a:pt x="51" y="28"/>
                    </a:cubicBezTo>
                    <a:cubicBezTo>
                      <a:pt x="50" y="28"/>
                      <a:pt x="50" y="29"/>
                      <a:pt x="50" y="29"/>
                    </a:cubicBezTo>
                    <a:cubicBezTo>
                      <a:pt x="50" y="29"/>
                      <a:pt x="50" y="29"/>
                      <a:pt x="49" y="29"/>
                    </a:cubicBezTo>
                    <a:cubicBezTo>
                      <a:pt x="19" y="54"/>
                      <a:pt x="0" y="90"/>
                      <a:pt x="0" y="132"/>
                    </a:cubicBezTo>
                    <a:cubicBezTo>
                      <a:pt x="0" y="204"/>
                      <a:pt x="59" y="263"/>
                      <a:pt x="132" y="263"/>
                    </a:cubicBezTo>
                    <a:cubicBezTo>
                      <a:pt x="163" y="263"/>
                      <a:pt x="191" y="253"/>
                      <a:pt x="213" y="235"/>
                    </a:cubicBezTo>
                    <a:cubicBezTo>
                      <a:pt x="213" y="235"/>
                      <a:pt x="214" y="235"/>
                      <a:pt x="214" y="235"/>
                    </a:cubicBezTo>
                    <a:cubicBezTo>
                      <a:pt x="214" y="234"/>
                      <a:pt x="214" y="234"/>
                      <a:pt x="214" y="234"/>
                    </a:cubicBezTo>
                    <a:cubicBezTo>
                      <a:pt x="244" y="210"/>
                      <a:pt x="263" y="173"/>
                      <a:pt x="263" y="132"/>
                    </a:cubicBezTo>
                    <a:close/>
                    <a:moveTo>
                      <a:pt x="247" y="132"/>
                    </a:moveTo>
                    <a:cubicBezTo>
                      <a:pt x="247" y="165"/>
                      <a:pt x="233" y="196"/>
                      <a:pt x="210" y="217"/>
                    </a:cubicBezTo>
                    <a:cubicBezTo>
                      <a:pt x="181" y="180"/>
                      <a:pt x="181" y="180"/>
                      <a:pt x="181" y="180"/>
                    </a:cubicBezTo>
                    <a:cubicBezTo>
                      <a:pt x="181" y="85"/>
                      <a:pt x="181" y="85"/>
                      <a:pt x="181" y="85"/>
                    </a:cubicBezTo>
                    <a:cubicBezTo>
                      <a:pt x="181" y="85"/>
                      <a:pt x="181" y="84"/>
                      <a:pt x="181" y="84"/>
                    </a:cubicBezTo>
                    <a:cubicBezTo>
                      <a:pt x="180" y="78"/>
                      <a:pt x="178" y="74"/>
                      <a:pt x="175" y="72"/>
                    </a:cubicBezTo>
                    <a:cubicBezTo>
                      <a:pt x="177" y="70"/>
                      <a:pt x="177" y="68"/>
                      <a:pt x="177" y="67"/>
                    </a:cubicBezTo>
                    <a:cubicBezTo>
                      <a:pt x="177" y="67"/>
                      <a:pt x="177" y="67"/>
                      <a:pt x="177" y="67"/>
                    </a:cubicBezTo>
                    <a:cubicBezTo>
                      <a:pt x="177" y="66"/>
                      <a:pt x="177" y="66"/>
                      <a:pt x="177" y="65"/>
                    </a:cubicBezTo>
                    <a:cubicBezTo>
                      <a:pt x="177" y="60"/>
                      <a:pt x="177" y="60"/>
                      <a:pt x="177" y="60"/>
                    </a:cubicBezTo>
                    <a:cubicBezTo>
                      <a:pt x="177" y="59"/>
                      <a:pt x="177" y="57"/>
                      <a:pt x="176" y="56"/>
                    </a:cubicBezTo>
                    <a:cubicBezTo>
                      <a:pt x="176" y="54"/>
                      <a:pt x="173" y="53"/>
                      <a:pt x="171" y="53"/>
                    </a:cubicBezTo>
                    <a:cubicBezTo>
                      <a:pt x="147" y="53"/>
                      <a:pt x="147" y="53"/>
                      <a:pt x="147" y="53"/>
                    </a:cubicBezTo>
                    <a:cubicBezTo>
                      <a:pt x="145" y="53"/>
                      <a:pt x="143" y="54"/>
                      <a:pt x="142" y="57"/>
                    </a:cubicBezTo>
                    <a:cubicBezTo>
                      <a:pt x="141" y="58"/>
                      <a:pt x="141" y="59"/>
                      <a:pt x="141" y="60"/>
                    </a:cubicBezTo>
                    <a:cubicBezTo>
                      <a:pt x="141" y="61"/>
                      <a:pt x="141" y="61"/>
                      <a:pt x="141" y="61"/>
                    </a:cubicBezTo>
                    <a:cubicBezTo>
                      <a:pt x="141" y="61"/>
                      <a:pt x="141" y="61"/>
                      <a:pt x="141" y="61"/>
                    </a:cubicBezTo>
                    <a:cubicBezTo>
                      <a:pt x="136" y="54"/>
                      <a:pt x="130" y="53"/>
                      <a:pt x="127" y="53"/>
                    </a:cubicBezTo>
                    <a:cubicBezTo>
                      <a:pt x="103" y="53"/>
                      <a:pt x="103" y="53"/>
                      <a:pt x="103" y="53"/>
                    </a:cubicBezTo>
                    <a:cubicBezTo>
                      <a:pt x="95" y="53"/>
                      <a:pt x="90" y="57"/>
                      <a:pt x="86" y="62"/>
                    </a:cubicBezTo>
                    <a:cubicBezTo>
                      <a:pt x="66" y="37"/>
                      <a:pt x="66" y="37"/>
                      <a:pt x="66" y="37"/>
                    </a:cubicBezTo>
                    <a:cubicBezTo>
                      <a:pt x="85" y="24"/>
                      <a:pt x="108" y="16"/>
                      <a:pt x="132" y="16"/>
                    </a:cubicBezTo>
                    <a:cubicBezTo>
                      <a:pt x="196" y="16"/>
                      <a:pt x="247" y="68"/>
                      <a:pt x="247" y="132"/>
                    </a:cubicBezTo>
                    <a:close/>
                    <a:moveTo>
                      <a:pt x="86" y="119"/>
                    </a:moveTo>
                    <a:cubicBezTo>
                      <a:pt x="86" y="118"/>
                      <a:pt x="85" y="115"/>
                      <a:pt x="86" y="110"/>
                    </a:cubicBezTo>
                    <a:cubicBezTo>
                      <a:pt x="86" y="104"/>
                      <a:pt x="86" y="96"/>
                      <a:pt x="87" y="89"/>
                    </a:cubicBezTo>
                    <a:cubicBezTo>
                      <a:pt x="92" y="95"/>
                      <a:pt x="92" y="95"/>
                      <a:pt x="92" y="95"/>
                    </a:cubicBezTo>
                    <a:cubicBezTo>
                      <a:pt x="92" y="95"/>
                      <a:pt x="92" y="95"/>
                      <a:pt x="92" y="95"/>
                    </a:cubicBezTo>
                    <a:cubicBezTo>
                      <a:pt x="92" y="95"/>
                      <a:pt x="92" y="95"/>
                      <a:pt x="92" y="95"/>
                    </a:cubicBezTo>
                    <a:cubicBezTo>
                      <a:pt x="91" y="102"/>
                      <a:pt x="95" y="105"/>
                      <a:pt x="95" y="105"/>
                    </a:cubicBezTo>
                    <a:cubicBezTo>
                      <a:pt x="98" y="108"/>
                      <a:pt x="101" y="109"/>
                      <a:pt x="104" y="109"/>
                    </a:cubicBezTo>
                    <a:cubicBezTo>
                      <a:pt x="107" y="113"/>
                      <a:pt x="107" y="113"/>
                      <a:pt x="107" y="113"/>
                    </a:cubicBezTo>
                    <a:cubicBezTo>
                      <a:pt x="104" y="113"/>
                      <a:pt x="104" y="113"/>
                      <a:pt x="104" y="113"/>
                    </a:cubicBezTo>
                    <a:cubicBezTo>
                      <a:pt x="98" y="113"/>
                      <a:pt x="93" y="118"/>
                      <a:pt x="93" y="124"/>
                    </a:cubicBezTo>
                    <a:cubicBezTo>
                      <a:pt x="93" y="181"/>
                      <a:pt x="93" y="181"/>
                      <a:pt x="93" y="181"/>
                    </a:cubicBezTo>
                    <a:cubicBezTo>
                      <a:pt x="93" y="187"/>
                      <a:pt x="98" y="192"/>
                      <a:pt x="104" y="192"/>
                    </a:cubicBezTo>
                    <a:cubicBezTo>
                      <a:pt x="154" y="192"/>
                      <a:pt x="154" y="192"/>
                      <a:pt x="154" y="192"/>
                    </a:cubicBezTo>
                    <a:cubicBezTo>
                      <a:pt x="159" y="192"/>
                      <a:pt x="163" y="189"/>
                      <a:pt x="164" y="185"/>
                    </a:cubicBezTo>
                    <a:cubicBezTo>
                      <a:pt x="173" y="196"/>
                      <a:pt x="173" y="196"/>
                      <a:pt x="173" y="196"/>
                    </a:cubicBezTo>
                    <a:cubicBezTo>
                      <a:pt x="173" y="197"/>
                      <a:pt x="173" y="197"/>
                      <a:pt x="173" y="197"/>
                    </a:cubicBezTo>
                    <a:cubicBezTo>
                      <a:pt x="173" y="199"/>
                      <a:pt x="172" y="200"/>
                      <a:pt x="170" y="200"/>
                    </a:cubicBezTo>
                    <a:cubicBezTo>
                      <a:pt x="88" y="200"/>
                      <a:pt x="88" y="200"/>
                      <a:pt x="88" y="200"/>
                    </a:cubicBezTo>
                    <a:cubicBezTo>
                      <a:pt x="87" y="200"/>
                      <a:pt x="86" y="199"/>
                      <a:pt x="86" y="197"/>
                    </a:cubicBezTo>
                    <a:cubicBezTo>
                      <a:pt x="86" y="119"/>
                      <a:pt x="86" y="119"/>
                      <a:pt x="86" y="119"/>
                    </a:cubicBezTo>
                    <a:cubicBezTo>
                      <a:pt x="86" y="119"/>
                      <a:pt x="86" y="119"/>
                      <a:pt x="86" y="119"/>
                    </a:cubicBezTo>
                    <a:close/>
                    <a:moveTo>
                      <a:pt x="102" y="81"/>
                    </a:moveTo>
                    <a:cubicBezTo>
                      <a:pt x="102" y="80"/>
                      <a:pt x="102" y="80"/>
                      <a:pt x="102" y="80"/>
                    </a:cubicBezTo>
                    <a:cubicBezTo>
                      <a:pt x="102" y="80"/>
                      <a:pt x="102" y="77"/>
                      <a:pt x="105" y="77"/>
                    </a:cubicBezTo>
                    <a:cubicBezTo>
                      <a:pt x="128" y="77"/>
                      <a:pt x="128" y="77"/>
                      <a:pt x="128" y="77"/>
                    </a:cubicBezTo>
                    <a:cubicBezTo>
                      <a:pt x="128" y="77"/>
                      <a:pt x="129" y="77"/>
                      <a:pt x="131" y="78"/>
                    </a:cubicBezTo>
                    <a:cubicBezTo>
                      <a:pt x="131" y="79"/>
                      <a:pt x="134" y="82"/>
                      <a:pt x="138" y="83"/>
                    </a:cubicBezTo>
                    <a:cubicBezTo>
                      <a:pt x="138" y="83"/>
                      <a:pt x="138" y="83"/>
                      <a:pt x="138" y="83"/>
                    </a:cubicBezTo>
                    <a:cubicBezTo>
                      <a:pt x="138" y="83"/>
                      <a:pt x="138" y="83"/>
                      <a:pt x="138" y="84"/>
                    </a:cubicBezTo>
                    <a:cubicBezTo>
                      <a:pt x="138" y="84"/>
                      <a:pt x="138" y="85"/>
                      <a:pt x="138" y="85"/>
                    </a:cubicBezTo>
                    <a:cubicBezTo>
                      <a:pt x="114" y="97"/>
                      <a:pt x="114" y="97"/>
                      <a:pt x="114" y="97"/>
                    </a:cubicBezTo>
                    <a:lnTo>
                      <a:pt x="102" y="81"/>
                    </a:lnTo>
                    <a:close/>
                    <a:moveTo>
                      <a:pt x="157" y="151"/>
                    </a:moveTo>
                    <a:cubicBezTo>
                      <a:pt x="134" y="121"/>
                      <a:pt x="134" y="121"/>
                      <a:pt x="134" y="121"/>
                    </a:cubicBezTo>
                    <a:cubicBezTo>
                      <a:pt x="154" y="121"/>
                      <a:pt x="154" y="121"/>
                      <a:pt x="154" y="121"/>
                    </a:cubicBezTo>
                    <a:cubicBezTo>
                      <a:pt x="156" y="121"/>
                      <a:pt x="157" y="123"/>
                      <a:pt x="157" y="124"/>
                    </a:cubicBezTo>
                    <a:lnTo>
                      <a:pt x="157" y="151"/>
                    </a:lnTo>
                    <a:close/>
                    <a:moveTo>
                      <a:pt x="157" y="176"/>
                    </a:moveTo>
                    <a:cubicBezTo>
                      <a:pt x="157" y="181"/>
                      <a:pt x="157" y="181"/>
                      <a:pt x="157" y="181"/>
                    </a:cubicBezTo>
                    <a:cubicBezTo>
                      <a:pt x="157" y="183"/>
                      <a:pt x="156" y="184"/>
                      <a:pt x="154" y="184"/>
                    </a:cubicBezTo>
                    <a:cubicBezTo>
                      <a:pt x="104" y="184"/>
                      <a:pt x="104" y="184"/>
                      <a:pt x="104" y="184"/>
                    </a:cubicBezTo>
                    <a:cubicBezTo>
                      <a:pt x="102" y="184"/>
                      <a:pt x="101" y="183"/>
                      <a:pt x="101" y="181"/>
                    </a:cubicBezTo>
                    <a:cubicBezTo>
                      <a:pt x="101" y="124"/>
                      <a:pt x="101" y="124"/>
                      <a:pt x="101" y="124"/>
                    </a:cubicBezTo>
                    <a:cubicBezTo>
                      <a:pt x="101" y="123"/>
                      <a:pt x="102" y="121"/>
                      <a:pt x="104" y="121"/>
                    </a:cubicBezTo>
                    <a:cubicBezTo>
                      <a:pt x="113" y="121"/>
                      <a:pt x="113" y="121"/>
                      <a:pt x="113" y="121"/>
                    </a:cubicBezTo>
                    <a:lnTo>
                      <a:pt x="157" y="176"/>
                    </a:lnTo>
                    <a:close/>
                    <a:moveTo>
                      <a:pt x="165" y="161"/>
                    </a:moveTo>
                    <a:cubicBezTo>
                      <a:pt x="165" y="124"/>
                      <a:pt x="165" y="124"/>
                      <a:pt x="165" y="124"/>
                    </a:cubicBezTo>
                    <a:cubicBezTo>
                      <a:pt x="165" y="118"/>
                      <a:pt x="160" y="113"/>
                      <a:pt x="154" y="113"/>
                    </a:cubicBezTo>
                    <a:cubicBezTo>
                      <a:pt x="127" y="113"/>
                      <a:pt x="127" y="113"/>
                      <a:pt x="127" y="113"/>
                    </a:cubicBezTo>
                    <a:cubicBezTo>
                      <a:pt x="120" y="103"/>
                      <a:pt x="120" y="103"/>
                      <a:pt x="120" y="103"/>
                    </a:cubicBezTo>
                    <a:cubicBezTo>
                      <a:pt x="142" y="92"/>
                      <a:pt x="142" y="92"/>
                      <a:pt x="142" y="92"/>
                    </a:cubicBezTo>
                    <a:cubicBezTo>
                      <a:pt x="146" y="89"/>
                      <a:pt x="146" y="84"/>
                      <a:pt x="146" y="84"/>
                    </a:cubicBezTo>
                    <a:cubicBezTo>
                      <a:pt x="146" y="78"/>
                      <a:pt x="143" y="76"/>
                      <a:pt x="140" y="75"/>
                    </a:cubicBezTo>
                    <a:cubicBezTo>
                      <a:pt x="139" y="75"/>
                      <a:pt x="137" y="73"/>
                      <a:pt x="136" y="73"/>
                    </a:cubicBezTo>
                    <a:cubicBezTo>
                      <a:pt x="132" y="69"/>
                      <a:pt x="128" y="69"/>
                      <a:pt x="128" y="69"/>
                    </a:cubicBezTo>
                    <a:cubicBezTo>
                      <a:pt x="105" y="69"/>
                      <a:pt x="105" y="69"/>
                      <a:pt x="105" y="69"/>
                    </a:cubicBezTo>
                    <a:cubicBezTo>
                      <a:pt x="100" y="69"/>
                      <a:pt x="98" y="71"/>
                      <a:pt x="96" y="74"/>
                    </a:cubicBezTo>
                    <a:cubicBezTo>
                      <a:pt x="92" y="69"/>
                      <a:pt x="92" y="69"/>
                      <a:pt x="92" y="69"/>
                    </a:cubicBezTo>
                    <a:cubicBezTo>
                      <a:pt x="93" y="65"/>
                      <a:pt x="97" y="61"/>
                      <a:pt x="103" y="61"/>
                    </a:cubicBezTo>
                    <a:cubicBezTo>
                      <a:pt x="128" y="61"/>
                      <a:pt x="128" y="61"/>
                      <a:pt x="128" y="61"/>
                    </a:cubicBezTo>
                    <a:cubicBezTo>
                      <a:pt x="128" y="61"/>
                      <a:pt x="128" y="61"/>
                      <a:pt x="128" y="61"/>
                    </a:cubicBezTo>
                    <a:cubicBezTo>
                      <a:pt x="128" y="61"/>
                      <a:pt x="131" y="61"/>
                      <a:pt x="134" y="65"/>
                    </a:cubicBezTo>
                    <a:cubicBezTo>
                      <a:pt x="136" y="67"/>
                      <a:pt x="140" y="71"/>
                      <a:pt x="146" y="71"/>
                    </a:cubicBezTo>
                    <a:cubicBezTo>
                      <a:pt x="148" y="71"/>
                      <a:pt x="150" y="70"/>
                      <a:pt x="150" y="68"/>
                    </a:cubicBezTo>
                    <a:cubicBezTo>
                      <a:pt x="150" y="68"/>
                      <a:pt x="151" y="67"/>
                      <a:pt x="151" y="67"/>
                    </a:cubicBezTo>
                    <a:cubicBezTo>
                      <a:pt x="151" y="66"/>
                      <a:pt x="151" y="65"/>
                      <a:pt x="150" y="64"/>
                    </a:cubicBezTo>
                    <a:cubicBezTo>
                      <a:pt x="150" y="64"/>
                      <a:pt x="150" y="63"/>
                      <a:pt x="149" y="63"/>
                    </a:cubicBezTo>
                    <a:cubicBezTo>
                      <a:pt x="149" y="61"/>
                      <a:pt x="149" y="61"/>
                      <a:pt x="149" y="61"/>
                    </a:cubicBezTo>
                    <a:cubicBezTo>
                      <a:pt x="169" y="61"/>
                      <a:pt x="169" y="61"/>
                      <a:pt x="169" y="61"/>
                    </a:cubicBezTo>
                    <a:cubicBezTo>
                      <a:pt x="169" y="61"/>
                      <a:pt x="169" y="61"/>
                      <a:pt x="169" y="61"/>
                    </a:cubicBezTo>
                    <a:cubicBezTo>
                      <a:pt x="169" y="64"/>
                      <a:pt x="169" y="64"/>
                      <a:pt x="169" y="64"/>
                    </a:cubicBezTo>
                    <a:cubicBezTo>
                      <a:pt x="169" y="65"/>
                      <a:pt x="169" y="66"/>
                      <a:pt x="169" y="67"/>
                    </a:cubicBezTo>
                    <a:cubicBezTo>
                      <a:pt x="169" y="67"/>
                      <a:pt x="168" y="68"/>
                      <a:pt x="168" y="68"/>
                    </a:cubicBezTo>
                    <a:cubicBezTo>
                      <a:pt x="166" y="70"/>
                      <a:pt x="166" y="70"/>
                      <a:pt x="166" y="70"/>
                    </a:cubicBezTo>
                    <a:cubicBezTo>
                      <a:pt x="165" y="71"/>
                      <a:pt x="164" y="73"/>
                      <a:pt x="165" y="75"/>
                    </a:cubicBezTo>
                    <a:cubicBezTo>
                      <a:pt x="166" y="76"/>
                      <a:pt x="167" y="77"/>
                      <a:pt x="169" y="77"/>
                    </a:cubicBezTo>
                    <a:cubicBezTo>
                      <a:pt x="170" y="77"/>
                      <a:pt x="172" y="79"/>
                      <a:pt x="173" y="85"/>
                    </a:cubicBezTo>
                    <a:cubicBezTo>
                      <a:pt x="173" y="170"/>
                      <a:pt x="173" y="170"/>
                      <a:pt x="173" y="170"/>
                    </a:cubicBezTo>
                    <a:lnTo>
                      <a:pt x="165" y="161"/>
                    </a:lnTo>
                    <a:close/>
                    <a:moveTo>
                      <a:pt x="145" y="60"/>
                    </a:moveTo>
                    <a:cubicBezTo>
                      <a:pt x="149" y="60"/>
                      <a:pt x="149" y="60"/>
                      <a:pt x="149" y="60"/>
                    </a:cubicBezTo>
                    <a:cubicBezTo>
                      <a:pt x="149" y="60"/>
                      <a:pt x="149" y="60"/>
                      <a:pt x="149" y="60"/>
                    </a:cubicBezTo>
                    <a:cubicBezTo>
                      <a:pt x="149" y="60"/>
                      <a:pt x="149" y="60"/>
                      <a:pt x="149" y="60"/>
                    </a:cubicBezTo>
                    <a:lnTo>
                      <a:pt x="145" y="60"/>
                    </a:lnTo>
                    <a:close/>
                    <a:moveTo>
                      <a:pt x="16" y="132"/>
                    </a:moveTo>
                    <a:cubicBezTo>
                      <a:pt x="16" y="98"/>
                      <a:pt x="31" y="68"/>
                      <a:pt x="54" y="47"/>
                    </a:cubicBezTo>
                    <a:cubicBezTo>
                      <a:pt x="80" y="80"/>
                      <a:pt x="80" y="80"/>
                      <a:pt x="80" y="80"/>
                    </a:cubicBezTo>
                    <a:cubicBezTo>
                      <a:pt x="78" y="91"/>
                      <a:pt x="78" y="102"/>
                      <a:pt x="78" y="110"/>
                    </a:cubicBezTo>
                    <a:cubicBezTo>
                      <a:pt x="77" y="115"/>
                      <a:pt x="78" y="118"/>
                      <a:pt x="78" y="119"/>
                    </a:cubicBezTo>
                    <a:cubicBezTo>
                      <a:pt x="78" y="197"/>
                      <a:pt x="78" y="197"/>
                      <a:pt x="78" y="197"/>
                    </a:cubicBezTo>
                    <a:cubicBezTo>
                      <a:pt x="78" y="203"/>
                      <a:pt x="82" y="208"/>
                      <a:pt x="88" y="208"/>
                    </a:cubicBezTo>
                    <a:cubicBezTo>
                      <a:pt x="170" y="208"/>
                      <a:pt x="170" y="208"/>
                      <a:pt x="170" y="208"/>
                    </a:cubicBezTo>
                    <a:cubicBezTo>
                      <a:pt x="174" y="208"/>
                      <a:pt x="177" y="206"/>
                      <a:pt x="179" y="204"/>
                    </a:cubicBezTo>
                    <a:cubicBezTo>
                      <a:pt x="197" y="227"/>
                      <a:pt x="197" y="227"/>
                      <a:pt x="197" y="227"/>
                    </a:cubicBezTo>
                    <a:cubicBezTo>
                      <a:pt x="179" y="240"/>
                      <a:pt x="156" y="247"/>
                      <a:pt x="132" y="247"/>
                    </a:cubicBezTo>
                    <a:cubicBezTo>
                      <a:pt x="68" y="247"/>
                      <a:pt x="16" y="195"/>
                      <a:pt x="1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 name="Group 52">
            <a:extLst>
              <a:ext uri="{FF2B5EF4-FFF2-40B4-BE49-F238E27FC236}">
                <a16:creationId xmlns:a16="http://schemas.microsoft.com/office/drawing/2014/main" id="{7D022DA6-3B1A-405F-8653-84C310974116}"/>
              </a:ext>
            </a:extLst>
          </p:cNvPr>
          <p:cNvGrpSpPr/>
          <p:nvPr/>
        </p:nvGrpSpPr>
        <p:grpSpPr>
          <a:xfrm>
            <a:off x="4502230" y="1712191"/>
            <a:ext cx="3211139" cy="131211"/>
            <a:chOff x="953147" y="2457109"/>
            <a:chExt cx="3211139" cy="131211"/>
          </a:xfrm>
        </p:grpSpPr>
        <p:sp>
          <p:nvSpPr>
            <p:cNvPr id="54" name="Isosceles Triangle 32">
              <a:extLst>
                <a:ext uri="{FF2B5EF4-FFF2-40B4-BE49-F238E27FC236}">
                  <a16:creationId xmlns:a16="http://schemas.microsoft.com/office/drawing/2014/main" id="{3DB8B8E5-7B5A-4A8A-9A04-2CCE9CDDBE7C}"/>
                </a:ext>
              </a:extLst>
            </p:cNvPr>
            <p:cNvSpPr/>
            <p:nvPr/>
          </p:nvSpPr>
          <p:spPr>
            <a:xfrm rot="10800000">
              <a:off x="2424966" y="245710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55" name="Straight Connector 54">
              <a:extLst>
                <a:ext uri="{FF2B5EF4-FFF2-40B4-BE49-F238E27FC236}">
                  <a16:creationId xmlns:a16="http://schemas.microsoft.com/office/drawing/2014/main" id="{8AD5952E-C541-4B35-894E-5549C288E794}"/>
                </a:ext>
              </a:extLst>
            </p:cNvPr>
            <p:cNvCxnSpPr>
              <a:cxnSpLocks/>
            </p:cNvCxnSpPr>
            <p:nvPr/>
          </p:nvCxnSpPr>
          <p:spPr>
            <a:xfrm flipH="1">
              <a:off x="953147" y="2464752"/>
              <a:ext cx="3211139"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C9B60566-8090-4DAF-9A0F-760E03D821EC}"/>
              </a:ext>
            </a:extLst>
          </p:cNvPr>
          <p:cNvGrpSpPr/>
          <p:nvPr/>
        </p:nvGrpSpPr>
        <p:grpSpPr>
          <a:xfrm>
            <a:off x="8068060" y="1712191"/>
            <a:ext cx="3211139" cy="131211"/>
            <a:chOff x="953147" y="2457109"/>
            <a:chExt cx="3211139" cy="131211"/>
          </a:xfrm>
        </p:grpSpPr>
        <p:sp>
          <p:nvSpPr>
            <p:cNvPr id="57" name="Isosceles Triangle 32">
              <a:extLst>
                <a:ext uri="{FF2B5EF4-FFF2-40B4-BE49-F238E27FC236}">
                  <a16:creationId xmlns:a16="http://schemas.microsoft.com/office/drawing/2014/main" id="{0BC0F0FC-4FCC-4AFA-BBD9-028912BDD3A4}"/>
                </a:ext>
              </a:extLst>
            </p:cNvPr>
            <p:cNvSpPr/>
            <p:nvPr/>
          </p:nvSpPr>
          <p:spPr>
            <a:xfrm rot="10800000">
              <a:off x="2424966" y="245710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72" name="Straight Connector 71">
              <a:extLst>
                <a:ext uri="{FF2B5EF4-FFF2-40B4-BE49-F238E27FC236}">
                  <a16:creationId xmlns:a16="http://schemas.microsoft.com/office/drawing/2014/main" id="{4C324693-635C-454F-B061-5EBD83C0ED18}"/>
                </a:ext>
              </a:extLst>
            </p:cNvPr>
            <p:cNvCxnSpPr>
              <a:cxnSpLocks/>
            </p:cNvCxnSpPr>
            <p:nvPr/>
          </p:nvCxnSpPr>
          <p:spPr>
            <a:xfrm flipH="1">
              <a:off x="953147" y="2464752"/>
              <a:ext cx="3211139"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8347C69-8303-4246-BB61-6A281C9828F9}"/>
              </a:ext>
            </a:extLst>
          </p:cNvPr>
          <p:cNvCxnSpPr>
            <a:cxnSpLocks/>
          </p:cNvCxnSpPr>
          <p:nvPr/>
        </p:nvCxnSpPr>
        <p:spPr>
          <a:xfrm>
            <a:off x="936400" y="3964571"/>
            <a:ext cx="3007659"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20ADE883-5CA7-4BEF-B338-EEAA902D305C}"/>
              </a:ext>
            </a:extLst>
          </p:cNvPr>
          <p:cNvPicPr>
            <a:picLocks noChangeAspect="1"/>
          </p:cNvPicPr>
          <p:nvPr/>
        </p:nvPicPr>
        <p:blipFill>
          <a:blip r:embed="rId3"/>
          <a:stretch>
            <a:fillRect/>
          </a:stretch>
        </p:blipFill>
        <p:spPr>
          <a:xfrm>
            <a:off x="838200" y="6393164"/>
            <a:ext cx="1333500" cy="378995"/>
          </a:xfrm>
          <a:prstGeom prst="rect">
            <a:avLst/>
          </a:prstGeom>
        </p:spPr>
      </p:pic>
      <p:cxnSp>
        <p:nvCxnSpPr>
          <p:cNvPr id="40" name="Straight Connector 39">
            <a:extLst>
              <a:ext uri="{FF2B5EF4-FFF2-40B4-BE49-F238E27FC236}">
                <a16:creationId xmlns:a16="http://schemas.microsoft.com/office/drawing/2014/main" id="{F8B091FE-AF40-4A44-9B32-047DC5516040}"/>
              </a:ext>
            </a:extLst>
          </p:cNvPr>
          <p:cNvCxnSpPr>
            <a:cxnSpLocks/>
          </p:cNvCxnSpPr>
          <p:nvPr/>
        </p:nvCxnSpPr>
        <p:spPr>
          <a:xfrm>
            <a:off x="4470219" y="2886307"/>
            <a:ext cx="3007659"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527465-A930-4910-889C-42BB7B03C091}"/>
              </a:ext>
            </a:extLst>
          </p:cNvPr>
          <p:cNvCxnSpPr>
            <a:cxnSpLocks/>
          </p:cNvCxnSpPr>
          <p:nvPr/>
        </p:nvCxnSpPr>
        <p:spPr>
          <a:xfrm>
            <a:off x="8110602" y="3708410"/>
            <a:ext cx="3007659"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8578C8C-31EA-4D3E-B3D9-E8133E44ED01}"/>
              </a:ext>
            </a:extLst>
          </p:cNvPr>
          <p:cNvSpPr txBox="1"/>
          <p:nvPr/>
        </p:nvSpPr>
        <p:spPr>
          <a:xfrm>
            <a:off x="558755" y="5652332"/>
            <a:ext cx="1133454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rgbClr val="00B050"/>
                </a:solidFill>
                <a:ea typeface="+mn-lt"/>
                <a:cs typeface="+mn-lt"/>
              </a:rPr>
              <a:t>Approved dicamba formulations may ONLY be applied to crops with Roundup Ready 2 Xtend® Technology or XtendFlex® Technology up to and including </a:t>
            </a:r>
            <a:r>
              <a:rPr lang="en-US" b="1" u="sng" dirty="0">
                <a:solidFill>
                  <a:srgbClr val="00B050"/>
                </a:solidFill>
                <a:ea typeface="+mn-lt"/>
                <a:cs typeface="+mn-lt"/>
              </a:rPr>
              <a:t>June 30 for soybeans</a:t>
            </a:r>
            <a:r>
              <a:rPr lang="en-US" b="1" dirty="0">
                <a:solidFill>
                  <a:srgbClr val="00B050"/>
                </a:solidFill>
                <a:ea typeface="+mn-lt"/>
                <a:cs typeface="+mn-lt"/>
              </a:rPr>
              <a:t> and </a:t>
            </a:r>
            <a:r>
              <a:rPr lang="en-US" b="1" u="sng" dirty="0">
                <a:solidFill>
                  <a:srgbClr val="00B050"/>
                </a:solidFill>
                <a:ea typeface="+mn-lt"/>
                <a:cs typeface="+mn-lt"/>
              </a:rPr>
              <a:t>July 30 for cotton</a:t>
            </a:r>
            <a:r>
              <a:rPr lang="en-US" b="1" dirty="0">
                <a:solidFill>
                  <a:srgbClr val="00B050"/>
                </a:solidFill>
                <a:ea typeface="+mn-lt"/>
                <a:cs typeface="+mn-lt"/>
              </a:rPr>
              <a:t>.</a:t>
            </a:r>
            <a:r>
              <a:rPr lang="en-US" dirty="0">
                <a:solidFill>
                  <a:srgbClr val="00B050"/>
                </a:solidFill>
                <a:ea typeface="+mn-lt"/>
                <a:cs typeface="+mn-lt"/>
              </a:rPr>
              <a:t> </a:t>
            </a:r>
            <a:endParaRPr lang="en-US" dirty="0">
              <a:solidFill>
                <a:srgbClr val="00B050"/>
              </a:solidFill>
            </a:endParaRPr>
          </a:p>
        </p:txBody>
      </p:sp>
      <p:cxnSp>
        <p:nvCxnSpPr>
          <p:cNvPr id="10" name="Straight Arrow Connector 9">
            <a:extLst>
              <a:ext uri="{FF2B5EF4-FFF2-40B4-BE49-F238E27FC236}">
                <a16:creationId xmlns:a16="http://schemas.microsoft.com/office/drawing/2014/main" id="{9435B212-C77C-43E0-B363-6F0639DBE9F8}"/>
              </a:ext>
            </a:extLst>
          </p:cNvPr>
          <p:cNvCxnSpPr/>
          <p:nvPr/>
        </p:nvCxnSpPr>
        <p:spPr>
          <a:xfrm>
            <a:off x="941718" y="5626761"/>
            <a:ext cx="10326355" cy="1677"/>
          </a:xfrm>
          <a:prstGeom prst="straightConnector1">
            <a:avLst/>
          </a:prstGeom>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47509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KENTUCKY</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0C8456E5-C1BE-4666-AD51-7589155D7404}"/>
              </a:ext>
            </a:extLst>
          </p:cNvPr>
          <p:cNvGraphicFramePr>
            <a:graphicFrameLocks noGrp="1"/>
          </p:cNvGraphicFramePr>
          <p:nvPr/>
        </p:nvGraphicFramePr>
        <p:xfrm>
          <a:off x="5046177" y="2857500"/>
          <a:ext cx="6739130" cy="222504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gridCol w="1347826">
                  <a:extLst>
                    <a:ext uri="{9D8B030D-6E8A-4147-A177-3AD203B41FA5}">
                      <a16:colId xmlns:a16="http://schemas.microsoft.com/office/drawing/2014/main" val="4017785960"/>
                    </a:ext>
                  </a:extLst>
                </a:gridCol>
              </a:tblGrid>
              <a:tr h="370840">
                <a:tc>
                  <a:txBody>
                    <a:bodyPr/>
                    <a:lstStyle/>
                    <a:p>
                      <a:r>
                        <a:rPr lang="en-US" sz="1600" b="0">
                          <a:solidFill>
                            <a:schemeClr val="tx1"/>
                          </a:solidFill>
                          <a:latin typeface="+mn-lt"/>
                        </a:rPr>
                        <a:t>Barren</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Harris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Bourbon</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Henry</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Bullitt</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Jeffers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Fleming</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eade</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Frankli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Nicholas</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70840">
                <a:tc>
                  <a:txBody>
                    <a:bodyPr/>
                    <a:lstStyle/>
                    <a:p>
                      <a:r>
                        <a:rPr lang="en-US" sz="1600" b="0">
                          <a:solidFill>
                            <a:schemeClr val="tx1"/>
                          </a:solidFill>
                          <a:latin typeface="+mn-lt"/>
                        </a:rPr>
                        <a:t>Hardi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arre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89556749"/>
                  </a:ext>
                </a:extLst>
              </a:tr>
            </a:tbl>
          </a:graphicData>
        </a:graphic>
      </p:graphicFrame>
      <p:sp>
        <p:nvSpPr>
          <p:cNvPr id="2" name="Footer Placeholder 1">
            <a:extLst>
              <a:ext uri="{FF2B5EF4-FFF2-40B4-BE49-F238E27FC236}">
                <a16:creationId xmlns:a16="http://schemas.microsoft.com/office/drawing/2014/main" id="{979AB7AC-EBA8-4442-B783-A8D2BE4D2B0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A11AB79F-F0B9-433F-BE4C-261A0C56E91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66B8A106-DB5B-4B2B-9429-7F9463EAF4B9}"/>
              </a:ext>
            </a:extLst>
          </p:cNvPr>
          <p:cNvPicPr>
            <a:picLocks noChangeAspect="1"/>
          </p:cNvPicPr>
          <p:nvPr/>
        </p:nvPicPr>
        <p:blipFill>
          <a:blip r:embed="rId2"/>
          <a:stretch>
            <a:fillRect/>
          </a:stretch>
        </p:blipFill>
        <p:spPr>
          <a:xfrm>
            <a:off x="854507" y="6345879"/>
            <a:ext cx="1171575" cy="495300"/>
          </a:xfrm>
          <a:prstGeom prst="rect">
            <a:avLst/>
          </a:prstGeom>
        </p:spPr>
      </p:pic>
      <p:pic>
        <p:nvPicPr>
          <p:cNvPr id="12" name="Picture 11">
            <a:extLst>
              <a:ext uri="{FF2B5EF4-FFF2-40B4-BE49-F238E27FC236}">
                <a16:creationId xmlns:a16="http://schemas.microsoft.com/office/drawing/2014/main" id="{A31B88DF-D149-4ACE-869C-441B59117BCC}"/>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E4EE5E8E-251B-488D-8A3A-F98C7B1408C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84413" y="2149964"/>
            <a:ext cx="3342822" cy="1497697"/>
          </a:xfrm>
          <a:prstGeom prst="rect">
            <a:avLst/>
          </a:prstGeom>
        </p:spPr>
      </p:pic>
      <p:sp>
        <p:nvSpPr>
          <p:cNvPr id="14" name="TextBox 13">
            <a:extLst>
              <a:ext uri="{FF2B5EF4-FFF2-40B4-BE49-F238E27FC236}">
                <a16:creationId xmlns:a16="http://schemas.microsoft.com/office/drawing/2014/main" id="{E01AB411-53C1-4CF8-B17A-4244E68DBC12}"/>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5332820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LOUISIAN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0C8456E5-C1BE-4666-AD51-7589155D7404}"/>
              </a:ext>
            </a:extLst>
          </p:cNvPr>
          <p:cNvGraphicFramePr>
            <a:graphicFrameLocks noGrp="1"/>
          </p:cNvGraphicFramePr>
          <p:nvPr/>
        </p:nvGraphicFramePr>
        <p:xfrm>
          <a:off x="5046177" y="2857500"/>
          <a:ext cx="6739130" cy="74168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gridCol w="1347826">
                  <a:extLst>
                    <a:ext uri="{9D8B030D-6E8A-4147-A177-3AD203B41FA5}">
                      <a16:colId xmlns:a16="http://schemas.microsoft.com/office/drawing/2014/main" val="4017785960"/>
                    </a:ext>
                  </a:extLst>
                </a:gridCol>
              </a:tblGrid>
              <a:tr h="370840">
                <a:tc>
                  <a:txBody>
                    <a:bodyPr/>
                    <a:lstStyle/>
                    <a:p>
                      <a:r>
                        <a:rPr lang="en-US" sz="1600" b="0">
                          <a:solidFill>
                            <a:schemeClr val="tx1"/>
                          </a:solidFill>
                          <a:latin typeface="+mn-lt"/>
                        </a:rPr>
                        <a:t>Caddo</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Caldwell</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bl>
          </a:graphicData>
        </a:graphic>
      </p:graphicFrame>
      <p:sp>
        <p:nvSpPr>
          <p:cNvPr id="2" name="Footer Placeholder 1">
            <a:extLst>
              <a:ext uri="{FF2B5EF4-FFF2-40B4-BE49-F238E27FC236}">
                <a16:creationId xmlns:a16="http://schemas.microsoft.com/office/drawing/2014/main" id="{979AB7AC-EBA8-4442-B783-A8D2BE4D2B0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A11AB79F-F0B9-433F-BE4C-261A0C56E91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66B8A106-DB5B-4B2B-9429-7F9463EAF4B9}"/>
              </a:ext>
            </a:extLst>
          </p:cNvPr>
          <p:cNvPicPr>
            <a:picLocks noChangeAspect="1"/>
          </p:cNvPicPr>
          <p:nvPr/>
        </p:nvPicPr>
        <p:blipFill>
          <a:blip r:embed="rId2"/>
          <a:stretch>
            <a:fillRect/>
          </a:stretch>
        </p:blipFill>
        <p:spPr>
          <a:xfrm>
            <a:off x="854507" y="6345879"/>
            <a:ext cx="1171575" cy="495300"/>
          </a:xfrm>
          <a:prstGeom prst="rect">
            <a:avLst/>
          </a:prstGeom>
        </p:spPr>
      </p:pic>
      <p:pic>
        <p:nvPicPr>
          <p:cNvPr id="12" name="Picture 11">
            <a:extLst>
              <a:ext uri="{FF2B5EF4-FFF2-40B4-BE49-F238E27FC236}">
                <a16:creationId xmlns:a16="http://schemas.microsoft.com/office/drawing/2014/main" id="{A31B88DF-D149-4ACE-869C-441B59117BCC}"/>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6" name="Picture 5">
            <a:extLst>
              <a:ext uri="{FF2B5EF4-FFF2-40B4-BE49-F238E27FC236}">
                <a16:creationId xmlns:a16="http://schemas.microsoft.com/office/drawing/2014/main" id="{A66AE1FA-1016-4D30-8D5D-D3943AE06C75}"/>
              </a:ext>
            </a:extLst>
          </p:cNvPr>
          <p:cNvPicPr>
            <a:picLocks noChangeAspect="1"/>
          </p:cNvPicPr>
          <p:nvPr/>
        </p:nvPicPr>
        <p:blipFill>
          <a:blip r:embed="rId4"/>
          <a:stretch>
            <a:fillRect/>
          </a:stretch>
        </p:blipFill>
        <p:spPr>
          <a:xfrm>
            <a:off x="1103266" y="1485130"/>
            <a:ext cx="3366999" cy="3202085"/>
          </a:xfrm>
          <a:prstGeom prst="rect">
            <a:avLst/>
          </a:prstGeom>
        </p:spPr>
      </p:pic>
      <p:sp>
        <p:nvSpPr>
          <p:cNvPr id="13" name="TextBox 12">
            <a:extLst>
              <a:ext uri="{FF2B5EF4-FFF2-40B4-BE49-F238E27FC236}">
                <a16:creationId xmlns:a16="http://schemas.microsoft.com/office/drawing/2014/main" id="{89BFA790-C3A0-4C64-A0ED-64670AC168EB}"/>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2463933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MICHIGAN</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0C8456E5-C1BE-4666-AD51-7589155D7404}"/>
              </a:ext>
            </a:extLst>
          </p:cNvPr>
          <p:cNvGraphicFramePr>
            <a:graphicFrameLocks noGrp="1"/>
          </p:cNvGraphicFramePr>
          <p:nvPr/>
        </p:nvGraphicFramePr>
        <p:xfrm>
          <a:off x="5046177" y="2857500"/>
          <a:ext cx="6739130" cy="222504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gridCol w="1347826">
                  <a:extLst>
                    <a:ext uri="{9D8B030D-6E8A-4147-A177-3AD203B41FA5}">
                      <a16:colId xmlns:a16="http://schemas.microsoft.com/office/drawing/2014/main" val="4017785960"/>
                    </a:ext>
                  </a:extLst>
                </a:gridCol>
              </a:tblGrid>
              <a:tr h="370840">
                <a:tc>
                  <a:txBody>
                    <a:bodyPr/>
                    <a:lstStyle/>
                    <a:p>
                      <a:r>
                        <a:rPr lang="en-US" sz="1600" b="0">
                          <a:solidFill>
                            <a:schemeClr val="tx1"/>
                          </a:solidFill>
                          <a:latin typeface="+mn-lt"/>
                        </a:rPr>
                        <a:t>Allegan</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Ionia</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Newayg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Barry</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Jacks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Ottaw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Berrie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Kalamazoo</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Presque Is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Branch</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Kent</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St. Josep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Cass</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onroe</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Van Bur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70840">
                <a:tc>
                  <a:txBody>
                    <a:bodyPr/>
                    <a:lstStyle/>
                    <a:p>
                      <a:r>
                        <a:rPr lang="en-US" sz="1600" b="0">
                          <a:solidFill>
                            <a:schemeClr val="tx1"/>
                          </a:solidFill>
                          <a:latin typeface="+mn-lt"/>
                        </a:rPr>
                        <a:t>Huro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ontcalm</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ashtena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89556749"/>
                  </a:ext>
                </a:extLst>
              </a:tr>
            </a:tbl>
          </a:graphicData>
        </a:graphic>
      </p:graphicFrame>
      <p:sp>
        <p:nvSpPr>
          <p:cNvPr id="2" name="Footer Placeholder 1">
            <a:extLst>
              <a:ext uri="{FF2B5EF4-FFF2-40B4-BE49-F238E27FC236}">
                <a16:creationId xmlns:a16="http://schemas.microsoft.com/office/drawing/2014/main" id="{979AB7AC-EBA8-4442-B783-A8D2BE4D2B0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A11AB79F-F0B9-433F-BE4C-261A0C56E91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66B8A106-DB5B-4B2B-9429-7F9463EAF4B9}"/>
              </a:ext>
            </a:extLst>
          </p:cNvPr>
          <p:cNvPicPr>
            <a:picLocks noChangeAspect="1"/>
          </p:cNvPicPr>
          <p:nvPr/>
        </p:nvPicPr>
        <p:blipFill>
          <a:blip r:embed="rId2"/>
          <a:stretch>
            <a:fillRect/>
          </a:stretch>
        </p:blipFill>
        <p:spPr>
          <a:xfrm>
            <a:off x="854507" y="6345879"/>
            <a:ext cx="1171575" cy="495300"/>
          </a:xfrm>
          <a:prstGeom prst="rect">
            <a:avLst/>
          </a:prstGeom>
        </p:spPr>
      </p:pic>
      <p:pic>
        <p:nvPicPr>
          <p:cNvPr id="12" name="Picture 11">
            <a:extLst>
              <a:ext uri="{FF2B5EF4-FFF2-40B4-BE49-F238E27FC236}">
                <a16:creationId xmlns:a16="http://schemas.microsoft.com/office/drawing/2014/main" id="{A31B88DF-D149-4ACE-869C-441B59117BCC}"/>
              </a:ext>
            </a:extLst>
          </p:cNvPr>
          <p:cNvPicPr>
            <a:picLocks noChangeAspect="1"/>
          </p:cNvPicPr>
          <p:nvPr/>
        </p:nvPicPr>
        <p:blipFill>
          <a:blip r:embed="rId3"/>
          <a:stretch>
            <a:fillRect/>
          </a:stretch>
        </p:blipFill>
        <p:spPr>
          <a:xfrm>
            <a:off x="838200" y="6393164"/>
            <a:ext cx="1333500" cy="378995"/>
          </a:xfrm>
          <a:prstGeom prst="rect">
            <a:avLst/>
          </a:prstGeom>
        </p:spPr>
      </p:pic>
      <p:cxnSp>
        <p:nvCxnSpPr>
          <p:cNvPr id="7" name="Straight Connector 6">
            <a:extLst>
              <a:ext uri="{FF2B5EF4-FFF2-40B4-BE49-F238E27FC236}">
                <a16:creationId xmlns:a16="http://schemas.microsoft.com/office/drawing/2014/main" id="{9A37768E-F718-4FBC-A34F-03FC8179A1E4}"/>
              </a:ext>
            </a:extLst>
          </p:cNvPr>
          <p:cNvCxnSpPr>
            <a:cxnSpLocks/>
          </p:cNvCxnSpPr>
          <p:nvPr/>
        </p:nvCxnSpPr>
        <p:spPr>
          <a:xfrm>
            <a:off x="7564246" y="2862470"/>
            <a:ext cx="0" cy="222007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6" name="Straight Connector 15">
            <a:extLst>
              <a:ext uri="{FF2B5EF4-FFF2-40B4-BE49-F238E27FC236}">
                <a16:creationId xmlns:a16="http://schemas.microsoft.com/office/drawing/2014/main" id="{3241FE86-3BB9-4EDF-8040-70EE37B49B87}"/>
              </a:ext>
            </a:extLst>
          </p:cNvPr>
          <p:cNvCxnSpPr>
            <a:cxnSpLocks/>
          </p:cNvCxnSpPr>
          <p:nvPr/>
        </p:nvCxnSpPr>
        <p:spPr>
          <a:xfrm>
            <a:off x="6394742" y="2862470"/>
            <a:ext cx="0" cy="222007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pic>
        <p:nvPicPr>
          <p:cNvPr id="3" name="Picture 2">
            <a:extLst>
              <a:ext uri="{FF2B5EF4-FFF2-40B4-BE49-F238E27FC236}">
                <a16:creationId xmlns:a16="http://schemas.microsoft.com/office/drawing/2014/main" id="{F887DE95-579C-4AD6-ABDA-16E0A6D94E2A}"/>
              </a:ext>
            </a:extLst>
          </p:cNvPr>
          <p:cNvPicPr>
            <a:picLocks noChangeAspect="1"/>
          </p:cNvPicPr>
          <p:nvPr/>
        </p:nvPicPr>
        <p:blipFill>
          <a:blip r:embed="rId4"/>
          <a:stretch>
            <a:fillRect/>
          </a:stretch>
        </p:blipFill>
        <p:spPr>
          <a:xfrm>
            <a:off x="1143952" y="1491386"/>
            <a:ext cx="3199080" cy="3361620"/>
          </a:xfrm>
          <a:prstGeom prst="rect">
            <a:avLst/>
          </a:prstGeom>
        </p:spPr>
      </p:pic>
      <p:sp>
        <p:nvSpPr>
          <p:cNvPr id="17" name="TextBox 16">
            <a:extLst>
              <a:ext uri="{FF2B5EF4-FFF2-40B4-BE49-F238E27FC236}">
                <a16:creationId xmlns:a16="http://schemas.microsoft.com/office/drawing/2014/main" id="{25A13618-4D1A-4370-A712-AE08D9A7DFC8}"/>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4253088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MINNESOT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34352"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0" name="Table 9">
            <a:extLst>
              <a:ext uri="{FF2B5EF4-FFF2-40B4-BE49-F238E27FC236}">
                <a16:creationId xmlns:a16="http://schemas.microsoft.com/office/drawing/2014/main" id="{9AEBD4DE-2A16-4ACA-B643-6654E29B939F}"/>
              </a:ext>
            </a:extLst>
          </p:cNvPr>
          <p:cNvGraphicFramePr>
            <a:graphicFrameLocks noGrp="1"/>
          </p:cNvGraphicFramePr>
          <p:nvPr/>
        </p:nvGraphicFramePr>
        <p:xfrm>
          <a:off x="5046177" y="2857500"/>
          <a:ext cx="4043478"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45443984"/>
                    </a:ext>
                  </a:extLst>
                </a:gridCol>
              </a:tblGrid>
              <a:tr h="370840">
                <a:tc>
                  <a:txBody>
                    <a:bodyPr/>
                    <a:lstStyle/>
                    <a:p>
                      <a:r>
                        <a:rPr lang="en-US" sz="1600" b="0">
                          <a:solidFill>
                            <a:schemeClr val="tx1"/>
                          </a:solidFill>
                          <a:latin typeface="+mn-lt"/>
                        </a:rPr>
                        <a:t>Clay</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Olmste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Fillmore</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Pipeston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Lincoln</a:t>
                      </a:r>
                      <a:endParaRPr lang="en-US" sz="1600" b="0">
                        <a:solidFill>
                          <a:schemeClr val="tx1"/>
                        </a:solidFill>
                        <a:latin typeface="+mn-lt"/>
                      </a:endParaRP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a:t>Polk</a:t>
                      </a:r>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Mahnome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a:t>Pope</a:t>
                      </a:r>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a:t>Murray</a:t>
                      </a:r>
                      <a:endParaRPr lang="en-US" sz="1600" b="0">
                        <a:solidFill>
                          <a:schemeClr val="tx1"/>
                        </a:solidFill>
                        <a:latin typeface="+mn-lt"/>
                      </a:endParaRP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a:t>Winona</a:t>
                      </a:r>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2" name="Footer Placeholder 1">
            <a:extLst>
              <a:ext uri="{FF2B5EF4-FFF2-40B4-BE49-F238E27FC236}">
                <a16:creationId xmlns:a16="http://schemas.microsoft.com/office/drawing/2014/main" id="{7A4015B4-0558-4C37-A6B1-9C7351F9D01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A437D3B5-2156-47C5-ABA2-DA97AF59F00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737667F7-D352-4FBD-B5E4-79946CB15903}"/>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7FCF107D-8FBF-447F-891F-3837B3B6B66A}"/>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1E9A2D07-1530-403D-A9F1-48C03CA2F05D}"/>
              </a:ext>
            </a:extLst>
          </p:cNvPr>
          <p:cNvPicPr>
            <a:picLocks noChangeAspect="1"/>
          </p:cNvPicPr>
          <p:nvPr/>
        </p:nvPicPr>
        <p:blipFill>
          <a:blip r:embed="rId4"/>
          <a:stretch>
            <a:fillRect/>
          </a:stretch>
        </p:blipFill>
        <p:spPr>
          <a:xfrm>
            <a:off x="1135135" y="1395111"/>
            <a:ext cx="3207897" cy="3532099"/>
          </a:xfrm>
          <a:prstGeom prst="rect">
            <a:avLst/>
          </a:prstGeom>
        </p:spPr>
      </p:pic>
      <p:sp>
        <p:nvSpPr>
          <p:cNvPr id="14" name="TextBox 13">
            <a:extLst>
              <a:ext uri="{FF2B5EF4-FFF2-40B4-BE49-F238E27FC236}">
                <a16:creationId xmlns:a16="http://schemas.microsoft.com/office/drawing/2014/main" id="{1620AD8B-5930-4FCE-8773-35AF28BE1ACF}"/>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8532093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MISSOURI</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34352"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2" name="Table 11">
            <a:extLst>
              <a:ext uri="{FF2B5EF4-FFF2-40B4-BE49-F238E27FC236}">
                <a16:creationId xmlns:a16="http://schemas.microsoft.com/office/drawing/2014/main" id="{D52C5A88-188D-430B-9E84-121BC4307E99}"/>
              </a:ext>
            </a:extLst>
          </p:cNvPr>
          <p:cNvGraphicFramePr>
            <a:graphicFrameLocks noGrp="1"/>
          </p:cNvGraphicFramePr>
          <p:nvPr/>
        </p:nvGraphicFramePr>
        <p:xfrm>
          <a:off x="5046177" y="2857500"/>
          <a:ext cx="2695652" cy="206248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tblGrid>
              <a:tr h="370840">
                <a:tc>
                  <a:txBody>
                    <a:bodyPr/>
                    <a:lstStyle/>
                    <a:p>
                      <a:r>
                        <a:rPr lang="en-US" sz="1600" b="0">
                          <a:solidFill>
                            <a:schemeClr val="tx1"/>
                          </a:solidFill>
                          <a:latin typeface="+mn-lt"/>
                        </a:rPr>
                        <a:t>Cape Girardeau</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rowSpan="5">
                  <a:txBody>
                    <a:bodyPr/>
                    <a:lstStyle/>
                    <a:p>
                      <a:pPr>
                        <a:spcBef>
                          <a:spcPts val="500"/>
                        </a:spcBef>
                        <a:spcAft>
                          <a:spcPts val="500"/>
                        </a:spcAft>
                      </a:pPr>
                      <a:r>
                        <a:rPr lang="en-US" sz="1600" b="0">
                          <a:solidFill>
                            <a:schemeClr val="tx1"/>
                          </a:solidFill>
                          <a:latin typeface="+mn-lt"/>
                        </a:rPr>
                        <a:t>Jasper</a:t>
                      </a:r>
                    </a:p>
                    <a:p>
                      <a:pPr marL="0" marR="0" lvl="0" indent="0" algn="l" defTabSz="914400" rtl="0" eaLnBrk="1" fontAlgn="auto" latinLnBrk="0" hangingPunct="1">
                        <a:lnSpc>
                          <a:spcPct val="100000"/>
                        </a:lnSpc>
                        <a:spcBef>
                          <a:spcPts val="500"/>
                        </a:spcBef>
                        <a:spcAft>
                          <a:spcPts val="500"/>
                        </a:spcAft>
                        <a:buClrTx/>
                        <a:buSzTx/>
                        <a:buFontTx/>
                        <a:buNone/>
                        <a:tabLst/>
                        <a:defRPr/>
                      </a:pPr>
                      <a:r>
                        <a:rPr lang="en-US" sz="1600" b="0">
                          <a:solidFill>
                            <a:schemeClr val="tx1"/>
                          </a:solidFill>
                          <a:latin typeface="+mn-lt"/>
                        </a:rPr>
                        <a:t>Lawrence</a:t>
                      </a:r>
                    </a:p>
                    <a:p>
                      <a:pPr>
                        <a:spcBef>
                          <a:spcPts val="500"/>
                        </a:spcBef>
                        <a:spcAft>
                          <a:spcPts val="500"/>
                        </a:spcAft>
                      </a:pPr>
                      <a:r>
                        <a:rPr lang="en-US" sz="1600" b="0">
                          <a:solidFill>
                            <a:schemeClr val="tx1"/>
                          </a:solidFill>
                          <a:latin typeface="+mn-lt"/>
                        </a:rPr>
                        <a:t>Lincoln</a:t>
                      </a:r>
                    </a:p>
                    <a:p>
                      <a:pPr>
                        <a:spcBef>
                          <a:spcPts val="500"/>
                        </a:spcBef>
                        <a:spcAft>
                          <a:spcPts val="500"/>
                        </a:spcAft>
                      </a:pPr>
                      <a:r>
                        <a:rPr lang="en-US" sz="1600" b="0">
                          <a:solidFill>
                            <a:schemeClr val="tx1"/>
                          </a:solidFill>
                          <a:latin typeface="+mn-lt"/>
                        </a:rPr>
                        <a:t>Pike</a:t>
                      </a:r>
                    </a:p>
                    <a:p>
                      <a:pPr>
                        <a:spcBef>
                          <a:spcPts val="500"/>
                        </a:spcBef>
                        <a:spcAft>
                          <a:spcPts val="500"/>
                        </a:spcAft>
                      </a:pPr>
                      <a:r>
                        <a:rPr lang="en-US" sz="1600" b="0">
                          <a:solidFill>
                            <a:schemeClr val="tx1"/>
                          </a:solidFill>
                          <a:latin typeface="+mn-lt"/>
                        </a:rPr>
                        <a:t>St. Clai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Dade</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Dunkli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Frankli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Henry</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2" name="Footer Placeholder 1">
            <a:extLst>
              <a:ext uri="{FF2B5EF4-FFF2-40B4-BE49-F238E27FC236}">
                <a16:creationId xmlns:a16="http://schemas.microsoft.com/office/drawing/2014/main" id="{9B2A40A0-07B8-4CAF-B455-95E975C2C7E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1A4E5E29-5D19-4C69-A32D-19D791957FB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B0D88047-FD60-45C7-BB4F-B253E260FA20}"/>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3" name="Picture 12">
            <a:extLst>
              <a:ext uri="{FF2B5EF4-FFF2-40B4-BE49-F238E27FC236}">
                <a16:creationId xmlns:a16="http://schemas.microsoft.com/office/drawing/2014/main" id="{566C8663-B6CE-47CA-A0F4-DAFA5D61E5E9}"/>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5" name="Picture 4">
            <a:extLst>
              <a:ext uri="{FF2B5EF4-FFF2-40B4-BE49-F238E27FC236}">
                <a16:creationId xmlns:a16="http://schemas.microsoft.com/office/drawing/2014/main" id="{3F36B838-7D6F-4F49-8CFF-D324EE7B9CA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88411" y="1830196"/>
            <a:ext cx="3154621" cy="2770883"/>
          </a:xfrm>
          <a:prstGeom prst="rect">
            <a:avLst/>
          </a:prstGeom>
        </p:spPr>
      </p:pic>
      <p:sp>
        <p:nvSpPr>
          <p:cNvPr id="14" name="TextBox 13">
            <a:extLst>
              <a:ext uri="{FF2B5EF4-FFF2-40B4-BE49-F238E27FC236}">
                <a16:creationId xmlns:a16="http://schemas.microsoft.com/office/drawing/2014/main" id="{DB30597D-461D-4A4D-B5D7-98CC1D161FA0}"/>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12838308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MISSISSIPPI</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01301"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2" name="Table 11">
            <a:extLst>
              <a:ext uri="{FF2B5EF4-FFF2-40B4-BE49-F238E27FC236}">
                <a16:creationId xmlns:a16="http://schemas.microsoft.com/office/drawing/2014/main" id="{D52C5A88-188D-430B-9E84-121BC4307E99}"/>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752508217"/>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tblGrid>
              <a:tr h="370840">
                <a:tc>
                  <a:txBody>
                    <a:bodyPr/>
                    <a:lstStyle/>
                    <a:p>
                      <a:r>
                        <a:rPr lang="en-US" sz="1600" b="0">
                          <a:solidFill>
                            <a:schemeClr val="tx1"/>
                          </a:solidFill>
                          <a:latin typeface="+mn-lt"/>
                        </a:rPr>
                        <a:t>Itawamba</a:t>
                      </a:r>
                    </a:p>
                  </a:txBody>
                  <a:tcP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Monroe</a:t>
                      </a: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Noxubee</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Prentiss</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2" name="Footer Placeholder 1">
            <a:extLst>
              <a:ext uri="{FF2B5EF4-FFF2-40B4-BE49-F238E27FC236}">
                <a16:creationId xmlns:a16="http://schemas.microsoft.com/office/drawing/2014/main" id="{2A9ED95D-6B8B-4054-8389-5E70E5385606}"/>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E5C78ACC-F94C-4C28-B1A7-D6E258F39F9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02E9CF27-81CD-419D-90C2-9FA681B5B7A2}"/>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3" name="Picture 12">
            <a:extLst>
              <a:ext uri="{FF2B5EF4-FFF2-40B4-BE49-F238E27FC236}">
                <a16:creationId xmlns:a16="http://schemas.microsoft.com/office/drawing/2014/main" id="{E66C3C04-AF44-4CEB-A34F-A9427B86C908}"/>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4" name="Picture 3">
            <a:extLst>
              <a:ext uri="{FF2B5EF4-FFF2-40B4-BE49-F238E27FC236}">
                <a16:creationId xmlns:a16="http://schemas.microsoft.com/office/drawing/2014/main" id="{468D51B3-1D72-409D-AD94-A118903DB29C}"/>
              </a:ext>
            </a:extLst>
          </p:cNvPr>
          <p:cNvPicPr>
            <a:picLocks noChangeAspect="1"/>
          </p:cNvPicPr>
          <p:nvPr/>
        </p:nvPicPr>
        <p:blipFill>
          <a:blip r:embed="rId4"/>
          <a:stretch>
            <a:fillRect/>
          </a:stretch>
        </p:blipFill>
        <p:spPr>
          <a:xfrm>
            <a:off x="1370229" y="1151465"/>
            <a:ext cx="2850988" cy="4360335"/>
          </a:xfrm>
          <a:prstGeom prst="rect">
            <a:avLst/>
          </a:prstGeom>
        </p:spPr>
      </p:pic>
      <p:sp>
        <p:nvSpPr>
          <p:cNvPr id="14" name="TextBox 13">
            <a:extLst>
              <a:ext uri="{FF2B5EF4-FFF2-40B4-BE49-F238E27FC236}">
                <a16:creationId xmlns:a16="http://schemas.microsoft.com/office/drawing/2014/main" id="{73778853-B2EA-473A-A361-0C418E2C727C}"/>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754930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NORTH CAROLIN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01301"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C34B1D0A-D059-4819-B0ED-78A5AF82FFDE}"/>
              </a:ext>
            </a:extLst>
          </p:cNvPr>
          <p:cNvGraphicFramePr>
            <a:graphicFrameLocks noGrp="1"/>
          </p:cNvGraphicFramePr>
          <p:nvPr/>
        </p:nvGraphicFramePr>
        <p:xfrm>
          <a:off x="4945223" y="2715812"/>
          <a:ext cx="7130820" cy="3099409"/>
        </p:xfrm>
        <a:graphic>
          <a:graphicData uri="http://schemas.openxmlformats.org/drawingml/2006/table">
            <a:tbl>
              <a:tblPr firstRow="1" bandRow="1">
                <a:tableStyleId>{5C22544A-7EE6-4342-B048-85BDC9FD1C3A}</a:tableStyleId>
              </a:tblPr>
              <a:tblGrid>
                <a:gridCol w="1188470">
                  <a:extLst>
                    <a:ext uri="{9D8B030D-6E8A-4147-A177-3AD203B41FA5}">
                      <a16:colId xmlns:a16="http://schemas.microsoft.com/office/drawing/2014/main" val="4229228877"/>
                    </a:ext>
                  </a:extLst>
                </a:gridCol>
                <a:gridCol w="1188470">
                  <a:extLst>
                    <a:ext uri="{9D8B030D-6E8A-4147-A177-3AD203B41FA5}">
                      <a16:colId xmlns:a16="http://schemas.microsoft.com/office/drawing/2014/main" val="2595070804"/>
                    </a:ext>
                  </a:extLst>
                </a:gridCol>
                <a:gridCol w="1188470">
                  <a:extLst>
                    <a:ext uri="{9D8B030D-6E8A-4147-A177-3AD203B41FA5}">
                      <a16:colId xmlns:a16="http://schemas.microsoft.com/office/drawing/2014/main" val="2884607966"/>
                    </a:ext>
                  </a:extLst>
                </a:gridCol>
                <a:gridCol w="1188470">
                  <a:extLst>
                    <a:ext uri="{9D8B030D-6E8A-4147-A177-3AD203B41FA5}">
                      <a16:colId xmlns:a16="http://schemas.microsoft.com/office/drawing/2014/main" val="1164439999"/>
                    </a:ext>
                  </a:extLst>
                </a:gridCol>
                <a:gridCol w="1188470">
                  <a:extLst>
                    <a:ext uri="{9D8B030D-6E8A-4147-A177-3AD203B41FA5}">
                      <a16:colId xmlns:a16="http://schemas.microsoft.com/office/drawing/2014/main" val="1204756741"/>
                    </a:ext>
                  </a:extLst>
                </a:gridCol>
                <a:gridCol w="1188470">
                  <a:extLst>
                    <a:ext uri="{9D8B030D-6E8A-4147-A177-3AD203B41FA5}">
                      <a16:colId xmlns:a16="http://schemas.microsoft.com/office/drawing/2014/main" val="4005692575"/>
                    </a:ext>
                  </a:extLst>
                </a:gridCol>
              </a:tblGrid>
              <a:tr h="417305">
                <a:tc>
                  <a:txBody>
                    <a:bodyPr/>
                    <a:lstStyle/>
                    <a:p>
                      <a:r>
                        <a:rPr lang="en-US" sz="1400" b="0">
                          <a:solidFill>
                            <a:schemeClr val="tx1"/>
                          </a:solidFill>
                          <a:latin typeface="+mn-lt"/>
                        </a:rPr>
                        <a:t>Alexander</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Caldwell</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Frankli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Iredell</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Pend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Stokes</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37628">
                <a:tc>
                  <a:txBody>
                    <a:bodyPr/>
                    <a:lstStyle/>
                    <a:p>
                      <a:r>
                        <a:rPr lang="en-US" sz="1400" b="0">
                          <a:solidFill>
                            <a:schemeClr val="tx1"/>
                          </a:solidFill>
                          <a:latin typeface="+mn-lt"/>
                        </a:rPr>
                        <a:t>Anson</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Catawb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Gast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Johnst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Randolph</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Surry</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376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Beaufort</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a:solidFill>
                            <a:schemeClr val="tx1"/>
                          </a:solidFill>
                          <a:latin typeface="+mn-lt"/>
                          <a:ea typeface="+mn-ea"/>
                          <a:cs typeface="+mn-cs"/>
                        </a:rPr>
                        <a:t>Clevel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Granvil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Lenoi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Robe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a:t>Uni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376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Blade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Columbu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Guilfor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Lincol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Rockingham</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a:t>Wake</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417305">
                <a:tc>
                  <a:txBody>
                    <a:bodyPr/>
                    <a:lstStyle/>
                    <a:p>
                      <a:r>
                        <a:rPr lang="en-US" sz="1400" b="0">
                          <a:solidFill>
                            <a:schemeClr val="tx1"/>
                          </a:solidFill>
                          <a:latin typeface="+mn-lt"/>
                        </a:rPr>
                        <a:t>Brunswick</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Crave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err="1">
                          <a:solidFill>
                            <a:schemeClr val="tx1"/>
                          </a:solidFill>
                          <a:latin typeface="+mn-lt"/>
                        </a:rPr>
                        <a:t>Hamett</a:t>
                      </a:r>
                      <a:endParaRPr lang="en-US" sz="14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a:solidFill>
                            <a:schemeClr val="tx1"/>
                          </a:solidFill>
                          <a:latin typeface="+mn-lt"/>
                          <a:ea typeface="+mn-ea"/>
                          <a:cs typeface="+mn-cs"/>
                        </a:rPr>
                        <a:t>McDowell</a:t>
                      </a:r>
                      <a:endParaRPr lang="en-US" sz="1400" b="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Rowa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a:t>Wils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417305">
                <a:tc>
                  <a:txBody>
                    <a:bodyPr/>
                    <a:lstStyle/>
                    <a:p>
                      <a:r>
                        <a:rPr lang="en-US" sz="1400" b="0">
                          <a:solidFill>
                            <a:schemeClr val="tx1"/>
                          </a:solidFill>
                          <a:latin typeface="+mn-lt"/>
                        </a:rPr>
                        <a:t>Buncombe</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kern="1200">
                          <a:solidFill>
                            <a:schemeClr val="tx1"/>
                          </a:solidFill>
                          <a:latin typeface="+mn-lt"/>
                          <a:ea typeface="+mn-ea"/>
                          <a:cs typeface="+mn-cs"/>
                        </a:rPr>
                        <a:t>Cumberl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Hender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Nash</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Rutherfor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8183285"/>
                  </a:ext>
                </a:extLst>
              </a:tr>
              <a:tr h="417305">
                <a:tc>
                  <a:txBody>
                    <a:bodyPr/>
                    <a:lstStyle/>
                    <a:p>
                      <a:r>
                        <a:rPr lang="en-US" sz="1400" b="0">
                          <a:solidFill>
                            <a:schemeClr val="tx1"/>
                          </a:solidFill>
                          <a:latin typeface="+mn-lt"/>
                        </a:rPr>
                        <a:t>Burke</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David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Ho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Onslow</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Samp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087760"/>
                  </a:ext>
                </a:extLst>
              </a:tr>
              <a:tr h="4173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Cabarrus</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Forsyth</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rPr>
                        <a:t>Hyd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Orang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Stanl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400" b="0" kern="1200">
                        <a:solidFill>
                          <a:schemeClr val="tx1"/>
                        </a:solidFill>
                        <a:latin typeface="+mn-lt"/>
                        <a:ea typeface="+mn-ea"/>
                        <a:cs typeface="+mn-cs"/>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0203761"/>
                  </a:ext>
                </a:extLst>
              </a:tr>
            </a:tbl>
          </a:graphicData>
        </a:graphic>
      </p:graphicFrame>
      <p:sp>
        <p:nvSpPr>
          <p:cNvPr id="2" name="Footer Placeholder 1">
            <a:extLst>
              <a:ext uri="{FF2B5EF4-FFF2-40B4-BE49-F238E27FC236}">
                <a16:creationId xmlns:a16="http://schemas.microsoft.com/office/drawing/2014/main" id="{CB1B46F5-39C0-4AF8-91E6-0ED10A0F070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6238257C-9985-489A-ACF9-5747C64584D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B1429CF9-6BF5-4DE4-BD19-191E3F68B87F}"/>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A38F1F0D-EA7A-4E6A-AD84-2970A352DAD1}"/>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B44010CE-3F41-4EA7-9FC9-A22EE2B93E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84698" y="2523035"/>
            <a:ext cx="3058334" cy="1263774"/>
          </a:xfrm>
          <a:prstGeom prst="rect">
            <a:avLst/>
          </a:prstGeom>
        </p:spPr>
      </p:pic>
      <p:sp>
        <p:nvSpPr>
          <p:cNvPr id="14" name="TextBox 13">
            <a:extLst>
              <a:ext uri="{FF2B5EF4-FFF2-40B4-BE49-F238E27FC236}">
                <a16:creationId xmlns:a16="http://schemas.microsoft.com/office/drawing/2014/main" id="{5ECE7B99-66C6-4904-B2D5-1271437FFB1B}"/>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15224138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NORTH DAKOT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01301"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12" name="Table 11">
            <a:extLst>
              <a:ext uri="{FF2B5EF4-FFF2-40B4-BE49-F238E27FC236}">
                <a16:creationId xmlns:a16="http://schemas.microsoft.com/office/drawing/2014/main" id="{D52C5A88-188D-430B-9E84-121BC4307E99}"/>
              </a:ext>
            </a:extLst>
          </p:cNvPr>
          <p:cNvGraphicFramePr>
            <a:graphicFrameLocks noGrp="1"/>
          </p:cNvGraphicFramePr>
          <p:nvPr/>
        </p:nvGraphicFramePr>
        <p:xfrm>
          <a:off x="5046177" y="2857500"/>
          <a:ext cx="6739130" cy="259588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752508217"/>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tblGrid>
              <a:tr h="370840">
                <a:tc>
                  <a:txBody>
                    <a:bodyPr/>
                    <a:lstStyle/>
                    <a:p>
                      <a:r>
                        <a:rPr lang="en-US" sz="1600" b="0">
                          <a:solidFill>
                            <a:schemeClr val="tx1"/>
                          </a:solidFill>
                          <a:latin typeface="+mn-lt"/>
                        </a:rPr>
                        <a:t>Bottineau</a:t>
                      </a:r>
                    </a:p>
                  </a:txBody>
                  <a:tcP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McHenry</a:t>
                      </a: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McLean</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Richland</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Sargent</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70840">
                <a:tc>
                  <a:txBody>
                    <a:bodyPr/>
                    <a:lstStyle/>
                    <a:p>
                      <a:r>
                        <a:rPr lang="en-US" sz="1600" b="0">
                          <a:solidFill>
                            <a:schemeClr val="tx1"/>
                          </a:solidFill>
                          <a:latin typeface="+mn-lt"/>
                        </a:rPr>
                        <a:t>Stutsman</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9182167"/>
                  </a:ext>
                </a:extLst>
              </a:tr>
              <a:tr h="370840">
                <a:tc>
                  <a:txBody>
                    <a:bodyPr/>
                    <a:lstStyle/>
                    <a:p>
                      <a:r>
                        <a:rPr lang="en-US" sz="1600" b="0">
                          <a:solidFill>
                            <a:schemeClr val="tx1"/>
                          </a:solidFill>
                          <a:latin typeface="+mn-lt"/>
                        </a:rPr>
                        <a:t>Ward</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63058934"/>
                  </a:ext>
                </a:extLst>
              </a:tr>
            </a:tbl>
          </a:graphicData>
        </a:graphic>
      </p:graphicFrame>
      <p:sp>
        <p:nvSpPr>
          <p:cNvPr id="2" name="Footer Placeholder 1">
            <a:extLst>
              <a:ext uri="{FF2B5EF4-FFF2-40B4-BE49-F238E27FC236}">
                <a16:creationId xmlns:a16="http://schemas.microsoft.com/office/drawing/2014/main" id="{2A9ED95D-6B8B-4054-8389-5E70E5385606}"/>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E5C78ACC-F94C-4C28-B1A7-D6E258F39F9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02E9CF27-81CD-419D-90C2-9FA681B5B7A2}"/>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3" name="Picture 12">
            <a:extLst>
              <a:ext uri="{FF2B5EF4-FFF2-40B4-BE49-F238E27FC236}">
                <a16:creationId xmlns:a16="http://schemas.microsoft.com/office/drawing/2014/main" id="{E66C3C04-AF44-4CEB-A34F-A9427B86C908}"/>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6" name="Picture 5">
            <a:extLst>
              <a:ext uri="{FF2B5EF4-FFF2-40B4-BE49-F238E27FC236}">
                <a16:creationId xmlns:a16="http://schemas.microsoft.com/office/drawing/2014/main" id="{5416229C-C92E-4709-8D5E-0F0799B4A23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30032" y="2087819"/>
            <a:ext cx="3348038" cy="2085975"/>
          </a:xfrm>
          <a:prstGeom prst="rect">
            <a:avLst/>
          </a:prstGeom>
        </p:spPr>
      </p:pic>
      <p:sp>
        <p:nvSpPr>
          <p:cNvPr id="14" name="TextBox 13">
            <a:extLst>
              <a:ext uri="{FF2B5EF4-FFF2-40B4-BE49-F238E27FC236}">
                <a16:creationId xmlns:a16="http://schemas.microsoft.com/office/drawing/2014/main" id="{B43F13E7-A4B4-4C06-BDCC-1793981841FB}"/>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862013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NEBRASK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45369"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F648027C-F92C-4F56-A721-4C4C48C7AC35}"/>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211822555"/>
                    </a:ext>
                  </a:extLst>
                </a:gridCol>
                <a:gridCol w="1347826">
                  <a:extLst>
                    <a:ext uri="{9D8B030D-6E8A-4147-A177-3AD203B41FA5}">
                      <a16:colId xmlns:a16="http://schemas.microsoft.com/office/drawing/2014/main" val="3675710816"/>
                    </a:ext>
                  </a:extLst>
                </a:gridCol>
                <a:gridCol w="1347826">
                  <a:extLst>
                    <a:ext uri="{9D8B030D-6E8A-4147-A177-3AD203B41FA5}">
                      <a16:colId xmlns:a16="http://schemas.microsoft.com/office/drawing/2014/main" val="3369553998"/>
                    </a:ext>
                  </a:extLst>
                </a:gridCol>
              </a:tblGrid>
              <a:tr h="370840">
                <a:tc>
                  <a:txBody>
                    <a:bodyPr/>
                    <a:lstStyle/>
                    <a:p>
                      <a:r>
                        <a:rPr lang="en-US" sz="1600" b="0">
                          <a:solidFill>
                            <a:schemeClr val="tx1"/>
                          </a:solidFill>
                          <a:latin typeface="+mn-lt"/>
                        </a:rPr>
                        <a:t>Buffalo</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Lancaster</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Custer</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Phelps</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Gosper</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Saunders</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Kearney</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400" b="0">
                        <a:solidFill>
                          <a:schemeClr val="tx1"/>
                        </a:solidFill>
                        <a:latin typeface="+mn-lt"/>
                      </a:endParaRP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4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 name="Footer Placeholder 2">
            <a:extLst>
              <a:ext uri="{FF2B5EF4-FFF2-40B4-BE49-F238E27FC236}">
                <a16:creationId xmlns:a16="http://schemas.microsoft.com/office/drawing/2014/main" id="{C5A4925D-0E23-4757-9116-83DFF1BDDB1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7C01063D-9299-4918-A761-C68352B6AB2E}"/>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44393F07-315E-4B80-BE42-D36C260A9704}"/>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F2401BA0-BBD0-4C11-9758-99E62421AD2B}"/>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36291823-18B7-47B8-9F52-E4BD96F578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1096" y="2186084"/>
            <a:ext cx="3378176" cy="1640481"/>
          </a:xfrm>
          <a:prstGeom prst="rect">
            <a:avLst/>
          </a:prstGeom>
        </p:spPr>
      </p:pic>
      <p:sp>
        <p:nvSpPr>
          <p:cNvPr id="14" name="TextBox 13">
            <a:extLst>
              <a:ext uri="{FF2B5EF4-FFF2-40B4-BE49-F238E27FC236}">
                <a16:creationId xmlns:a16="http://schemas.microsoft.com/office/drawing/2014/main" id="{86A1C055-AF20-4109-A6CD-87878B324588}"/>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17283498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NEW JERSEY</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F648027C-F92C-4F56-A721-4C4C48C7AC35}"/>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565540040"/>
                    </a:ext>
                  </a:extLst>
                </a:gridCol>
                <a:gridCol w="1347826">
                  <a:extLst>
                    <a:ext uri="{9D8B030D-6E8A-4147-A177-3AD203B41FA5}">
                      <a16:colId xmlns:a16="http://schemas.microsoft.com/office/drawing/2014/main" val="3305428891"/>
                    </a:ext>
                  </a:extLst>
                </a:gridCol>
                <a:gridCol w="1347826">
                  <a:extLst>
                    <a:ext uri="{9D8B030D-6E8A-4147-A177-3AD203B41FA5}">
                      <a16:colId xmlns:a16="http://schemas.microsoft.com/office/drawing/2014/main" val="228932537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Salem</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2" name="Footer Placeholder 1">
            <a:extLst>
              <a:ext uri="{FF2B5EF4-FFF2-40B4-BE49-F238E27FC236}">
                <a16:creationId xmlns:a16="http://schemas.microsoft.com/office/drawing/2014/main" id="{79EEB084-EBEF-4612-B829-EFF00FD66E3D}"/>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5DB3199D-510C-46B6-9EE6-D8E8C279A99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017B4909-75C7-4DA2-9EB6-A8742453E19C}"/>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AD8AB958-9782-4168-9741-AEA32429DFFC}"/>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4" name="Picture 3">
            <a:extLst>
              <a:ext uri="{FF2B5EF4-FFF2-40B4-BE49-F238E27FC236}">
                <a16:creationId xmlns:a16="http://schemas.microsoft.com/office/drawing/2014/main" id="{6F6F9CED-B635-46FC-B7D6-AF78844FCD4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11071" y="1450558"/>
            <a:ext cx="2261415" cy="3633575"/>
          </a:xfrm>
          <a:prstGeom prst="rect">
            <a:avLst/>
          </a:prstGeom>
        </p:spPr>
      </p:pic>
      <p:sp>
        <p:nvSpPr>
          <p:cNvPr id="13" name="TextBox 12">
            <a:extLst>
              <a:ext uri="{FF2B5EF4-FFF2-40B4-BE49-F238E27FC236}">
                <a16:creationId xmlns:a16="http://schemas.microsoft.com/office/drawing/2014/main" id="{5A4FAB55-8C88-4C3A-A4A2-824DA56E4790}"/>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445035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3C10E7EA-65A4-49C6-B7CD-EC92C443D49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1366587"/>
            <a:ext cx="12191999" cy="5491413"/>
          </a:xfrm>
          <a:prstGeom prst="rect">
            <a:avLst/>
          </a:prstGeom>
        </p:spPr>
      </p:pic>
      <p:pic>
        <p:nvPicPr>
          <p:cNvPr id="29" name="Graphic 28">
            <a:extLst>
              <a:ext uri="{FF2B5EF4-FFF2-40B4-BE49-F238E27FC236}">
                <a16:creationId xmlns:a16="http://schemas.microsoft.com/office/drawing/2014/main" id="{0C444C76-6D19-437C-B4EB-47A2A192EBEC}"/>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17314" y="1730332"/>
            <a:ext cx="11974284" cy="5026067"/>
          </a:xfrm>
          <a:prstGeom prst="rect">
            <a:avLst/>
          </a:prstGeom>
        </p:spPr>
      </p:pic>
      <p:sp>
        <p:nvSpPr>
          <p:cNvPr id="2" name="Title 1"/>
          <p:cNvSpPr>
            <a:spLocks noGrp="1"/>
          </p:cNvSpPr>
          <p:nvPr>
            <p:ph type="title"/>
          </p:nvPr>
        </p:nvSpPr>
        <p:spPr>
          <a:xfrm>
            <a:off x="838200" y="318014"/>
            <a:ext cx="10515600" cy="590931"/>
          </a:xfrm>
        </p:spPr>
        <p:txBody>
          <a:bodyPr/>
          <a:lstStyle/>
          <a:p>
            <a:r>
              <a:rPr lang="en-US">
                <a:latin typeface="Arial Black"/>
              </a:rPr>
              <a:t>CROP SYMPTOMOLOGY DUE TO RUNOFF</a:t>
            </a:r>
            <a:endParaRPr lang="en-US"/>
          </a:p>
        </p:txBody>
      </p:sp>
      <p:sp>
        <p:nvSpPr>
          <p:cNvPr id="12" name="Rectangle 11">
            <a:extLst>
              <a:ext uri="{FF2B5EF4-FFF2-40B4-BE49-F238E27FC236}">
                <a16:creationId xmlns:a16="http://schemas.microsoft.com/office/drawing/2014/main" id="{F0E4A068-124F-4BB1-81EC-64A4E6A2223A}"/>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9DA2AE0-AFCE-4F26-A2F8-208668BC7106}"/>
              </a:ext>
            </a:extLst>
          </p:cNvPr>
          <p:cNvSpPr/>
          <p:nvPr/>
        </p:nvSpPr>
        <p:spPr>
          <a:xfrm>
            <a:off x="0" y="6314739"/>
            <a:ext cx="12192000" cy="5432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2E55BE0-BA96-499C-9BAD-BBFCAD3A502F}"/>
              </a:ext>
            </a:extLst>
          </p:cNvPr>
          <p:cNvGrpSpPr/>
          <p:nvPr/>
        </p:nvGrpSpPr>
        <p:grpSpPr>
          <a:xfrm>
            <a:off x="950173" y="6425309"/>
            <a:ext cx="1075910" cy="230941"/>
            <a:chOff x="201074" y="6425309"/>
            <a:chExt cx="1075910" cy="230941"/>
          </a:xfrm>
        </p:grpSpPr>
        <p:sp>
          <p:nvSpPr>
            <p:cNvPr id="15" name="Rectangle 14">
              <a:extLst>
                <a:ext uri="{FF2B5EF4-FFF2-40B4-BE49-F238E27FC236}">
                  <a16:creationId xmlns:a16="http://schemas.microsoft.com/office/drawing/2014/main" id="{3C3C7027-8616-4147-8E4C-6C98B6956A9D}"/>
                </a:ext>
              </a:extLst>
            </p:cNvPr>
            <p:cNvSpPr/>
            <p:nvPr/>
          </p:nvSpPr>
          <p:spPr>
            <a:xfrm>
              <a:off x="201074" y="6425309"/>
              <a:ext cx="1075910" cy="22503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spc="600">
                <a:solidFill>
                  <a:schemeClr val="bg1"/>
                </a:solidFill>
                <a:latin typeface="Arial Narrow" panose="020B0606020202030204" pitchFamily="34" charset="0"/>
                <a:ea typeface="+mj-ea"/>
                <a:cs typeface="+mj-cs"/>
              </a:endParaRPr>
            </a:p>
          </p:txBody>
        </p:sp>
        <p:cxnSp>
          <p:nvCxnSpPr>
            <p:cNvPr id="16" name="Straight Connector 15">
              <a:extLst>
                <a:ext uri="{FF2B5EF4-FFF2-40B4-BE49-F238E27FC236}">
                  <a16:creationId xmlns:a16="http://schemas.microsoft.com/office/drawing/2014/main" id="{F70DDDE2-9F7E-4BAE-BD4E-B49CF112266A}"/>
                </a:ext>
              </a:extLst>
            </p:cNvPr>
            <p:cNvCxnSpPr/>
            <p:nvPr/>
          </p:nvCxnSpPr>
          <p:spPr>
            <a:xfrm>
              <a:off x="727471" y="6425309"/>
              <a:ext cx="0" cy="2309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28F9AF88-92BC-4A94-A871-8CF28E72418A}"/>
                </a:ext>
              </a:extLst>
            </p:cNvPr>
            <p:cNvSpPr txBox="1">
              <a:spLocks/>
            </p:cNvSpPr>
            <p:nvPr/>
          </p:nvSpPr>
          <p:spPr>
            <a:xfrm>
              <a:off x="224024" y="6469082"/>
              <a:ext cx="480162"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a:solidFill>
                    <a:schemeClr val="bg1"/>
                  </a:solidFill>
                  <a:latin typeface="Arial Black" panose="020B0A04020102020204" pitchFamily="34" charset="0"/>
                </a:rPr>
                <a:t>2020</a:t>
              </a:r>
              <a:endParaRPr lang="en-US" sz="1200">
                <a:solidFill>
                  <a:schemeClr val="bg1"/>
                </a:solidFill>
                <a:latin typeface="Arial Black" panose="020B0A04020102020204" pitchFamily="34" charset="0"/>
              </a:endParaRPr>
            </a:p>
          </p:txBody>
        </p:sp>
        <p:sp>
          <p:nvSpPr>
            <p:cNvPr id="18" name="Title 1">
              <a:extLst>
                <a:ext uri="{FF2B5EF4-FFF2-40B4-BE49-F238E27FC236}">
                  <a16:creationId xmlns:a16="http://schemas.microsoft.com/office/drawing/2014/main" id="{6782AA0D-BC66-4EC8-96F4-5DBA8FA0F86B}"/>
                </a:ext>
              </a:extLst>
            </p:cNvPr>
            <p:cNvSpPr txBox="1">
              <a:spLocks/>
            </p:cNvSpPr>
            <p:nvPr/>
          </p:nvSpPr>
          <p:spPr>
            <a:xfrm>
              <a:off x="808785" y="6464086"/>
              <a:ext cx="437339" cy="152349"/>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a:solidFill>
                    <a:schemeClr val="bg1"/>
                  </a:solidFill>
                  <a:latin typeface="Arial Narrow" panose="020B0606020202030204" pitchFamily="34" charset="0"/>
                </a:rPr>
                <a:t>Season</a:t>
              </a:r>
            </a:p>
          </p:txBody>
        </p:sp>
      </p:grpSp>
      <p:sp>
        <p:nvSpPr>
          <p:cNvPr id="3" name="Footer Placeholder 2"/>
          <p:cNvSpPr>
            <a:spLocks noGrp="1"/>
          </p:cNvSpPr>
          <p:nvPr>
            <p:ph type="ftr" sz="quarter" idx="15"/>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p:cNvSpPr>
            <a:spLocks noGrp="1"/>
          </p:cNvSpPr>
          <p:nvPr>
            <p:ph type="sldNum" sz="quarter" idx="16"/>
          </p:nvPr>
        </p:nvSpPr>
        <p:spPr/>
        <p:txBody>
          <a:bodyPr/>
          <a:lstStyle/>
          <a:p>
            <a:pPr lvl="0"/>
            <a:fld id="{5382645D-9DD6-408C-B0EA-C65795F9B1DE}" type="slidenum">
              <a:rPr lang="en-US" noProof="0" smtClean="0"/>
              <a:pPr lvl="0"/>
              <a:t>8</a:t>
            </a:fld>
            <a:endParaRPr lang="en-US" noProof="0"/>
          </a:p>
        </p:txBody>
      </p:sp>
      <p:pic>
        <p:nvPicPr>
          <p:cNvPr id="30" name="Picture 29">
            <a:extLst>
              <a:ext uri="{FF2B5EF4-FFF2-40B4-BE49-F238E27FC236}">
                <a16:creationId xmlns:a16="http://schemas.microsoft.com/office/drawing/2014/main" id="{5BA35A5D-F2B6-4949-8066-E388A15D0052}"/>
              </a:ext>
            </a:extLst>
          </p:cNvPr>
          <p:cNvPicPr>
            <a:picLocks noChangeAspect="1"/>
          </p:cNvPicPr>
          <p:nvPr/>
        </p:nvPicPr>
        <p:blipFill>
          <a:blip r:embed="rId6"/>
          <a:stretch>
            <a:fillRect/>
          </a:stretch>
        </p:blipFill>
        <p:spPr>
          <a:xfrm>
            <a:off x="838200" y="6393164"/>
            <a:ext cx="1333500" cy="378995"/>
          </a:xfrm>
          <a:prstGeom prst="rect">
            <a:avLst/>
          </a:prstGeom>
        </p:spPr>
      </p:pic>
      <p:sp>
        <p:nvSpPr>
          <p:cNvPr id="19" name="TextBox 18">
            <a:extLst>
              <a:ext uri="{FF2B5EF4-FFF2-40B4-BE49-F238E27FC236}">
                <a16:creationId xmlns:a16="http://schemas.microsoft.com/office/drawing/2014/main" id="{93E864BE-6C18-461D-857C-6E20B7579472}"/>
              </a:ext>
            </a:extLst>
          </p:cNvPr>
          <p:cNvSpPr txBox="1"/>
          <p:nvPr/>
        </p:nvSpPr>
        <p:spPr>
          <a:xfrm>
            <a:off x="94904" y="5874105"/>
            <a:ext cx="1900320" cy="276999"/>
          </a:xfrm>
          <a:prstGeom prst="rect">
            <a:avLst/>
          </a:prstGeom>
          <a:solidFill>
            <a:schemeClr val="bg1">
              <a:lumMod val="95000"/>
              <a:alpha val="60000"/>
            </a:scheme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rPr>
              <a:t>Image from 2018, Iowa.</a:t>
            </a:r>
            <a:endParaRPr kumimoji="0" lang="en-US" sz="1200" b="0" i="0" u="none" strike="noStrike" kern="0" cap="none" spc="0" normalizeH="0" baseline="0" noProof="0">
              <a:ln>
                <a:noFill/>
              </a:ln>
              <a:effectLst/>
              <a:uLnTx/>
              <a:uFillTx/>
            </a:endParaRPr>
          </a:p>
        </p:txBody>
      </p:sp>
    </p:spTree>
    <p:extLst>
      <p:ext uri="{BB962C8B-B14F-4D97-AF65-F5344CB8AC3E}">
        <p14:creationId xmlns:p14="http://schemas.microsoft.com/office/powerpoint/2010/main" val="110788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NEW MEXICO</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6739128" cy="1854200"/>
        </p:xfrm>
        <a:graphic>
          <a:graphicData uri="http://schemas.openxmlformats.org/drawingml/2006/table">
            <a:tbl>
              <a:tblPr firstRow="1" bandRow="1">
                <a:tableStyleId>{5C22544A-7EE6-4342-B048-85BDC9FD1C3A}</a:tableStyleId>
              </a:tblPr>
              <a:tblGrid>
                <a:gridCol w="1684782">
                  <a:extLst>
                    <a:ext uri="{9D8B030D-6E8A-4147-A177-3AD203B41FA5}">
                      <a16:colId xmlns:a16="http://schemas.microsoft.com/office/drawing/2014/main" val="4229228877"/>
                    </a:ext>
                  </a:extLst>
                </a:gridCol>
                <a:gridCol w="1684782">
                  <a:extLst>
                    <a:ext uri="{9D8B030D-6E8A-4147-A177-3AD203B41FA5}">
                      <a16:colId xmlns:a16="http://schemas.microsoft.com/office/drawing/2014/main" val="2233789841"/>
                    </a:ext>
                  </a:extLst>
                </a:gridCol>
                <a:gridCol w="1684782">
                  <a:extLst>
                    <a:ext uri="{9D8B030D-6E8A-4147-A177-3AD203B41FA5}">
                      <a16:colId xmlns:a16="http://schemas.microsoft.com/office/drawing/2014/main" val="3687097443"/>
                    </a:ext>
                  </a:extLst>
                </a:gridCol>
                <a:gridCol w="1684782">
                  <a:extLst>
                    <a:ext uri="{9D8B030D-6E8A-4147-A177-3AD203B41FA5}">
                      <a16:colId xmlns:a16="http://schemas.microsoft.com/office/drawing/2014/main" val="3845299986"/>
                    </a:ext>
                  </a:extLst>
                </a:gridCol>
              </a:tblGrid>
              <a:tr h="370840">
                <a:tc>
                  <a:txBody>
                    <a:bodyPr/>
                    <a:lstStyle/>
                    <a:p>
                      <a:r>
                        <a:rPr lang="en-US" sz="1600" b="0">
                          <a:solidFill>
                            <a:schemeClr val="tx1"/>
                          </a:solidFill>
                          <a:latin typeface="+mn-lt"/>
                        </a:rPr>
                        <a:t>Chaves</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Doña Ana</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Eddy</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12318"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80794943-83A3-4D4E-95DD-0700BBF8BA3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6B1C9D06-096B-4A08-A93F-CA604AB600C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2FE25C0D-9ABA-4C49-8EA9-A6FB3EAAC9C0}"/>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E805828E-1932-4955-9B0B-8C2988A103BF}"/>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133B0C91-36BA-42DF-98D8-C253FD330770}"/>
              </a:ext>
            </a:extLst>
          </p:cNvPr>
          <p:cNvPicPr>
            <a:picLocks noChangeAspect="1"/>
          </p:cNvPicPr>
          <p:nvPr/>
        </p:nvPicPr>
        <p:blipFill>
          <a:blip r:embed="rId4"/>
          <a:stretch>
            <a:fillRect/>
          </a:stretch>
        </p:blipFill>
        <p:spPr>
          <a:xfrm>
            <a:off x="1418857" y="1534767"/>
            <a:ext cx="2924175" cy="3390900"/>
          </a:xfrm>
          <a:prstGeom prst="rect">
            <a:avLst/>
          </a:prstGeom>
        </p:spPr>
      </p:pic>
      <p:sp>
        <p:nvSpPr>
          <p:cNvPr id="14" name="TextBox 13">
            <a:extLst>
              <a:ext uri="{FF2B5EF4-FFF2-40B4-BE49-F238E27FC236}">
                <a16:creationId xmlns:a16="http://schemas.microsoft.com/office/drawing/2014/main" id="{11903981-C218-4FE3-BA21-AFF8E2E6F760}"/>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97114535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NEW YORK</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80457536"/>
                    </a:ext>
                  </a:extLst>
                </a:gridCol>
                <a:gridCol w="1347826">
                  <a:extLst>
                    <a:ext uri="{9D8B030D-6E8A-4147-A177-3AD203B41FA5}">
                      <a16:colId xmlns:a16="http://schemas.microsoft.com/office/drawing/2014/main" val="44673400"/>
                    </a:ext>
                  </a:extLst>
                </a:gridCol>
                <a:gridCol w="1347826">
                  <a:extLst>
                    <a:ext uri="{9D8B030D-6E8A-4147-A177-3AD203B41FA5}">
                      <a16:colId xmlns:a16="http://schemas.microsoft.com/office/drawing/2014/main" val="61146176"/>
                    </a:ext>
                  </a:extLst>
                </a:gridCol>
                <a:gridCol w="1347826">
                  <a:extLst>
                    <a:ext uri="{9D8B030D-6E8A-4147-A177-3AD203B41FA5}">
                      <a16:colId xmlns:a16="http://schemas.microsoft.com/office/drawing/2014/main" val="16797984"/>
                    </a:ext>
                  </a:extLst>
                </a:gridCol>
              </a:tblGrid>
              <a:tr h="370840">
                <a:tc>
                  <a:txBody>
                    <a:bodyPr/>
                    <a:lstStyle/>
                    <a:p>
                      <a:r>
                        <a:rPr lang="en-US" sz="1600" b="0">
                          <a:solidFill>
                            <a:schemeClr val="tx1"/>
                          </a:solidFill>
                          <a:latin typeface="+mn-lt"/>
                        </a:rPr>
                        <a:t>Genesee</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Madison</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Onondaga</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23335"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3" name="Footer Placeholder 2">
            <a:extLst>
              <a:ext uri="{FF2B5EF4-FFF2-40B4-BE49-F238E27FC236}">
                <a16:creationId xmlns:a16="http://schemas.microsoft.com/office/drawing/2014/main" id="{817F6370-FABA-435F-90DD-EDBCE92C35D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7D676306-BE46-435F-946A-E3D0DBEB090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2CA88936-2FB6-4971-81E5-44D06DBB247A}"/>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B25D1954-26BA-4446-AD23-B8E5E76A8DC0}"/>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2" name="Picture 1">
            <a:extLst>
              <a:ext uri="{FF2B5EF4-FFF2-40B4-BE49-F238E27FC236}">
                <a16:creationId xmlns:a16="http://schemas.microsoft.com/office/drawing/2014/main" id="{D69541AD-FBB8-4FA7-9645-A6C51A575FB2}"/>
              </a:ext>
            </a:extLst>
          </p:cNvPr>
          <p:cNvPicPr>
            <a:picLocks noChangeAspect="1"/>
          </p:cNvPicPr>
          <p:nvPr/>
        </p:nvPicPr>
        <p:blipFill>
          <a:blip r:embed="rId4"/>
          <a:stretch>
            <a:fillRect/>
          </a:stretch>
        </p:blipFill>
        <p:spPr>
          <a:xfrm>
            <a:off x="1127273" y="1801916"/>
            <a:ext cx="3336899" cy="2657781"/>
          </a:xfrm>
          <a:prstGeom prst="rect">
            <a:avLst/>
          </a:prstGeom>
        </p:spPr>
      </p:pic>
      <p:sp>
        <p:nvSpPr>
          <p:cNvPr id="13" name="TextBox 12">
            <a:extLst>
              <a:ext uri="{FF2B5EF4-FFF2-40B4-BE49-F238E27FC236}">
                <a16:creationId xmlns:a16="http://schemas.microsoft.com/office/drawing/2014/main" id="{B747C517-FE2E-4DC2-B0CE-77181F55970A}"/>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9027987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OHIO</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4005272600"/>
                    </a:ext>
                  </a:extLst>
                </a:gridCol>
                <a:gridCol w="1347826">
                  <a:extLst>
                    <a:ext uri="{9D8B030D-6E8A-4147-A177-3AD203B41FA5}">
                      <a16:colId xmlns:a16="http://schemas.microsoft.com/office/drawing/2014/main" val="2837273071"/>
                    </a:ext>
                  </a:extLst>
                </a:gridCol>
                <a:gridCol w="1347826">
                  <a:extLst>
                    <a:ext uri="{9D8B030D-6E8A-4147-A177-3AD203B41FA5}">
                      <a16:colId xmlns:a16="http://schemas.microsoft.com/office/drawing/2014/main" val="3192563969"/>
                    </a:ext>
                  </a:extLst>
                </a:gridCol>
                <a:gridCol w="1347826">
                  <a:extLst>
                    <a:ext uri="{9D8B030D-6E8A-4147-A177-3AD203B41FA5}">
                      <a16:colId xmlns:a16="http://schemas.microsoft.com/office/drawing/2014/main" val="1982760864"/>
                    </a:ext>
                  </a:extLst>
                </a:gridCol>
              </a:tblGrid>
              <a:tr h="370840">
                <a:tc>
                  <a:txBody>
                    <a:bodyPr/>
                    <a:lstStyle/>
                    <a:p>
                      <a:r>
                        <a:rPr lang="en-US" sz="1600" b="0">
                          <a:solidFill>
                            <a:schemeClr val="tx1"/>
                          </a:solidFill>
                          <a:latin typeface="+mn-lt"/>
                        </a:rPr>
                        <a:t>Erie</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Ottawa</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Portage</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490284"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6DF1800B-1E64-450F-AE74-E8A5AF2F06F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C152E971-4C37-4804-9886-BA8963CDE16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AD1AF40F-5ECF-4788-BD77-BEFFBABEAE24}"/>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DE7837D1-220D-499D-B097-683AE04ABB5D}"/>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3" name="Picture 2">
            <a:extLst>
              <a:ext uri="{FF2B5EF4-FFF2-40B4-BE49-F238E27FC236}">
                <a16:creationId xmlns:a16="http://schemas.microsoft.com/office/drawing/2014/main" id="{B6692625-1DE7-4AEA-B3CD-A3DB60954B9D}"/>
              </a:ext>
            </a:extLst>
          </p:cNvPr>
          <p:cNvPicPr>
            <a:picLocks noChangeAspect="1"/>
          </p:cNvPicPr>
          <p:nvPr/>
        </p:nvPicPr>
        <p:blipFill>
          <a:blip r:embed="rId4"/>
          <a:stretch>
            <a:fillRect/>
          </a:stretch>
        </p:blipFill>
        <p:spPr>
          <a:xfrm>
            <a:off x="1267007" y="1510251"/>
            <a:ext cx="3076025" cy="3131324"/>
          </a:xfrm>
          <a:prstGeom prst="rect">
            <a:avLst/>
          </a:prstGeom>
        </p:spPr>
      </p:pic>
      <p:sp>
        <p:nvSpPr>
          <p:cNvPr id="13" name="TextBox 12">
            <a:extLst>
              <a:ext uri="{FF2B5EF4-FFF2-40B4-BE49-F238E27FC236}">
                <a16:creationId xmlns:a16="http://schemas.microsoft.com/office/drawing/2014/main" id="{0B0C25C4-8237-43CC-8A85-0B2196F85750}"/>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48361543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OKLAHOMA</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4005272600"/>
                    </a:ext>
                  </a:extLst>
                </a:gridCol>
                <a:gridCol w="1347826">
                  <a:extLst>
                    <a:ext uri="{9D8B030D-6E8A-4147-A177-3AD203B41FA5}">
                      <a16:colId xmlns:a16="http://schemas.microsoft.com/office/drawing/2014/main" val="2837273071"/>
                    </a:ext>
                  </a:extLst>
                </a:gridCol>
                <a:gridCol w="1347826">
                  <a:extLst>
                    <a:ext uri="{9D8B030D-6E8A-4147-A177-3AD203B41FA5}">
                      <a16:colId xmlns:a16="http://schemas.microsoft.com/office/drawing/2014/main" val="3192563969"/>
                    </a:ext>
                  </a:extLst>
                </a:gridCol>
                <a:gridCol w="1347826">
                  <a:extLst>
                    <a:ext uri="{9D8B030D-6E8A-4147-A177-3AD203B41FA5}">
                      <a16:colId xmlns:a16="http://schemas.microsoft.com/office/drawing/2014/main" val="1982760864"/>
                    </a:ext>
                  </a:extLst>
                </a:gridCol>
              </a:tblGrid>
              <a:tr h="370840">
                <a:tc>
                  <a:txBody>
                    <a:bodyPr/>
                    <a:lstStyle/>
                    <a:p>
                      <a:r>
                        <a:rPr lang="en-US" sz="1600" b="0">
                          <a:solidFill>
                            <a:schemeClr val="tx1"/>
                          </a:solidFill>
                          <a:latin typeface="+mn-lt"/>
                        </a:rPr>
                        <a:t>Osage</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490284"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6DF1800B-1E64-450F-AE74-E8A5AF2F06F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C152E971-4C37-4804-9886-BA8963CDE16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AD1AF40F-5ECF-4788-BD77-BEFFBABEAE24}"/>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DE7837D1-220D-499D-B097-683AE04ABB5D}"/>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6" name="Picture 5">
            <a:extLst>
              <a:ext uri="{FF2B5EF4-FFF2-40B4-BE49-F238E27FC236}">
                <a16:creationId xmlns:a16="http://schemas.microsoft.com/office/drawing/2014/main" id="{84B1BE42-842C-4B5E-B69E-C7B6AAA439F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0106" y="2366424"/>
            <a:ext cx="3162916" cy="1605180"/>
          </a:xfrm>
          <a:prstGeom prst="rect">
            <a:avLst/>
          </a:prstGeom>
        </p:spPr>
      </p:pic>
      <p:sp>
        <p:nvSpPr>
          <p:cNvPr id="13" name="TextBox 12">
            <a:extLst>
              <a:ext uri="{FF2B5EF4-FFF2-40B4-BE49-F238E27FC236}">
                <a16:creationId xmlns:a16="http://schemas.microsoft.com/office/drawing/2014/main" id="{737FF923-80A0-40F1-A621-EBB5F6FF7C5D}"/>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1057995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SOUTH CAROLIN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34352"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2CA374A3-C9AF-4C6C-AF2F-40B1F4AE3B34}"/>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gridCol w="1347826">
                  <a:extLst>
                    <a:ext uri="{9D8B030D-6E8A-4147-A177-3AD203B41FA5}">
                      <a16:colId xmlns:a16="http://schemas.microsoft.com/office/drawing/2014/main" val="3932450210"/>
                    </a:ext>
                  </a:extLst>
                </a:gridCol>
              </a:tblGrid>
              <a:tr h="370840">
                <a:tc>
                  <a:txBody>
                    <a:bodyPr/>
                    <a:lstStyle/>
                    <a:p>
                      <a:r>
                        <a:rPr lang="en-US" sz="1600" b="0">
                          <a:solidFill>
                            <a:schemeClr val="tx1"/>
                          </a:solidFill>
                          <a:latin typeface="+mn-lt"/>
                        </a:rPr>
                        <a:t>Aiken</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Edgefiel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Lexingt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Allendale</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Florenc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Orangeburg</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Barnwell</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Greenvil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Richland</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Clarendo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Hor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Spartanburg</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Darlingto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Lancast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illiamsburg</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2" name="Footer Placeholder 1">
            <a:extLst>
              <a:ext uri="{FF2B5EF4-FFF2-40B4-BE49-F238E27FC236}">
                <a16:creationId xmlns:a16="http://schemas.microsoft.com/office/drawing/2014/main" id="{89DD603A-1F64-4F38-9E8A-E4539867924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BCB0F5B9-D4B6-4A42-9F1B-5CD147D0984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CEC73DF6-D7DA-4B9D-A434-07A77AD90086}"/>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E050D5C0-91D3-4AE3-B847-372B975A51C3}"/>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EAAD054E-1780-4C9F-8536-1A2625587C41}"/>
              </a:ext>
            </a:extLst>
          </p:cNvPr>
          <p:cNvPicPr>
            <a:picLocks noChangeAspect="1"/>
          </p:cNvPicPr>
          <p:nvPr/>
        </p:nvPicPr>
        <p:blipFill>
          <a:blip r:embed="rId4"/>
          <a:stretch>
            <a:fillRect/>
          </a:stretch>
        </p:blipFill>
        <p:spPr>
          <a:xfrm>
            <a:off x="1259224" y="1834010"/>
            <a:ext cx="3072998" cy="2451860"/>
          </a:xfrm>
          <a:prstGeom prst="rect">
            <a:avLst/>
          </a:prstGeom>
        </p:spPr>
      </p:pic>
      <p:sp>
        <p:nvSpPr>
          <p:cNvPr id="14" name="TextBox 13">
            <a:extLst>
              <a:ext uri="{FF2B5EF4-FFF2-40B4-BE49-F238E27FC236}">
                <a16:creationId xmlns:a16="http://schemas.microsoft.com/office/drawing/2014/main" id="{F7F9A38E-2D94-44F9-9565-C3F70CFC6251}"/>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5088216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SOUTH DAKOTA</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45369"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F648027C-F92C-4F56-A721-4C4C48C7AC35}"/>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211822555"/>
                    </a:ext>
                  </a:extLst>
                </a:gridCol>
                <a:gridCol w="1347826">
                  <a:extLst>
                    <a:ext uri="{9D8B030D-6E8A-4147-A177-3AD203B41FA5}">
                      <a16:colId xmlns:a16="http://schemas.microsoft.com/office/drawing/2014/main" val="3675710816"/>
                    </a:ext>
                  </a:extLst>
                </a:gridCol>
                <a:gridCol w="1347826">
                  <a:extLst>
                    <a:ext uri="{9D8B030D-6E8A-4147-A177-3AD203B41FA5}">
                      <a16:colId xmlns:a16="http://schemas.microsoft.com/office/drawing/2014/main" val="3369553998"/>
                    </a:ext>
                  </a:extLst>
                </a:gridCol>
              </a:tblGrid>
              <a:tr h="370840">
                <a:tc>
                  <a:txBody>
                    <a:bodyPr/>
                    <a:lstStyle/>
                    <a:p>
                      <a:r>
                        <a:rPr lang="en-US" sz="1600" b="0">
                          <a:solidFill>
                            <a:schemeClr val="tx1"/>
                          </a:solidFill>
                          <a:latin typeface="+mn-lt"/>
                        </a:rPr>
                        <a:t>Brookings</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Deuel</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Brown</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Grant</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Clark</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Hamli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Codingto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arshall</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400" b="0">
                          <a:solidFill>
                            <a:schemeClr val="tx1"/>
                          </a:solidFill>
                          <a:latin typeface="+mn-lt"/>
                        </a:rPr>
                        <a:t>Day</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400" b="0">
                          <a:solidFill>
                            <a:schemeClr val="tx1"/>
                          </a:solidFill>
                          <a:latin typeface="+mn-lt"/>
                        </a:rPr>
                        <a:t>Roberts</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 name="Footer Placeholder 2">
            <a:extLst>
              <a:ext uri="{FF2B5EF4-FFF2-40B4-BE49-F238E27FC236}">
                <a16:creationId xmlns:a16="http://schemas.microsoft.com/office/drawing/2014/main" id="{C5A4925D-0E23-4757-9116-83DFF1BDDB1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7C01063D-9299-4918-A761-C68352B6AB2E}"/>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44393F07-315E-4B80-BE42-D36C260A9704}"/>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F2401BA0-BBD0-4C11-9758-99E62421AD2B}"/>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6" name="Picture 5">
            <a:extLst>
              <a:ext uri="{FF2B5EF4-FFF2-40B4-BE49-F238E27FC236}">
                <a16:creationId xmlns:a16="http://schemas.microsoft.com/office/drawing/2014/main" id="{E1DB87BC-481C-4CC3-8304-7ED70E6FC3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6483" y="2054517"/>
            <a:ext cx="3498479" cy="2288950"/>
          </a:xfrm>
          <a:prstGeom prst="rect">
            <a:avLst/>
          </a:prstGeom>
        </p:spPr>
      </p:pic>
      <p:sp>
        <p:nvSpPr>
          <p:cNvPr id="13" name="TextBox 12">
            <a:extLst>
              <a:ext uri="{FF2B5EF4-FFF2-40B4-BE49-F238E27FC236}">
                <a16:creationId xmlns:a16="http://schemas.microsoft.com/office/drawing/2014/main" id="{90F84B82-D0FB-4641-8497-CE9CB7707886}"/>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17370073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TENNESSEE</a:t>
            </a:r>
          </a:p>
        </p:txBody>
      </p:sp>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34352"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graphicFrame>
        <p:nvGraphicFramePr>
          <p:cNvPr id="9" name="Table 8">
            <a:extLst>
              <a:ext uri="{FF2B5EF4-FFF2-40B4-BE49-F238E27FC236}">
                <a16:creationId xmlns:a16="http://schemas.microsoft.com/office/drawing/2014/main" id="{2CA374A3-C9AF-4C6C-AF2F-40B1F4AE3B34}"/>
              </a:ext>
            </a:extLst>
          </p:cNvPr>
          <p:cNvGraphicFramePr>
            <a:graphicFrameLocks noGrp="1"/>
          </p:cNvGraphicFramePr>
          <p:nvPr/>
        </p:nvGraphicFramePr>
        <p:xfrm>
          <a:off x="5046177" y="2857500"/>
          <a:ext cx="6739130" cy="222504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gridCol w="1347826">
                  <a:extLst>
                    <a:ext uri="{9D8B030D-6E8A-4147-A177-3AD203B41FA5}">
                      <a16:colId xmlns:a16="http://schemas.microsoft.com/office/drawing/2014/main" val="3932450210"/>
                    </a:ext>
                  </a:extLst>
                </a:gridCol>
              </a:tblGrid>
              <a:tr h="370840">
                <a:tc>
                  <a:txBody>
                    <a:bodyPr/>
                    <a:lstStyle/>
                    <a:p>
                      <a:r>
                        <a:rPr lang="en-US" sz="1600" b="0">
                          <a:solidFill>
                            <a:schemeClr val="tx1"/>
                          </a:solidFill>
                          <a:latin typeface="+mn-lt"/>
                        </a:rPr>
                        <a:t>Bedford</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Grund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Polk</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Bledsoe</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adi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Rutherford</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Cheatham</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ar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hite</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Davidso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au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a:t>Wils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Fentress</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cNai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Frankli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ontgome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4315240"/>
                  </a:ext>
                </a:extLst>
              </a:tr>
            </a:tbl>
          </a:graphicData>
        </a:graphic>
      </p:graphicFrame>
      <p:sp>
        <p:nvSpPr>
          <p:cNvPr id="2" name="Footer Placeholder 1">
            <a:extLst>
              <a:ext uri="{FF2B5EF4-FFF2-40B4-BE49-F238E27FC236}">
                <a16:creationId xmlns:a16="http://schemas.microsoft.com/office/drawing/2014/main" id="{89DD603A-1F64-4F38-9E8A-E4539867924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BCB0F5B9-D4B6-4A42-9F1B-5CD147D0984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CEC73DF6-D7DA-4B9D-A434-07A77AD90086}"/>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E050D5C0-91D3-4AE3-B847-372B975A51C3}"/>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5BF664B9-AA88-48D0-83DE-723D7CC0365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471" y="2495628"/>
            <a:ext cx="3284828" cy="933372"/>
          </a:xfrm>
          <a:prstGeom prst="rect">
            <a:avLst/>
          </a:prstGeom>
        </p:spPr>
      </p:pic>
      <p:sp>
        <p:nvSpPr>
          <p:cNvPr id="14" name="TextBox 13">
            <a:extLst>
              <a:ext uri="{FF2B5EF4-FFF2-40B4-BE49-F238E27FC236}">
                <a16:creationId xmlns:a16="http://schemas.microsoft.com/office/drawing/2014/main" id="{5119E8FF-884E-4C05-A2BE-9AFA304A241E}"/>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29407709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TEXAS</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gridCol w="1347826">
                  <a:extLst>
                    <a:ext uri="{9D8B030D-6E8A-4147-A177-3AD203B41FA5}">
                      <a16:colId xmlns:a16="http://schemas.microsoft.com/office/drawing/2014/main" val="3919987969"/>
                    </a:ext>
                  </a:extLst>
                </a:gridCol>
              </a:tblGrid>
              <a:tr h="370840">
                <a:tc>
                  <a:txBody>
                    <a:bodyPr/>
                    <a:lstStyle/>
                    <a:p>
                      <a:r>
                        <a:rPr lang="en-US" sz="1600" b="0">
                          <a:solidFill>
                            <a:schemeClr val="tx1"/>
                          </a:solidFill>
                          <a:latin typeface="+mn-lt"/>
                        </a:rPr>
                        <a:t>Cameron</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Hay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itchell</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Starr</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Coke</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Hidalgo</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Nuec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Uvalde</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El Paso</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Jim Well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Refugio</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illacy</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Fort Bend</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Kleber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Robert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Harris</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edin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Runnel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01301"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23D8D1C1-0E39-4DA0-83EB-E56FF2339DF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17E3CD50-2E04-43BC-B7EB-A1B3320A13D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735BCB01-3150-47FD-8A2B-EC4AF9B86EFD}"/>
              </a:ext>
            </a:extLst>
          </p:cNvPr>
          <p:cNvPicPr>
            <a:picLocks noChangeAspect="1"/>
          </p:cNvPicPr>
          <p:nvPr/>
        </p:nvPicPr>
        <p:blipFill>
          <a:blip r:embed="rId2"/>
          <a:stretch>
            <a:fillRect/>
          </a:stretch>
        </p:blipFill>
        <p:spPr>
          <a:xfrm>
            <a:off x="914400" y="6325745"/>
            <a:ext cx="1171575" cy="495300"/>
          </a:xfrm>
          <a:prstGeom prst="rect">
            <a:avLst/>
          </a:prstGeom>
        </p:spPr>
      </p:pic>
      <p:pic>
        <p:nvPicPr>
          <p:cNvPr id="12" name="Picture 11">
            <a:extLst>
              <a:ext uri="{FF2B5EF4-FFF2-40B4-BE49-F238E27FC236}">
                <a16:creationId xmlns:a16="http://schemas.microsoft.com/office/drawing/2014/main" id="{9AB3FA42-57EB-483D-A43C-20B1A5B13EAA}"/>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6" name="Picture 5">
            <a:extLst>
              <a:ext uri="{FF2B5EF4-FFF2-40B4-BE49-F238E27FC236}">
                <a16:creationId xmlns:a16="http://schemas.microsoft.com/office/drawing/2014/main" id="{200B3BD4-95A7-443B-B06C-74EEEA08731B}"/>
              </a:ext>
            </a:extLst>
          </p:cNvPr>
          <p:cNvPicPr>
            <a:picLocks noChangeAspect="1"/>
          </p:cNvPicPr>
          <p:nvPr/>
        </p:nvPicPr>
        <p:blipFill>
          <a:blip r:embed="rId4"/>
          <a:stretch>
            <a:fillRect/>
          </a:stretch>
        </p:blipFill>
        <p:spPr>
          <a:xfrm>
            <a:off x="1180732" y="1474164"/>
            <a:ext cx="3162300" cy="3152775"/>
          </a:xfrm>
          <a:prstGeom prst="rect">
            <a:avLst/>
          </a:prstGeom>
        </p:spPr>
      </p:pic>
      <p:sp>
        <p:nvSpPr>
          <p:cNvPr id="13" name="TextBox 12">
            <a:extLst>
              <a:ext uri="{FF2B5EF4-FFF2-40B4-BE49-F238E27FC236}">
                <a16:creationId xmlns:a16="http://schemas.microsoft.com/office/drawing/2014/main" id="{EB42ABC9-75D2-4F3D-80FC-0D03BCF943DE}"/>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1535999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VIRGINIA</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6739130" cy="185420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4005272600"/>
                    </a:ext>
                  </a:extLst>
                </a:gridCol>
                <a:gridCol w="1347826">
                  <a:extLst>
                    <a:ext uri="{9D8B030D-6E8A-4147-A177-3AD203B41FA5}">
                      <a16:colId xmlns:a16="http://schemas.microsoft.com/office/drawing/2014/main" val="2837273071"/>
                    </a:ext>
                  </a:extLst>
                </a:gridCol>
                <a:gridCol w="1347826">
                  <a:extLst>
                    <a:ext uri="{9D8B030D-6E8A-4147-A177-3AD203B41FA5}">
                      <a16:colId xmlns:a16="http://schemas.microsoft.com/office/drawing/2014/main" val="3192563969"/>
                    </a:ext>
                  </a:extLst>
                </a:gridCol>
                <a:gridCol w="1347826">
                  <a:extLst>
                    <a:ext uri="{9D8B030D-6E8A-4147-A177-3AD203B41FA5}">
                      <a16:colId xmlns:a16="http://schemas.microsoft.com/office/drawing/2014/main" val="1982760864"/>
                    </a:ext>
                  </a:extLst>
                </a:gridCol>
              </a:tblGrid>
              <a:tr h="370840">
                <a:tc>
                  <a:txBody>
                    <a:bodyPr/>
                    <a:lstStyle/>
                    <a:p>
                      <a:r>
                        <a:rPr lang="en-US" sz="1600" b="0">
                          <a:solidFill>
                            <a:schemeClr val="tx1"/>
                          </a:solidFill>
                          <a:latin typeface="+mn-lt"/>
                        </a:rPr>
                        <a:t>Dinwiddie</a:t>
                      </a: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Mecklenburg</a:t>
                      </a: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490284"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6DF1800B-1E64-450F-AE74-E8A5AF2F06F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4" name="Slide Number Placeholder 3">
            <a:extLst>
              <a:ext uri="{FF2B5EF4-FFF2-40B4-BE49-F238E27FC236}">
                <a16:creationId xmlns:a16="http://schemas.microsoft.com/office/drawing/2014/main" id="{C152E971-4C37-4804-9886-BA8963CDE16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5" name="Picture 4">
            <a:extLst>
              <a:ext uri="{FF2B5EF4-FFF2-40B4-BE49-F238E27FC236}">
                <a16:creationId xmlns:a16="http://schemas.microsoft.com/office/drawing/2014/main" id="{AD1AF40F-5ECF-4788-BD77-BEFFBABEAE24}"/>
              </a:ext>
            </a:extLst>
          </p:cNvPr>
          <p:cNvPicPr>
            <a:picLocks noChangeAspect="1"/>
          </p:cNvPicPr>
          <p:nvPr/>
        </p:nvPicPr>
        <p:blipFill>
          <a:blip r:embed="rId2"/>
          <a:stretch>
            <a:fillRect/>
          </a:stretch>
        </p:blipFill>
        <p:spPr>
          <a:xfrm>
            <a:off x="914400" y="6362700"/>
            <a:ext cx="1171575" cy="495300"/>
          </a:xfrm>
          <a:prstGeom prst="rect">
            <a:avLst/>
          </a:prstGeom>
        </p:spPr>
      </p:pic>
      <p:pic>
        <p:nvPicPr>
          <p:cNvPr id="12" name="Picture 11">
            <a:extLst>
              <a:ext uri="{FF2B5EF4-FFF2-40B4-BE49-F238E27FC236}">
                <a16:creationId xmlns:a16="http://schemas.microsoft.com/office/drawing/2014/main" id="{DE7837D1-220D-499D-B097-683AE04ABB5D}"/>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13" name="Picture 12">
            <a:extLst>
              <a:ext uri="{FF2B5EF4-FFF2-40B4-BE49-F238E27FC236}">
                <a16:creationId xmlns:a16="http://schemas.microsoft.com/office/drawing/2014/main" id="{C4C4786A-6CD9-4D28-AE6C-0332BE84B1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05948" y="2387399"/>
            <a:ext cx="3295859" cy="1518680"/>
          </a:xfrm>
          <a:prstGeom prst="rect">
            <a:avLst/>
          </a:prstGeom>
        </p:spPr>
      </p:pic>
      <p:sp>
        <p:nvSpPr>
          <p:cNvPr id="14" name="TextBox 13">
            <a:extLst>
              <a:ext uri="{FF2B5EF4-FFF2-40B4-BE49-F238E27FC236}">
                <a16:creationId xmlns:a16="http://schemas.microsoft.com/office/drawing/2014/main" id="{0D98C0E6-2795-4894-BEA7-D6D917C60041}"/>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13709961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20">
            <a:extLst>
              <a:ext uri="{FF2B5EF4-FFF2-40B4-BE49-F238E27FC236}">
                <a16:creationId xmlns:a16="http://schemas.microsoft.com/office/drawing/2014/main" id="{D116B019-6C63-4CEB-809B-483C9874F2C3}"/>
              </a:ext>
            </a:extLst>
          </p:cNvPr>
          <p:cNvSpPr/>
          <p:nvPr/>
        </p:nvSpPr>
        <p:spPr>
          <a:xfrm rot="5400000">
            <a:off x="4560854" y="2323679"/>
            <a:ext cx="267501" cy="13121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6FB3FF0-A1AF-49BE-A56C-203EEA179A80}"/>
              </a:ext>
            </a:extLst>
          </p:cNvPr>
          <p:cNvSpPr/>
          <p:nvPr/>
        </p:nvSpPr>
        <p:spPr>
          <a:xfrm>
            <a:off x="5046177" y="2186084"/>
            <a:ext cx="6231424" cy="406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WISCONSIN</a:t>
            </a:r>
          </a:p>
        </p:txBody>
      </p:sp>
      <p:graphicFrame>
        <p:nvGraphicFramePr>
          <p:cNvPr id="25" name="Table 24">
            <a:extLst>
              <a:ext uri="{FF2B5EF4-FFF2-40B4-BE49-F238E27FC236}">
                <a16:creationId xmlns:a16="http://schemas.microsoft.com/office/drawing/2014/main" id="{921C56BC-9576-4DB8-A6FE-9C061A62B7C9}"/>
              </a:ext>
            </a:extLst>
          </p:cNvPr>
          <p:cNvGraphicFramePr>
            <a:graphicFrameLocks noGrp="1"/>
          </p:cNvGraphicFramePr>
          <p:nvPr/>
        </p:nvGraphicFramePr>
        <p:xfrm>
          <a:off x="5046177" y="2857500"/>
          <a:ext cx="6739130" cy="2595880"/>
        </p:xfrm>
        <a:graphic>
          <a:graphicData uri="http://schemas.openxmlformats.org/drawingml/2006/table">
            <a:tbl>
              <a:tblPr firstRow="1" bandRow="1">
                <a:tableStyleId>{5C22544A-7EE6-4342-B048-85BDC9FD1C3A}</a:tableStyleId>
              </a:tblPr>
              <a:tblGrid>
                <a:gridCol w="1347826">
                  <a:extLst>
                    <a:ext uri="{9D8B030D-6E8A-4147-A177-3AD203B41FA5}">
                      <a16:colId xmlns:a16="http://schemas.microsoft.com/office/drawing/2014/main" val="4229228877"/>
                    </a:ext>
                  </a:extLst>
                </a:gridCol>
                <a:gridCol w="1347826">
                  <a:extLst>
                    <a:ext uri="{9D8B030D-6E8A-4147-A177-3AD203B41FA5}">
                      <a16:colId xmlns:a16="http://schemas.microsoft.com/office/drawing/2014/main" val="2595070804"/>
                    </a:ext>
                  </a:extLst>
                </a:gridCol>
                <a:gridCol w="1347826">
                  <a:extLst>
                    <a:ext uri="{9D8B030D-6E8A-4147-A177-3AD203B41FA5}">
                      <a16:colId xmlns:a16="http://schemas.microsoft.com/office/drawing/2014/main" val="2884607966"/>
                    </a:ext>
                  </a:extLst>
                </a:gridCol>
                <a:gridCol w="1347826">
                  <a:extLst>
                    <a:ext uri="{9D8B030D-6E8A-4147-A177-3AD203B41FA5}">
                      <a16:colId xmlns:a16="http://schemas.microsoft.com/office/drawing/2014/main" val="1164439999"/>
                    </a:ext>
                  </a:extLst>
                </a:gridCol>
                <a:gridCol w="1347826">
                  <a:extLst>
                    <a:ext uri="{9D8B030D-6E8A-4147-A177-3AD203B41FA5}">
                      <a16:colId xmlns:a16="http://schemas.microsoft.com/office/drawing/2014/main" val="3919987969"/>
                    </a:ext>
                  </a:extLst>
                </a:gridCol>
              </a:tblGrid>
              <a:tr h="370840">
                <a:tc>
                  <a:txBody>
                    <a:bodyPr/>
                    <a:lstStyle/>
                    <a:p>
                      <a:r>
                        <a:rPr lang="en-US" sz="1600" b="0">
                          <a:solidFill>
                            <a:schemeClr val="tx1"/>
                          </a:solidFill>
                          <a:latin typeface="+mn-lt"/>
                        </a:rPr>
                        <a:t>Adams</a:t>
                      </a:r>
                    </a:p>
                  </a:txBody>
                  <a:tcPr>
                    <a:lnL w="12700" cmpd="sng">
                      <a:noFill/>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err="1">
                          <a:solidFill>
                            <a:schemeClr val="tx1"/>
                          </a:solidFill>
                          <a:latin typeface="+mn-lt"/>
                        </a:rPr>
                        <a:t>Eau</a:t>
                      </a:r>
                      <a:r>
                        <a:rPr lang="en-US" sz="1600" b="0">
                          <a:solidFill>
                            <a:schemeClr val="tx1"/>
                          </a:solidFill>
                          <a:latin typeface="+mn-lt"/>
                        </a:rPr>
                        <a:t> Clair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onro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St. Croix</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1498209"/>
                  </a:ext>
                </a:extLst>
              </a:tr>
              <a:tr h="370840">
                <a:tc>
                  <a:txBody>
                    <a:bodyPr/>
                    <a:lstStyle/>
                    <a:p>
                      <a:r>
                        <a:rPr lang="en-US" sz="1600" b="0">
                          <a:solidFill>
                            <a:schemeClr val="tx1"/>
                          </a:solidFill>
                          <a:latin typeface="+mn-lt"/>
                        </a:rPr>
                        <a:t>Barron</a:t>
                      </a:r>
                    </a:p>
                  </a:txBody>
                  <a:tcPr>
                    <a:lnL w="12700" cmpd="sng">
                      <a:noFill/>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Gra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Oconto</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Vernon</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21505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Chippewa</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Green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Portag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aupaca</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954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rPr>
                        <a:t>Clark</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Jack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Richl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aushara</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524409"/>
                  </a:ext>
                </a:extLst>
              </a:tr>
              <a:tr h="370840">
                <a:tc>
                  <a:txBody>
                    <a:bodyPr/>
                    <a:lstStyle/>
                    <a:p>
                      <a:r>
                        <a:rPr lang="en-US" sz="1600" b="0">
                          <a:solidFill>
                            <a:schemeClr val="tx1"/>
                          </a:solidFill>
                          <a:latin typeface="+mn-lt"/>
                        </a:rPr>
                        <a:t>Columbia</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Juneau</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Sauk</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Wood</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895253"/>
                  </a:ext>
                </a:extLst>
              </a:tr>
              <a:tr h="370840">
                <a:tc>
                  <a:txBody>
                    <a:bodyPr/>
                    <a:lstStyle/>
                    <a:p>
                      <a:r>
                        <a:rPr lang="en-US" sz="1600" b="0">
                          <a:solidFill>
                            <a:schemeClr val="tx1"/>
                          </a:solidFill>
                          <a:latin typeface="+mn-lt"/>
                        </a:rPr>
                        <a:t>Dane</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anitowoc</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Shawano</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7243612"/>
                  </a:ext>
                </a:extLst>
              </a:tr>
              <a:tr h="370840">
                <a:tc>
                  <a:txBody>
                    <a:bodyPr/>
                    <a:lstStyle/>
                    <a:p>
                      <a:r>
                        <a:rPr lang="en-US" sz="1600" b="0">
                          <a:solidFill>
                            <a:schemeClr val="tx1"/>
                          </a:solidFill>
                          <a:latin typeface="+mn-lt"/>
                        </a:rPr>
                        <a:t>Dunn</a:t>
                      </a:r>
                    </a:p>
                  </a:txBody>
                  <a:tcPr>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Marquet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600" b="0">
                          <a:solidFill>
                            <a:schemeClr val="tx1"/>
                          </a:solidFill>
                          <a:latin typeface="+mn-lt"/>
                        </a:rPr>
                        <a:t>Sheboyga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b="0">
                        <a:solidFill>
                          <a:schemeClr val="tx1"/>
                        </a:solidFill>
                        <a:latin typeface="+mn-lt"/>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1065510"/>
                  </a:ext>
                </a:extLst>
              </a:tr>
            </a:tbl>
          </a:graphicData>
        </a:graphic>
      </p:graphicFrame>
      <p:sp>
        <p:nvSpPr>
          <p:cNvPr id="30" name="Rectangle 29">
            <a:extLst>
              <a:ext uri="{FF2B5EF4-FFF2-40B4-BE49-F238E27FC236}">
                <a16:creationId xmlns:a16="http://schemas.microsoft.com/office/drawing/2014/main" id="{1C8F36B0-F81A-414B-B07E-2C4D241CB72C}"/>
              </a:ext>
            </a:extLst>
          </p:cNvPr>
          <p:cNvSpPr/>
          <p:nvPr/>
        </p:nvSpPr>
        <p:spPr>
          <a:xfrm>
            <a:off x="963690" y="318015"/>
            <a:ext cx="3664066" cy="562558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itle 4">
            <a:extLst>
              <a:ext uri="{FF2B5EF4-FFF2-40B4-BE49-F238E27FC236}">
                <a16:creationId xmlns:a16="http://schemas.microsoft.com/office/drawing/2014/main" id="{D41CCCE5-7F7A-44B9-844B-E6FEFDF1C9C3}"/>
              </a:ext>
            </a:extLst>
          </p:cNvPr>
          <p:cNvSpPr txBox="1">
            <a:spLocks/>
          </p:cNvSpPr>
          <p:nvPr/>
        </p:nvSpPr>
        <p:spPr>
          <a:xfrm>
            <a:off x="4945224" y="228600"/>
            <a:ext cx="6501301" cy="152214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kumimoji="0" lang="en-US" sz="3600" b="0" i="0" u="none" strike="noStrike" kern="1200" cap="all" spc="0" normalizeH="0" baseline="0">
                <a:ln>
                  <a:noFill/>
                </a:ln>
                <a:solidFill>
                  <a:prstClr val="black"/>
                </a:solidFill>
                <a:effectLst/>
                <a:uLnTx/>
                <a:uFillTx/>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0" i="0" u="none" strike="noStrike" kern="1200" cap="all" spc="0" normalizeH="0" baseline="0" noProof="0">
                <a:ln>
                  <a:noFill/>
                </a:ln>
                <a:solidFill>
                  <a:prstClr val="black"/>
                </a:solidFill>
                <a:effectLst/>
                <a:uLnTx/>
                <a:uFillTx/>
                <a:latin typeface="Arial Black" panose="020B0A04020102020204" pitchFamily="34" charset="0"/>
                <a:ea typeface="+mj-ea"/>
                <a:cs typeface="+mj-cs"/>
              </a:rPr>
              <a:t>COUNTIES IMPACTED BY ENDANGERED SPECIES REQUIREMENT*</a:t>
            </a:r>
            <a:endParaRPr kumimoji="0" lang="en-US" sz="3600" b="0" i="0" u="none" strike="noStrike" kern="1200" cap="all" spc="-60" normalizeH="0" baseline="0" noProof="0">
              <a:ln>
                <a:noFill/>
              </a:ln>
              <a:solidFill>
                <a:prstClr val="black"/>
              </a:solidFill>
              <a:effectLst/>
              <a:uLnTx/>
              <a:uFillTx/>
              <a:latin typeface="Arial Black" panose="020B0A04020102020204" pitchFamily="34" charset="0"/>
              <a:ea typeface="+mj-ea"/>
              <a:cs typeface="+mj-cs"/>
            </a:endParaRPr>
          </a:p>
        </p:txBody>
      </p:sp>
      <p:sp>
        <p:nvSpPr>
          <p:cNvPr id="2" name="Footer Placeholder 1">
            <a:extLst>
              <a:ext uri="{FF2B5EF4-FFF2-40B4-BE49-F238E27FC236}">
                <a16:creationId xmlns:a16="http://schemas.microsoft.com/office/drawing/2014/main" id="{23D8D1C1-0E39-4DA0-83EB-E56FF2339DF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Narrow" charset="0"/>
              </a:rPr>
              <a:t>These training materials are designed to satisfy federal training requirements. Please check with your state pesticide regulatory agency for additional training and application requirements imposed by your state. V1-11/20</a:t>
            </a:r>
          </a:p>
        </p:txBody>
      </p:sp>
      <p:sp>
        <p:nvSpPr>
          <p:cNvPr id="3" name="Slide Number Placeholder 2">
            <a:extLst>
              <a:ext uri="{FF2B5EF4-FFF2-40B4-BE49-F238E27FC236}">
                <a16:creationId xmlns:a16="http://schemas.microsoft.com/office/drawing/2014/main" id="{17E3CD50-2E04-43BC-B7EB-A1B3320A13D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82645D-9DD6-408C-B0EA-C65795F9B1DE}" type="slidenum">
              <a:rPr kumimoji="0" lang="en-US" sz="800" b="0" i="0" u="none" strike="noStrike" kern="1200" cap="none" spc="0" normalizeH="0" baseline="0" noProof="0" smtClean="0">
                <a:ln>
                  <a:noFill/>
                </a:ln>
                <a:solidFill>
                  <a:prstClr val="white"/>
                </a:solidFill>
                <a:effectLst/>
                <a:uLnTx/>
                <a:uFillTx/>
                <a:latin typeface="Arial Black" panose="020B0A04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8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735BCB01-3150-47FD-8A2B-EC4AF9B86EFD}"/>
              </a:ext>
            </a:extLst>
          </p:cNvPr>
          <p:cNvPicPr>
            <a:picLocks noChangeAspect="1"/>
          </p:cNvPicPr>
          <p:nvPr/>
        </p:nvPicPr>
        <p:blipFill>
          <a:blip r:embed="rId2"/>
          <a:stretch>
            <a:fillRect/>
          </a:stretch>
        </p:blipFill>
        <p:spPr>
          <a:xfrm>
            <a:off x="914400" y="6325745"/>
            <a:ext cx="1171575" cy="495300"/>
          </a:xfrm>
          <a:prstGeom prst="rect">
            <a:avLst/>
          </a:prstGeom>
        </p:spPr>
      </p:pic>
      <p:pic>
        <p:nvPicPr>
          <p:cNvPr id="12" name="Picture 11">
            <a:extLst>
              <a:ext uri="{FF2B5EF4-FFF2-40B4-BE49-F238E27FC236}">
                <a16:creationId xmlns:a16="http://schemas.microsoft.com/office/drawing/2014/main" id="{9AB3FA42-57EB-483D-A43C-20B1A5B13EAA}"/>
              </a:ext>
            </a:extLst>
          </p:cNvPr>
          <p:cNvPicPr>
            <a:picLocks noChangeAspect="1"/>
          </p:cNvPicPr>
          <p:nvPr/>
        </p:nvPicPr>
        <p:blipFill>
          <a:blip r:embed="rId3"/>
          <a:stretch>
            <a:fillRect/>
          </a:stretch>
        </p:blipFill>
        <p:spPr>
          <a:xfrm>
            <a:off x="838200" y="6393164"/>
            <a:ext cx="1333500" cy="378995"/>
          </a:xfrm>
          <a:prstGeom prst="rect">
            <a:avLst/>
          </a:prstGeom>
        </p:spPr>
      </p:pic>
      <p:pic>
        <p:nvPicPr>
          <p:cNvPr id="5" name="Picture 4">
            <a:extLst>
              <a:ext uri="{FF2B5EF4-FFF2-40B4-BE49-F238E27FC236}">
                <a16:creationId xmlns:a16="http://schemas.microsoft.com/office/drawing/2014/main" id="{2B7EBE0D-9623-4C2D-B172-99A2C0251F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53263" y="1379174"/>
            <a:ext cx="3189769" cy="3163009"/>
          </a:xfrm>
          <a:prstGeom prst="rect">
            <a:avLst/>
          </a:prstGeom>
        </p:spPr>
      </p:pic>
      <p:sp>
        <p:nvSpPr>
          <p:cNvPr id="13" name="TextBox 12">
            <a:extLst>
              <a:ext uri="{FF2B5EF4-FFF2-40B4-BE49-F238E27FC236}">
                <a16:creationId xmlns:a16="http://schemas.microsoft.com/office/drawing/2014/main" id="{41D5E080-D1BB-4340-9675-CFC9ACBE1F5F}"/>
              </a:ext>
            </a:extLst>
          </p:cNvPr>
          <p:cNvSpPr txBox="1"/>
          <p:nvPr/>
        </p:nvSpPr>
        <p:spPr>
          <a:xfrm>
            <a:off x="4945224" y="5786975"/>
            <a:ext cx="44948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 current as of December, 2020</a:t>
            </a:r>
          </a:p>
        </p:txBody>
      </p:sp>
    </p:spTree>
    <p:extLst>
      <p:ext uri="{BB962C8B-B14F-4D97-AF65-F5344CB8AC3E}">
        <p14:creationId xmlns:p14="http://schemas.microsoft.com/office/powerpoint/2010/main" val="3946389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A9B81C-ED30-4642-8567-D2A58464E1A4}"/>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C3C75A84-211B-4100-9A76-A702FF7485C7}"/>
              </a:ext>
            </a:extLst>
          </p:cNvPr>
          <p:cNvSpPr>
            <a:spLocks noGrp="1"/>
          </p:cNvSpPr>
          <p:nvPr>
            <p:ph type="body" idx="11"/>
          </p:nvPr>
        </p:nvSpPr>
        <p:spPr/>
        <p:txBody>
          <a:bodyPr/>
          <a:lstStyle/>
          <a:p>
            <a:endParaRPr lang="en-US"/>
          </a:p>
        </p:txBody>
      </p:sp>
      <p:sp>
        <p:nvSpPr>
          <p:cNvPr id="4" name="Title 3">
            <a:extLst>
              <a:ext uri="{FF2B5EF4-FFF2-40B4-BE49-F238E27FC236}">
                <a16:creationId xmlns:a16="http://schemas.microsoft.com/office/drawing/2014/main" id="{26021883-DE76-4001-B08F-ABFECAD65F6C}"/>
              </a:ext>
            </a:extLst>
          </p:cNvPr>
          <p:cNvSpPr>
            <a:spLocks noGrp="1"/>
          </p:cNvSpPr>
          <p:nvPr>
            <p:ph type="title"/>
          </p:nvPr>
        </p:nvSpPr>
        <p:spPr>
          <a:xfrm>
            <a:off x="838200" y="2179669"/>
            <a:ext cx="6522720" cy="1875963"/>
          </a:xfrm>
        </p:spPr>
        <p:txBody>
          <a:bodyPr/>
          <a:lstStyle/>
          <a:p>
            <a:r>
              <a:rPr lang="en-US" sz="3600">
                <a:latin typeface="Arial Black"/>
              </a:rPr>
              <a:t>Record Keeping Requirements</a:t>
            </a:r>
            <a:br>
              <a:rPr lang="en-US" sz="3600">
                <a:latin typeface="Arial Black"/>
              </a:rPr>
            </a:br>
            <a:r>
              <a:rPr lang="en-US" sz="3600">
                <a:latin typeface="Arial Black"/>
              </a:rPr>
              <a:t/>
            </a:r>
            <a:br>
              <a:rPr lang="en-US" sz="3600">
                <a:latin typeface="Arial Black"/>
              </a:rPr>
            </a:br>
            <a:endParaRPr lang="en-US" sz="3600"/>
          </a:p>
        </p:txBody>
      </p:sp>
    </p:spTree>
    <p:extLst>
      <p:ext uri="{BB962C8B-B14F-4D97-AF65-F5344CB8AC3E}">
        <p14:creationId xmlns:p14="http://schemas.microsoft.com/office/powerpoint/2010/main" val="368625201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5F95EFDB-5B45-4B3D-A7B0-DCA4AFEDED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8200" y="5779918"/>
            <a:ext cx="1111659" cy="512064"/>
          </a:xfrm>
          <a:prstGeom prst="rect">
            <a:avLst/>
          </a:prstGeom>
        </p:spPr>
      </p:pic>
      <p:pic>
        <p:nvPicPr>
          <p:cNvPr id="39" name="Picture 38">
            <a:extLst>
              <a:ext uri="{FF2B5EF4-FFF2-40B4-BE49-F238E27FC236}">
                <a16:creationId xmlns:a16="http://schemas.microsoft.com/office/drawing/2014/main" id="{FC4F8D1E-A55B-49E9-BEE0-9E5FC45FA83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10571" y="1141155"/>
            <a:ext cx="3141233" cy="2807745"/>
          </a:xfrm>
          <a:prstGeom prst="rect">
            <a:avLst/>
          </a:prstGeom>
        </p:spPr>
      </p:pic>
      <p:sp>
        <p:nvSpPr>
          <p:cNvPr id="6" name="Footer Placeholder 5">
            <a:extLst>
              <a:ext uri="{FF2B5EF4-FFF2-40B4-BE49-F238E27FC236}">
                <a16:creationId xmlns:a16="http://schemas.microsoft.com/office/drawing/2014/main" id="{E1D3A87B-B994-4379-9AFE-7C6D0B965469}"/>
              </a:ext>
            </a:extLst>
          </p:cNvPr>
          <p:cNvSpPr>
            <a:spLocks noGrp="1"/>
          </p:cNvSpPr>
          <p:nvPr>
            <p:ph type="ftr" sz="quarter" idx="10"/>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1664A3F4-F702-4E48-ADB1-C36FC859912D}"/>
              </a:ext>
            </a:extLst>
          </p:cNvPr>
          <p:cNvSpPr>
            <a:spLocks noGrp="1"/>
          </p:cNvSpPr>
          <p:nvPr>
            <p:ph type="sldNum" sz="quarter" idx="11"/>
          </p:nvPr>
        </p:nvSpPr>
        <p:spPr/>
        <p:txBody>
          <a:bodyPr/>
          <a:lstStyle/>
          <a:p>
            <a:pPr lvl="0"/>
            <a:fld id="{5A1C2420-D500-4FDF-A245-39DCF46675EA}" type="slidenum">
              <a:rPr lang="en-US" noProof="0" smtClean="0"/>
              <a:pPr lvl="0"/>
              <a:t>90</a:t>
            </a:fld>
            <a:endParaRPr lang="en-US" noProof="0"/>
          </a:p>
        </p:txBody>
      </p:sp>
      <p:sp>
        <p:nvSpPr>
          <p:cNvPr id="2" name="Title 1">
            <a:extLst>
              <a:ext uri="{FF2B5EF4-FFF2-40B4-BE49-F238E27FC236}">
                <a16:creationId xmlns:a16="http://schemas.microsoft.com/office/drawing/2014/main" id="{6E7C41BD-FFFC-410C-AD34-CF0CEA5832FA}"/>
              </a:ext>
            </a:extLst>
          </p:cNvPr>
          <p:cNvSpPr>
            <a:spLocks noGrp="1"/>
          </p:cNvSpPr>
          <p:nvPr>
            <p:ph type="title"/>
          </p:nvPr>
        </p:nvSpPr>
        <p:spPr/>
        <p:txBody>
          <a:bodyPr/>
          <a:lstStyle/>
          <a:p>
            <a:r>
              <a:rPr lang="en-US"/>
              <a:t>Weed Examples</a:t>
            </a:r>
          </a:p>
        </p:txBody>
      </p:sp>
      <p:graphicFrame>
        <p:nvGraphicFramePr>
          <p:cNvPr id="214" name="Table 213">
            <a:extLst>
              <a:ext uri="{FF2B5EF4-FFF2-40B4-BE49-F238E27FC236}">
                <a16:creationId xmlns:a16="http://schemas.microsoft.com/office/drawing/2014/main" id="{CC182EC8-34C3-42CB-B2CD-193BF62887D0}"/>
              </a:ext>
            </a:extLst>
          </p:cNvPr>
          <p:cNvGraphicFramePr>
            <a:graphicFrameLocks noGrp="1"/>
          </p:cNvGraphicFramePr>
          <p:nvPr/>
        </p:nvGraphicFramePr>
        <p:xfrm>
          <a:off x="0" y="4715163"/>
          <a:ext cx="12199350" cy="1051560"/>
        </p:xfrm>
        <a:graphic>
          <a:graphicData uri="http://schemas.openxmlformats.org/drawingml/2006/table">
            <a:tbl>
              <a:tblPr firstCol="1" bandRow="1">
                <a:tableStyleId>{5C22544A-7EE6-4342-B048-85BDC9FD1C3A}</a:tableStyleId>
              </a:tblPr>
              <a:tblGrid>
                <a:gridCol w="868680">
                  <a:extLst>
                    <a:ext uri="{9D8B030D-6E8A-4147-A177-3AD203B41FA5}">
                      <a16:colId xmlns:a16="http://schemas.microsoft.com/office/drawing/2014/main" val="2286531471"/>
                    </a:ext>
                  </a:extLst>
                </a:gridCol>
                <a:gridCol w="731520">
                  <a:extLst>
                    <a:ext uri="{9D8B030D-6E8A-4147-A177-3AD203B41FA5}">
                      <a16:colId xmlns:a16="http://schemas.microsoft.com/office/drawing/2014/main" val="859317391"/>
                    </a:ext>
                  </a:extLst>
                </a:gridCol>
                <a:gridCol w="731520">
                  <a:extLst>
                    <a:ext uri="{9D8B030D-6E8A-4147-A177-3AD203B41FA5}">
                      <a16:colId xmlns:a16="http://schemas.microsoft.com/office/drawing/2014/main" val="1499567133"/>
                    </a:ext>
                  </a:extLst>
                </a:gridCol>
                <a:gridCol w="877824">
                  <a:extLst>
                    <a:ext uri="{9D8B030D-6E8A-4147-A177-3AD203B41FA5}">
                      <a16:colId xmlns:a16="http://schemas.microsoft.com/office/drawing/2014/main" val="3425404963"/>
                    </a:ext>
                  </a:extLst>
                </a:gridCol>
                <a:gridCol w="738553">
                  <a:extLst>
                    <a:ext uri="{9D8B030D-6E8A-4147-A177-3AD203B41FA5}">
                      <a16:colId xmlns:a16="http://schemas.microsoft.com/office/drawing/2014/main" val="764172400"/>
                    </a:ext>
                  </a:extLst>
                </a:gridCol>
                <a:gridCol w="1106424">
                  <a:extLst>
                    <a:ext uri="{9D8B030D-6E8A-4147-A177-3AD203B41FA5}">
                      <a16:colId xmlns:a16="http://schemas.microsoft.com/office/drawing/2014/main" val="4081262955"/>
                    </a:ext>
                  </a:extLst>
                </a:gridCol>
                <a:gridCol w="978408">
                  <a:extLst>
                    <a:ext uri="{9D8B030D-6E8A-4147-A177-3AD203B41FA5}">
                      <a16:colId xmlns:a16="http://schemas.microsoft.com/office/drawing/2014/main" val="894326951"/>
                    </a:ext>
                  </a:extLst>
                </a:gridCol>
                <a:gridCol w="990917">
                  <a:extLst>
                    <a:ext uri="{9D8B030D-6E8A-4147-A177-3AD203B41FA5}">
                      <a16:colId xmlns:a16="http://schemas.microsoft.com/office/drawing/2014/main" val="2258004565"/>
                    </a:ext>
                  </a:extLst>
                </a:gridCol>
                <a:gridCol w="822960">
                  <a:extLst>
                    <a:ext uri="{9D8B030D-6E8A-4147-A177-3AD203B41FA5}">
                      <a16:colId xmlns:a16="http://schemas.microsoft.com/office/drawing/2014/main" val="1296239282"/>
                    </a:ext>
                  </a:extLst>
                </a:gridCol>
                <a:gridCol w="886968">
                  <a:extLst>
                    <a:ext uri="{9D8B030D-6E8A-4147-A177-3AD203B41FA5}">
                      <a16:colId xmlns:a16="http://schemas.microsoft.com/office/drawing/2014/main" val="2886766434"/>
                    </a:ext>
                  </a:extLst>
                </a:gridCol>
                <a:gridCol w="731520">
                  <a:extLst>
                    <a:ext uri="{9D8B030D-6E8A-4147-A177-3AD203B41FA5}">
                      <a16:colId xmlns:a16="http://schemas.microsoft.com/office/drawing/2014/main" val="2103153167"/>
                    </a:ext>
                  </a:extLst>
                </a:gridCol>
                <a:gridCol w="1005840">
                  <a:extLst>
                    <a:ext uri="{9D8B030D-6E8A-4147-A177-3AD203B41FA5}">
                      <a16:colId xmlns:a16="http://schemas.microsoft.com/office/drawing/2014/main" val="1494173614"/>
                    </a:ext>
                  </a:extLst>
                </a:gridCol>
                <a:gridCol w="950976">
                  <a:extLst>
                    <a:ext uri="{9D8B030D-6E8A-4147-A177-3AD203B41FA5}">
                      <a16:colId xmlns:a16="http://schemas.microsoft.com/office/drawing/2014/main" val="303720624"/>
                    </a:ext>
                  </a:extLst>
                </a:gridCol>
                <a:gridCol w="777240">
                  <a:extLst>
                    <a:ext uri="{9D8B030D-6E8A-4147-A177-3AD203B41FA5}">
                      <a16:colId xmlns:a16="http://schemas.microsoft.com/office/drawing/2014/main" val="490070077"/>
                    </a:ext>
                  </a:extLst>
                </a:gridCol>
              </a:tblGrid>
              <a:tr h="594360">
                <a:tc>
                  <a:txBody>
                    <a:bodyPr/>
                    <a:lstStyle/>
                    <a:p>
                      <a:r>
                        <a:rPr lang="en-US" sz="1000" b="0" spc="0" baseline="0">
                          <a:solidFill>
                            <a:schemeClr val="bg1"/>
                          </a:solidFill>
                          <a:latin typeface="+mj-lt"/>
                        </a:rPr>
                        <a:t>SITE OF</a:t>
                      </a:r>
                    </a:p>
                    <a:p>
                      <a:r>
                        <a:rPr lang="en-US" sz="1000" b="0" spc="0" baseline="0">
                          <a:solidFill>
                            <a:schemeClr val="bg1"/>
                          </a:solidFill>
                          <a:latin typeface="+mj-lt"/>
                        </a:rPr>
                        <a:t>ACTION</a:t>
                      </a:r>
                    </a:p>
                  </a:txBody>
                  <a:tcPr anchor="ctr">
                    <a:lnL w="12700" cmpd="sng">
                      <a:noFill/>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spc="0" baseline="0">
                          <a:solidFill>
                            <a:schemeClr val="bg1"/>
                          </a:solidFill>
                          <a:latin typeface="Arial Narrow" panose="020B0606020202030204" pitchFamily="34" charset="0"/>
                        </a:rPr>
                        <a:t>ACCASE</a:t>
                      </a:r>
                    </a:p>
                    <a:p>
                      <a:pPr algn="ctr"/>
                      <a:r>
                        <a:rPr lang="en-US" sz="900" b="1" spc="0" baseline="0">
                          <a:solidFill>
                            <a:schemeClr val="bg1"/>
                          </a:solidFill>
                          <a:latin typeface="Arial Narrow" panose="020B0606020202030204" pitchFamily="34" charset="0"/>
                        </a:rPr>
                        <a:t>INHIBITORS</a:t>
                      </a:r>
                    </a:p>
                  </a:txBody>
                  <a:tcPr anchor="b">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ALS</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MICROTUBULE</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SYNTHETIC</a:t>
                      </a:r>
                    </a:p>
                    <a:p>
                      <a:pPr algn="ctr"/>
                      <a:r>
                        <a:rPr lang="en-US" sz="900" b="1" kern="1200" spc="0" baseline="0">
                          <a:solidFill>
                            <a:schemeClr val="bg1"/>
                          </a:solidFill>
                          <a:latin typeface="Arial Narrow" panose="020B0606020202030204" pitchFamily="34" charset="0"/>
                          <a:ea typeface="+mn-ea"/>
                          <a:cs typeface="+mn-cs"/>
                        </a:rPr>
                        <a:t>AUXIN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I</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IPID SYNTHESIS</a:t>
                      </a:r>
                    </a:p>
                    <a:p>
                      <a:pPr algn="ctr"/>
                      <a:r>
                        <a:rPr lang="en-US" sz="900" b="1" kern="1200" spc="0" baseline="0">
                          <a:solidFill>
                            <a:schemeClr val="bg1"/>
                          </a:solidFill>
                          <a:latin typeface="Arial Narrow" panose="020B0606020202030204" pitchFamily="34" charset="0"/>
                          <a:ea typeface="+mn-ea"/>
                          <a:cs typeface="+mn-cs"/>
                        </a:rPr>
                        <a:t>INHIBITOR </a:t>
                      </a:r>
                      <a:br>
                        <a:rPr lang="en-US" sz="900" b="1" kern="1200" spc="0" baseline="0">
                          <a:solidFill>
                            <a:schemeClr val="bg1"/>
                          </a:solidFill>
                          <a:latin typeface="Arial Narrow" panose="020B0606020202030204" pitchFamily="34" charset="0"/>
                          <a:ea typeface="+mn-ea"/>
                          <a:cs typeface="+mn-cs"/>
                        </a:rPr>
                      </a:br>
                      <a:r>
                        <a:rPr lang="en-US" sz="900" b="0" kern="1200" spc="0" baseline="0">
                          <a:solidFill>
                            <a:schemeClr val="bg1"/>
                          </a:solidFill>
                          <a:latin typeface="Arial Narrow" panose="020B0606020202030204" pitchFamily="34" charset="0"/>
                          <a:ea typeface="+mn-ea"/>
                          <a:cs typeface="+mn-cs"/>
                        </a:rPr>
                        <a:t>(not </a:t>
                      </a:r>
                      <a:r>
                        <a:rPr lang="en-US" sz="900" b="0" kern="1200" spc="0" baseline="0" err="1">
                          <a:solidFill>
                            <a:schemeClr val="bg1"/>
                          </a:solidFill>
                          <a:latin typeface="Arial Narrow" panose="020B0606020202030204" pitchFamily="34" charset="0"/>
                          <a:ea typeface="+mn-ea"/>
                          <a:cs typeface="+mn-cs"/>
                        </a:rPr>
                        <a:t>ACCase</a:t>
                      </a:r>
                      <a:r>
                        <a:rPr lang="en-US" sz="900" b="0" kern="1200" spc="0" baseline="0">
                          <a:solidFill>
                            <a:schemeClr val="bg1"/>
                          </a:solidFill>
                          <a:latin typeface="Arial Narrow" panose="020B0606020202030204" pitchFamily="34" charset="0"/>
                          <a:ea typeface="+mn-ea"/>
                          <a:cs typeface="+mn-cs"/>
                        </a:rPr>
                        <a: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EPSP SYNTH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GLUTAMINE SYNTHET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DITERPENE</a:t>
                      </a:r>
                    </a:p>
                    <a:p>
                      <a:pPr algn="ctr"/>
                      <a:r>
                        <a:rPr lang="en-US" sz="900" b="1" kern="1200" spc="0" baseline="0">
                          <a:solidFill>
                            <a:schemeClr val="bg1"/>
                          </a:solidFill>
                          <a:latin typeface="Arial Narrow" panose="020B0606020202030204" pitchFamily="34" charset="0"/>
                          <a:ea typeface="+mn-ea"/>
                          <a:cs typeface="+mn-cs"/>
                        </a:rPr>
                        <a:t>BIOSYNTHESIS</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PO</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ONG-CHAIN FATTY</a:t>
                      </a:r>
                    </a:p>
                    <a:p>
                      <a:pPr algn="ctr"/>
                      <a:r>
                        <a:rPr lang="en-US" sz="900" b="1" kern="1200" spc="0" baseline="0">
                          <a:solidFill>
                            <a:schemeClr val="bg1"/>
                          </a:solidFill>
                          <a:latin typeface="Arial Narrow" panose="020B0606020202030204" pitchFamily="34" charset="0"/>
                          <a:ea typeface="+mn-ea"/>
                          <a:cs typeface="+mn-cs"/>
                        </a:rPr>
                        <a:t>ACID 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a:t>
                      </a:r>
                    </a:p>
                    <a:p>
                      <a:pPr algn="ctr"/>
                      <a:r>
                        <a:rPr lang="en-US" sz="900" b="1" kern="1200" spc="0" baseline="0">
                          <a:solidFill>
                            <a:schemeClr val="bg1"/>
                          </a:solidFill>
                          <a:latin typeface="Arial Narrow" panose="020B0606020202030204" pitchFamily="34" charset="0"/>
                          <a:ea typeface="+mn-ea"/>
                          <a:cs typeface="+mn-cs"/>
                        </a:rPr>
                        <a:t>ELECTRON DIVERTE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HPPD</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0">
                <a:tc>
                  <a:txBody>
                    <a:bodyPr/>
                    <a:lstStyle/>
                    <a:p>
                      <a:r>
                        <a:rPr lang="en-US" sz="900" b="0" spc="0" baseline="0">
                          <a:solidFill>
                            <a:schemeClr val="tx1"/>
                          </a:solidFill>
                          <a:latin typeface="Arial Narrow" panose="020B0606020202030204" pitchFamily="34" charset="0"/>
                        </a:rPr>
                        <a:t>PRODUCT</a:t>
                      </a:r>
                    </a:p>
                    <a:p>
                      <a:r>
                        <a:rPr lang="en-US" sz="900" b="0" spc="0" baseline="0">
                          <a:solidFill>
                            <a:schemeClr val="tx1"/>
                          </a:solidFill>
                          <a:latin typeface="Arial Narrow" panose="020B0606020202030204" pitchFamily="34" charset="0"/>
                        </a:rPr>
                        <a:t>EXAMPLES</a:t>
                      </a:r>
                    </a:p>
                    <a:p>
                      <a:r>
                        <a:rPr lang="en-US" sz="600" b="0" spc="0" baseline="0">
                          <a:solidFill>
                            <a:schemeClr val="tx1"/>
                          </a:solidFill>
                          <a:latin typeface="Arial Narrow" panose="020B0606020202030204" pitchFamily="34" charset="0"/>
                        </a:rPr>
                        <a:t>(Trade Name</a:t>
                      </a:r>
                      <a:r>
                        <a:rPr lang="en-US" sz="600" b="0" strike="noStrike" spc="0" baseline="30000">
                          <a:solidFill>
                            <a:schemeClr val="tx1"/>
                          </a:solidFill>
                          <a:latin typeface="Arial Narrow" panose="020B0606020202030204" pitchFamily="34" charset="0"/>
                        </a:rPr>
                        <a:t>®</a:t>
                      </a:r>
                      <a:r>
                        <a:rPr lang="en-US" sz="600" b="0" spc="0" baseline="0">
                          <a:solidFill>
                            <a:schemeClr val="tx1"/>
                          </a:solidFill>
                          <a:latin typeface="Arial Narrow" panose="020B0606020202030204" pitchFamily="34" charset="0"/>
                        </a:rPr>
                        <a:t>)</a:t>
                      </a:r>
                      <a:endParaRPr lang="en-US" sz="700" b="0" spc="0" baseline="0">
                        <a:solidFill>
                          <a:schemeClr val="tx1"/>
                        </a:solidFill>
                        <a:latin typeface="Arial Narrow" panose="020B0606020202030204" pitchFamily="34" charset="0"/>
                      </a:endParaRPr>
                    </a:p>
                  </a:txBody>
                  <a:tcPr anchor="ctr">
                    <a:lnL w="12700" cmpd="sng">
                      <a:noFill/>
                    </a:lnL>
                    <a:lnR w="381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ssure II,</a:t>
                      </a:r>
                    </a:p>
                    <a:p>
                      <a:pPr algn="ctr"/>
                      <a:r>
                        <a:rPr lang="en-US" sz="800" b="0" spc="0" baseline="0">
                          <a:solidFill>
                            <a:schemeClr val="tx1"/>
                          </a:solidFill>
                          <a:latin typeface="+mn-lt"/>
                        </a:rPr>
                        <a:t>Select Max</a:t>
                      </a:r>
                    </a:p>
                  </a:txBody>
                  <a:tcPr anchor="ctr">
                    <a:lnL w="38100" cap="flat" cmpd="sng" algn="ctr">
                      <a:solidFill>
                        <a:schemeClr val="tx1"/>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lassic,</a:t>
                      </a:r>
                    </a:p>
                    <a:p>
                      <a:pPr algn="ctr"/>
                      <a:r>
                        <a:rPr lang="en-US" sz="800" b="0" spc="0" baseline="0">
                          <a:solidFill>
                            <a:schemeClr val="tx1"/>
                          </a:solidFill>
                          <a:latin typeface="+mn-lt"/>
                        </a:rPr>
                        <a:t>Pursui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Prowl H</a:t>
                      </a:r>
                      <a:r>
                        <a:rPr lang="en-US" sz="800" b="0" spc="0" baseline="-25000">
                          <a:solidFill>
                            <a:schemeClr val="tx1"/>
                          </a:solidFill>
                          <a:latin typeface="+mn-lt"/>
                        </a:rPr>
                        <a:t>2</a:t>
                      </a:r>
                      <a:r>
                        <a:rPr lang="en-US" sz="800" b="0" spc="0" baseline="0">
                          <a:solidFill>
                            <a:schemeClr val="tx1"/>
                          </a:solidFill>
                          <a:latin typeface="+mn-lt"/>
                        </a:rPr>
                        <a:t>O,</a:t>
                      </a:r>
                    </a:p>
                    <a:p>
                      <a:pPr algn="ctr"/>
                      <a:r>
                        <a:rPr lang="en-US" sz="800" b="0" spc="0" baseline="0" err="1">
                          <a:solidFill>
                            <a:schemeClr val="tx1"/>
                          </a:solidFill>
                          <a:latin typeface="+mn-lt"/>
                        </a:rPr>
                        <a:t>Treflan</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2,4-D, Clarity</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quinclorac</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trazine, metribuzin,</a:t>
                      </a:r>
                    </a:p>
                    <a:p>
                      <a:pPr algn="ctr"/>
                      <a:r>
                        <a:rPr lang="en-US" sz="800" b="0" spc="0" baseline="0" err="1">
                          <a:solidFill>
                            <a:schemeClr val="tx1"/>
                          </a:solidFill>
                          <a:latin typeface="+mn-lt"/>
                        </a:rPr>
                        <a:t>Basagran</a:t>
                      </a:r>
                      <a:r>
                        <a:rPr lang="en-US" sz="800" b="0" spc="0" baseline="0">
                          <a:solidFill>
                            <a:schemeClr val="tx1"/>
                          </a:solidFill>
                          <a:latin typeface="+mn-lt"/>
                        </a:rPr>
                        <a:t>, </a:t>
                      </a:r>
                      <a:r>
                        <a:rPr lang="en-US" sz="800" b="0" spc="0" baseline="0" err="1">
                          <a:solidFill>
                            <a:schemeClr val="tx1"/>
                          </a:solidFill>
                          <a:latin typeface="+mn-lt"/>
                        </a:rPr>
                        <a:t>Linex</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Far-Go</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Roundup,</a:t>
                      </a:r>
                    </a:p>
                    <a:p>
                      <a:pPr algn="ctr"/>
                      <a:r>
                        <a:rPr lang="en-US" sz="800" b="0" spc="0" baseline="0">
                          <a:solidFill>
                            <a:schemeClr val="tx1"/>
                          </a:solidFill>
                          <a:latin typeface="+mn-lt"/>
                        </a:rPr>
                        <a:t>(glyphosate)</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Liberty</a:t>
                      </a:r>
                      <a:r>
                        <a:rPr lang="en-US" sz="800" b="0" spc="0" baseline="30000">
                          <a:solidFill>
                            <a:schemeClr val="tx1"/>
                          </a:solidFill>
                          <a:latin typeface="+mn-lt"/>
                        </a:rPr>
                        <a:t>®</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ommand</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Flexstar</a:t>
                      </a:r>
                      <a:r>
                        <a:rPr lang="en-US" sz="800" b="0" spc="0" baseline="0">
                          <a:solidFill>
                            <a:schemeClr val="tx1"/>
                          </a:solidFill>
                          <a:latin typeface="+mn-lt"/>
                        </a:rPr>
                        <a:t>,</a:t>
                      </a:r>
                    </a:p>
                    <a:p>
                      <a:pPr algn="ctr"/>
                      <a:r>
                        <a:rPr lang="en-US" sz="800" b="0" spc="0" baseline="0">
                          <a:solidFill>
                            <a:schemeClr val="tx1"/>
                          </a:solidFill>
                          <a:latin typeface="+mn-lt"/>
                        </a:rPr>
                        <a:t>Cobra</a:t>
                      </a:r>
                      <a:r>
                        <a:rPr lang="en-US" sz="800" b="0" spc="0" baseline="30000">
                          <a:solidFill>
                            <a:schemeClr val="tx1"/>
                          </a:solidFill>
                          <a:latin typeface="+mn-lt"/>
                        </a:rPr>
                        <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Dual, Harness</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Gramoxone</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paraqu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Callisto</a:t>
                      </a:r>
                      <a:r>
                        <a:rPr lang="en-US" sz="800" b="0" spc="0" baseline="0">
                          <a:solidFill>
                            <a:schemeClr val="tx1"/>
                          </a:solidFill>
                          <a:latin typeface="+mn-lt"/>
                        </a:rPr>
                        <a:t>,</a:t>
                      </a:r>
                    </a:p>
                    <a:p>
                      <a:pPr algn="ctr"/>
                      <a:r>
                        <a:rPr lang="en-US" sz="800" b="0" spc="0" baseline="0" err="1">
                          <a:solidFill>
                            <a:schemeClr val="tx1"/>
                          </a:solidFill>
                          <a:latin typeface="+mn-lt"/>
                        </a:rPr>
                        <a:t>Laudis</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216" name="Oval 215">
            <a:extLst>
              <a:ext uri="{FF2B5EF4-FFF2-40B4-BE49-F238E27FC236}">
                <a16:creationId xmlns:a16="http://schemas.microsoft.com/office/drawing/2014/main" id="{F21BDF6C-F254-4CB3-AE6F-541DCDF3B281}"/>
              </a:ext>
            </a:extLst>
          </p:cNvPr>
          <p:cNvSpPr/>
          <p:nvPr/>
        </p:nvSpPr>
        <p:spPr>
          <a:xfrm>
            <a:off x="112213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a:t>
            </a:r>
          </a:p>
        </p:txBody>
      </p:sp>
      <p:sp>
        <p:nvSpPr>
          <p:cNvPr id="217" name="Oval 216">
            <a:extLst>
              <a:ext uri="{FF2B5EF4-FFF2-40B4-BE49-F238E27FC236}">
                <a16:creationId xmlns:a16="http://schemas.microsoft.com/office/drawing/2014/main" id="{CF98D4CD-6C78-46C5-8C33-597B873D2420}"/>
              </a:ext>
            </a:extLst>
          </p:cNvPr>
          <p:cNvSpPr/>
          <p:nvPr/>
        </p:nvSpPr>
        <p:spPr>
          <a:xfrm>
            <a:off x="1851158"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a:t>
            </a:r>
          </a:p>
        </p:txBody>
      </p:sp>
      <p:sp>
        <p:nvSpPr>
          <p:cNvPr id="218" name="Oval 217">
            <a:extLst>
              <a:ext uri="{FF2B5EF4-FFF2-40B4-BE49-F238E27FC236}">
                <a16:creationId xmlns:a16="http://schemas.microsoft.com/office/drawing/2014/main" id="{D5AD951D-F13A-4511-9CB0-CA451795509A}"/>
              </a:ext>
            </a:extLst>
          </p:cNvPr>
          <p:cNvSpPr/>
          <p:nvPr/>
        </p:nvSpPr>
        <p:spPr>
          <a:xfrm>
            <a:off x="265092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3</a:t>
            </a:r>
          </a:p>
        </p:txBody>
      </p:sp>
      <p:sp>
        <p:nvSpPr>
          <p:cNvPr id="219" name="Oval 218">
            <a:extLst>
              <a:ext uri="{FF2B5EF4-FFF2-40B4-BE49-F238E27FC236}">
                <a16:creationId xmlns:a16="http://schemas.microsoft.com/office/drawing/2014/main" id="{DC2E6585-9595-4254-A4E3-F5A14D2C2194}"/>
              </a:ext>
            </a:extLst>
          </p:cNvPr>
          <p:cNvSpPr/>
          <p:nvPr/>
        </p:nvSpPr>
        <p:spPr>
          <a:xfrm>
            <a:off x="346111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4</a:t>
            </a:r>
          </a:p>
        </p:txBody>
      </p:sp>
      <p:sp>
        <p:nvSpPr>
          <p:cNvPr id="220" name="Oval 219">
            <a:extLst>
              <a:ext uri="{FF2B5EF4-FFF2-40B4-BE49-F238E27FC236}">
                <a16:creationId xmlns:a16="http://schemas.microsoft.com/office/drawing/2014/main" id="{F7DB4806-C0A8-42C9-9D7F-5735B4E42AAB}"/>
              </a:ext>
            </a:extLst>
          </p:cNvPr>
          <p:cNvSpPr/>
          <p:nvPr/>
        </p:nvSpPr>
        <p:spPr>
          <a:xfrm>
            <a:off x="407674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5</a:t>
            </a:r>
          </a:p>
        </p:txBody>
      </p:sp>
      <p:sp>
        <p:nvSpPr>
          <p:cNvPr id="221" name="Oval 220">
            <a:extLst>
              <a:ext uri="{FF2B5EF4-FFF2-40B4-BE49-F238E27FC236}">
                <a16:creationId xmlns:a16="http://schemas.microsoft.com/office/drawing/2014/main" id="{B8C32C6C-CA3B-4769-8256-2EB0548E3700}"/>
              </a:ext>
            </a:extLst>
          </p:cNvPr>
          <p:cNvSpPr/>
          <p:nvPr/>
        </p:nvSpPr>
        <p:spPr>
          <a:xfrm>
            <a:off x="4381873"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6</a:t>
            </a:r>
          </a:p>
        </p:txBody>
      </p:sp>
      <p:sp>
        <p:nvSpPr>
          <p:cNvPr id="222" name="Oval 221">
            <a:extLst>
              <a:ext uri="{FF2B5EF4-FFF2-40B4-BE49-F238E27FC236}">
                <a16:creationId xmlns:a16="http://schemas.microsoft.com/office/drawing/2014/main" id="{5610B1DB-54A8-4D07-B90C-243B2C23FA08}"/>
              </a:ext>
            </a:extLst>
          </p:cNvPr>
          <p:cNvSpPr/>
          <p:nvPr/>
        </p:nvSpPr>
        <p:spPr>
          <a:xfrm>
            <a:off x="7322354"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0</a:t>
            </a:r>
          </a:p>
        </p:txBody>
      </p:sp>
      <p:sp>
        <p:nvSpPr>
          <p:cNvPr id="223" name="Oval 222">
            <a:extLst>
              <a:ext uri="{FF2B5EF4-FFF2-40B4-BE49-F238E27FC236}">
                <a16:creationId xmlns:a16="http://schemas.microsoft.com/office/drawing/2014/main" id="{51F8C5D5-75BE-4ACB-847C-8A251AB2DF01}"/>
              </a:ext>
            </a:extLst>
          </p:cNvPr>
          <p:cNvSpPr/>
          <p:nvPr/>
        </p:nvSpPr>
        <p:spPr>
          <a:xfrm>
            <a:off x="468128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7</a:t>
            </a:r>
          </a:p>
        </p:txBody>
      </p:sp>
      <p:sp>
        <p:nvSpPr>
          <p:cNvPr id="224" name="Oval 223">
            <a:extLst>
              <a:ext uri="{FF2B5EF4-FFF2-40B4-BE49-F238E27FC236}">
                <a16:creationId xmlns:a16="http://schemas.microsoft.com/office/drawing/2014/main" id="{1D87181F-4801-49F9-8F4F-E9E71F4A6C1B}"/>
              </a:ext>
            </a:extLst>
          </p:cNvPr>
          <p:cNvSpPr/>
          <p:nvPr/>
        </p:nvSpPr>
        <p:spPr>
          <a:xfrm>
            <a:off x="544216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8</a:t>
            </a:r>
          </a:p>
        </p:txBody>
      </p:sp>
      <p:sp>
        <p:nvSpPr>
          <p:cNvPr id="225" name="Oval 224">
            <a:extLst>
              <a:ext uri="{FF2B5EF4-FFF2-40B4-BE49-F238E27FC236}">
                <a16:creationId xmlns:a16="http://schemas.microsoft.com/office/drawing/2014/main" id="{658DF298-4512-4785-B057-ED8818A3942C}"/>
              </a:ext>
            </a:extLst>
          </p:cNvPr>
          <p:cNvSpPr/>
          <p:nvPr/>
        </p:nvSpPr>
        <p:spPr>
          <a:xfrm>
            <a:off x="642606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9</a:t>
            </a:r>
          </a:p>
        </p:txBody>
      </p:sp>
      <p:sp>
        <p:nvSpPr>
          <p:cNvPr id="226" name="Oval 225">
            <a:extLst>
              <a:ext uri="{FF2B5EF4-FFF2-40B4-BE49-F238E27FC236}">
                <a16:creationId xmlns:a16="http://schemas.microsoft.com/office/drawing/2014/main" id="{A152EBB9-3FB8-4661-8CBE-0EB3A960CA4F}"/>
              </a:ext>
            </a:extLst>
          </p:cNvPr>
          <p:cNvSpPr/>
          <p:nvPr/>
        </p:nvSpPr>
        <p:spPr>
          <a:xfrm>
            <a:off x="81807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3</a:t>
            </a:r>
          </a:p>
        </p:txBody>
      </p:sp>
      <p:sp>
        <p:nvSpPr>
          <p:cNvPr id="227" name="Oval 226">
            <a:extLst>
              <a:ext uri="{FF2B5EF4-FFF2-40B4-BE49-F238E27FC236}">
                <a16:creationId xmlns:a16="http://schemas.microsoft.com/office/drawing/2014/main" id="{F310B25A-56A0-41A0-AA86-1F8FDB33F897}"/>
              </a:ext>
            </a:extLst>
          </p:cNvPr>
          <p:cNvSpPr/>
          <p:nvPr/>
        </p:nvSpPr>
        <p:spPr>
          <a:xfrm>
            <a:off x="89865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4</a:t>
            </a:r>
          </a:p>
        </p:txBody>
      </p:sp>
      <p:sp>
        <p:nvSpPr>
          <p:cNvPr id="228" name="Oval 227">
            <a:extLst>
              <a:ext uri="{FF2B5EF4-FFF2-40B4-BE49-F238E27FC236}">
                <a16:creationId xmlns:a16="http://schemas.microsoft.com/office/drawing/2014/main" id="{46D3E6CC-A16E-4A2F-82FD-B4C9033C3B47}"/>
              </a:ext>
            </a:extLst>
          </p:cNvPr>
          <p:cNvSpPr/>
          <p:nvPr/>
        </p:nvSpPr>
        <p:spPr>
          <a:xfrm>
            <a:off x="985824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5</a:t>
            </a:r>
          </a:p>
        </p:txBody>
      </p:sp>
      <p:sp>
        <p:nvSpPr>
          <p:cNvPr id="229" name="Oval 228">
            <a:extLst>
              <a:ext uri="{FF2B5EF4-FFF2-40B4-BE49-F238E27FC236}">
                <a16:creationId xmlns:a16="http://schemas.microsoft.com/office/drawing/2014/main" id="{ACF0719F-6B7A-4793-943D-64E69619B9F2}"/>
              </a:ext>
            </a:extLst>
          </p:cNvPr>
          <p:cNvSpPr/>
          <p:nvPr/>
        </p:nvSpPr>
        <p:spPr>
          <a:xfrm>
            <a:off x="1084058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2</a:t>
            </a:r>
          </a:p>
        </p:txBody>
      </p:sp>
      <p:sp>
        <p:nvSpPr>
          <p:cNvPr id="230" name="Oval 229">
            <a:extLst>
              <a:ext uri="{FF2B5EF4-FFF2-40B4-BE49-F238E27FC236}">
                <a16:creationId xmlns:a16="http://schemas.microsoft.com/office/drawing/2014/main" id="{3E1E6405-346B-4BEA-BBD3-2EBB5358715C}"/>
              </a:ext>
            </a:extLst>
          </p:cNvPr>
          <p:cNvSpPr/>
          <p:nvPr/>
        </p:nvSpPr>
        <p:spPr>
          <a:xfrm>
            <a:off x="1168605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7</a:t>
            </a:r>
          </a:p>
        </p:txBody>
      </p:sp>
      <p:grpSp>
        <p:nvGrpSpPr>
          <p:cNvPr id="30" name="1: Common Ragweed">
            <a:extLst>
              <a:ext uri="{FF2B5EF4-FFF2-40B4-BE49-F238E27FC236}">
                <a16:creationId xmlns:a16="http://schemas.microsoft.com/office/drawing/2014/main" id="{41D6DEAB-8ED4-4EC6-9018-8F7ED623ACF7}"/>
              </a:ext>
            </a:extLst>
          </p:cNvPr>
          <p:cNvGrpSpPr/>
          <p:nvPr/>
        </p:nvGrpSpPr>
        <p:grpSpPr>
          <a:xfrm>
            <a:off x="2209913" y="1141155"/>
            <a:ext cx="7772174" cy="2807745"/>
            <a:chOff x="1762543" y="1141155"/>
            <a:chExt cx="7772174" cy="2807745"/>
          </a:xfrm>
        </p:grpSpPr>
        <p:sp>
          <p:nvSpPr>
            <p:cNvPr id="31" name="Rectangle 30">
              <a:extLst>
                <a:ext uri="{FF2B5EF4-FFF2-40B4-BE49-F238E27FC236}">
                  <a16:creationId xmlns:a16="http://schemas.microsoft.com/office/drawing/2014/main" id="{5895CCF8-E67C-4D77-B955-5D88DF59B01A}"/>
                </a:ext>
              </a:extLst>
            </p:cNvPr>
            <p:cNvSpPr/>
            <p:nvPr/>
          </p:nvSpPr>
          <p:spPr>
            <a:xfrm>
              <a:off x="4903776" y="1141155"/>
              <a:ext cx="4630941" cy="2807745"/>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33" name="Rectangle 32">
              <a:extLst>
                <a:ext uri="{FF2B5EF4-FFF2-40B4-BE49-F238E27FC236}">
                  <a16:creationId xmlns:a16="http://schemas.microsoft.com/office/drawing/2014/main" id="{5EE140E2-977B-4D55-9245-67C691CF755F}"/>
                </a:ext>
              </a:extLst>
            </p:cNvPr>
            <p:cNvSpPr/>
            <p:nvPr/>
          </p:nvSpPr>
          <p:spPr>
            <a:xfrm>
              <a:off x="1762543" y="1141155"/>
              <a:ext cx="3141233" cy="280774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34" name="TextBox 33">
              <a:extLst>
                <a:ext uri="{FF2B5EF4-FFF2-40B4-BE49-F238E27FC236}">
                  <a16:creationId xmlns:a16="http://schemas.microsoft.com/office/drawing/2014/main" id="{003A4507-4D8E-4F44-B78C-B1E41C613E3C}"/>
                </a:ext>
              </a:extLst>
            </p:cNvPr>
            <p:cNvSpPr txBox="1"/>
            <p:nvPr/>
          </p:nvSpPr>
          <p:spPr>
            <a:xfrm>
              <a:off x="5210290" y="2690802"/>
              <a:ext cx="1833101" cy="7848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Narrow" panose="020B0606020202030204" pitchFamily="34" charset="0"/>
                  <a:ea typeface="+mj-ea"/>
                  <a:cs typeface="+mj-cs"/>
                </a:rPr>
                <a:t>SEEDS/PLANT</a:t>
              </a:r>
            </a:p>
            <a:p>
              <a:pPr marL="0" marR="0" lvl="0" indent="0" defTabSz="914400"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a:ln>
                    <a:noFill/>
                  </a:ln>
                  <a:solidFill>
                    <a:sysClr val="windowText" lastClr="000000"/>
                  </a:solidFill>
                  <a:effectLst/>
                  <a:uLnTx/>
                  <a:uFillTx/>
                  <a:latin typeface="+mj-lt"/>
                </a:rPr>
                <a:t>50K</a:t>
              </a:r>
            </a:p>
          </p:txBody>
        </p:sp>
        <p:sp>
          <p:nvSpPr>
            <p:cNvPr id="35" name="TextBox 34">
              <a:extLst>
                <a:ext uri="{FF2B5EF4-FFF2-40B4-BE49-F238E27FC236}">
                  <a16:creationId xmlns:a16="http://schemas.microsoft.com/office/drawing/2014/main" id="{1B847875-C60D-488E-94DF-630FC32D197B}"/>
                </a:ext>
              </a:extLst>
            </p:cNvPr>
            <p:cNvSpPr txBox="1"/>
            <p:nvPr/>
          </p:nvSpPr>
          <p:spPr>
            <a:xfrm>
              <a:off x="5210290" y="1445298"/>
              <a:ext cx="3827941" cy="7571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ysClr val="windowText" lastClr="000000"/>
                  </a:solidFill>
                  <a:effectLst/>
                  <a:uLnTx/>
                  <a:uFillTx/>
                  <a:latin typeface="+mj-lt"/>
                </a:rPr>
                <a:t>COMMON RAGWEED</a:t>
              </a:r>
            </a:p>
            <a:p>
              <a:pPr marL="0" marR="0" lvl="0" indent="0" defTabSz="91440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a:ln>
                    <a:noFill/>
                  </a:ln>
                  <a:solidFill>
                    <a:schemeClr val="accent6"/>
                  </a:solidFill>
                  <a:effectLst/>
                  <a:uLnTx/>
                  <a:uFillTx/>
                  <a:latin typeface="Arial Narrow" panose="020B0606020202030204" pitchFamily="34" charset="0"/>
                </a:rPr>
                <a:t>Ambrosia </a:t>
              </a:r>
              <a:r>
                <a:rPr kumimoji="0" lang="en-US" sz="2200" b="0" i="0" u="none" strike="noStrike" kern="0" cap="none" spc="0" normalizeH="0" baseline="0" noProof="0" err="1">
                  <a:ln>
                    <a:noFill/>
                  </a:ln>
                  <a:solidFill>
                    <a:schemeClr val="accent6"/>
                  </a:solidFill>
                  <a:effectLst/>
                  <a:uLnTx/>
                  <a:uFillTx/>
                  <a:latin typeface="Arial Narrow" panose="020B0606020202030204" pitchFamily="34" charset="0"/>
                </a:rPr>
                <a:t>artemisiifolia</a:t>
              </a:r>
              <a:endParaRPr kumimoji="0" lang="en-US" sz="2200" b="0" i="0" u="none" strike="noStrike" kern="0" cap="none" spc="0" normalizeH="0" baseline="0" noProof="0">
                <a:ln>
                  <a:noFill/>
                </a:ln>
                <a:solidFill>
                  <a:schemeClr val="accent6"/>
                </a:solidFill>
                <a:effectLst/>
                <a:uLnTx/>
                <a:uFillTx/>
                <a:latin typeface="Arial Narrow" panose="020B0606020202030204" pitchFamily="34" charset="0"/>
              </a:endParaRPr>
            </a:p>
          </p:txBody>
        </p:sp>
        <p:cxnSp>
          <p:nvCxnSpPr>
            <p:cNvPr id="36" name="Straight Connector 35">
              <a:extLst>
                <a:ext uri="{FF2B5EF4-FFF2-40B4-BE49-F238E27FC236}">
                  <a16:creationId xmlns:a16="http://schemas.microsoft.com/office/drawing/2014/main" id="{61F1B909-ECEA-4F86-AEE1-31C3DABF2282}"/>
                </a:ext>
              </a:extLst>
            </p:cNvPr>
            <p:cNvCxnSpPr>
              <a:cxnSpLocks/>
            </p:cNvCxnSpPr>
            <p:nvPr/>
          </p:nvCxnSpPr>
          <p:spPr>
            <a:xfrm flipV="1">
              <a:off x="5207008" y="2396381"/>
              <a:ext cx="4007133"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788D4728-3BE7-4D8D-BEE1-D5EA3B0E3B38}"/>
              </a:ext>
            </a:extLst>
          </p:cNvPr>
          <p:cNvSpPr/>
          <p:nvPr/>
        </p:nvSpPr>
        <p:spPr>
          <a:xfrm>
            <a:off x="0" y="4494078"/>
            <a:ext cx="12199350" cy="132171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40" name="Table 39">
            <a:extLst>
              <a:ext uri="{FF2B5EF4-FFF2-40B4-BE49-F238E27FC236}">
                <a16:creationId xmlns:a16="http://schemas.microsoft.com/office/drawing/2014/main" id="{EC071D44-4CC1-472A-8BB0-BA9CA0760CE3}"/>
              </a:ext>
            </a:extLst>
          </p:cNvPr>
          <p:cNvGraphicFramePr>
            <a:graphicFrameLocks noGrp="1"/>
          </p:cNvGraphicFramePr>
          <p:nvPr/>
        </p:nvGraphicFramePr>
        <p:xfrm>
          <a:off x="3208329" y="4385705"/>
          <a:ext cx="5804612" cy="1554480"/>
        </p:xfrm>
        <a:graphic>
          <a:graphicData uri="http://schemas.openxmlformats.org/drawingml/2006/table">
            <a:tbl>
              <a:tblPr firstCol="1" bandRow="1">
                <a:tableStyleId>{5C22544A-7EE6-4342-B048-85BDC9FD1C3A}</a:tableStyleId>
              </a:tblPr>
              <a:tblGrid>
                <a:gridCol w="1231457">
                  <a:extLst>
                    <a:ext uri="{9D8B030D-6E8A-4147-A177-3AD203B41FA5}">
                      <a16:colId xmlns:a16="http://schemas.microsoft.com/office/drawing/2014/main" val="859317391"/>
                    </a:ext>
                  </a:extLst>
                </a:gridCol>
                <a:gridCol w="1645920">
                  <a:extLst>
                    <a:ext uri="{9D8B030D-6E8A-4147-A177-3AD203B41FA5}">
                      <a16:colId xmlns:a16="http://schemas.microsoft.com/office/drawing/2014/main" val="3425404963"/>
                    </a:ext>
                  </a:extLst>
                </a:gridCol>
                <a:gridCol w="1647075">
                  <a:extLst>
                    <a:ext uri="{9D8B030D-6E8A-4147-A177-3AD203B41FA5}">
                      <a16:colId xmlns:a16="http://schemas.microsoft.com/office/drawing/2014/main" val="894326951"/>
                    </a:ext>
                  </a:extLst>
                </a:gridCol>
                <a:gridCol w="1280160">
                  <a:extLst>
                    <a:ext uri="{9D8B030D-6E8A-4147-A177-3AD203B41FA5}">
                      <a16:colId xmlns:a16="http://schemas.microsoft.com/office/drawing/2014/main" val="1494173614"/>
                    </a:ext>
                  </a:extLst>
                </a:gridCol>
              </a:tblGrid>
              <a:tr h="1097280">
                <a:tc>
                  <a:txBody>
                    <a:bodyPr/>
                    <a:lstStyle/>
                    <a:p>
                      <a:pPr algn="ctr"/>
                      <a:r>
                        <a:rPr lang="en-US" sz="1600" b="1" spc="0" baseline="0">
                          <a:solidFill>
                            <a:schemeClr val="bg1"/>
                          </a:solidFill>
                          <a:latin typeface="Arial Narrow" panose="020B0606020202030204" pitchFamily="34" charset="0"/>
                        </a:rPr>
                        <a:t>ALS</a:t>
                      </a:r>
                    </a:p>
                    <a:p>
                      <a:pPr algn="ctr"/>
                      <a:r>
                        <a:rPr lang="en-US" sz="1600" b="1" spc="0" baseline="0">
                          <a:solidFill>
                            <a:schemeClr val="bg1"/>
                          </a:solidFill>
                          <a:latin typeface="Arial Narrow" panose="020B0606020202030204" pitchFamily="34" charset="0"/>
                        </a:rPr>
                        <a:t>INHIBITORS</a:t>
                      </a:r>
                    </a:p>
                  </a:txBody>
                  <a:tcPr anchor="b">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HOTOSYSTEM II</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EPSP SYNTHASE</a:t>
                      </a:r>
                    </a:p>
                    <a:p>
                      <a:pPr algn="ctr"/>
                      <a:r>
                        <a:rPr lang="en-US" sz="16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PO</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034289678"/>
                  </a:ext>
                </a:extLst>
              </a:tr>
              <a:tr h="457200">
                <a:tc gridSpan="4">
                  <a:txBody>
                    <a:bodyPr/>
                    <a:lstStyle/>
                    <a:p>
                      <a:pPr algn="ctr">
                        <a:lnSpc>
                          <a:spcPct val="90000"/>
                        </a:lnSpc>
                      </a:pPr>
                      <a:r>
                        <a:rPr lang="en-US" sz="1800" b="0" kern="1200">
                          <a:solidFill>
                            <a:schemeClr val="tx1"/>
                          </a:solidFill>
                          <a:latin typeface="Arial Narrow" panose="020B0606020202030204" pitchFamily="34" charset="0"/>
                          <a:ea typeface="+mj-ea"/>
                          <a:cs typeface="+mj-cs"/>
                        </a:rPr>
                        <a:t>KNOWN RESISTANCE</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41" name="Rectangle 40">
            <a:extLst>
              <a:ext uri="{FF2B5EF4-FFF2-40B4-BE49-F238E27FC236}">
                <a16:creationId xmlns:a16="http://schemas.microsoft.com/office/drawing/2014/main" id="{515B0B14-1A4C-44E0-9288-C57BADF10EB8}"/>
              </a:ext>
            </a:extLst>
          </p:cNvPr>
          <p:cNvSpPr/>
          <p:nvPr/>
        </p:nvSpPr>
        <p:spPr>
          <a:xfrm>
            <a:off x="3195192" y="4385706"/>
            <a:ext cx="5801615" cy="155448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Oval 41">
            <a:extLst>
              <a:ext uri="{FF2B5EF4-FFF2-40B4-BE49-F238E27FC236}">
                <a16:creationId xmlns:a16="http://schemas.microsoft.com/office/drawing/2014/main" id="{A9EE70FB-4EF9-4A92-83EA-C6231A8E8CAF}"/>
              </a:ext>
            </a:extLst>
          </p:cNvPr>
          <p:cNvSpPr/>
          <p:nvPr/>
        </p:nvSpPr>
        <p:spPr>
          <a:xfrm>
            <a:off x="3620026"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sp>
        <p:nvSpPr>
          <p:cNvPr id="43" name="Oval 42">
            <a:extLst>
              <a:ext uri="{FF2B5EF4-FFF2-40B4-BE49-F238E27FC236}">
                <a16:creationId xmlns:a16="http://schemas.microsoft.com/office/drawing/2014/main" id="{9AFBCF77-34E6-4647-B6E0-3FBF2F5026D4}"/>
              </a:ext>
            </a:extLst>
          </p:cNvPr>
          <p:cNvSpPr/>
          <p:nvPr/>
        </p:nvSpPr>
        <p:spPr>
          <a:xfrm>
            <a:off x="5070342"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5</a:t>
            </a:r>
          </a:p>
        </p:txBody>
      </p:sp>
      <p:sp>
        <p:nvSpPr>
          <p:cNvPr id="44" name="Oval 43">
            <a:extLst>
              <a:ext uri="{FF2B5EF4-FFF2-40B4-BE49-F238E27FC236}">
                <a16:creationId xmlns:a16="http://schemas.microsoft.com/office/drawing/2014/main" id="{445C4453-98E2-4FE2-92C8-DF5F92437DF7}"/>
              </a:ext>
            </a:extLst>
          </p:cNvPr>
          <p:cNvSpPr/>
          <p:nvPr/>
        </p:nvSpPr>
        <p:spPr>
          <a:xfrm>
            <a:off x="8160007"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14</a:t>
            </a:r>
          </a:p>
        </p:txBody>
      </p:sp>
      <p:sp>
        <p:nvSpPr>
          <p:cNvPr id="45" name="Oval 44">
            <a:extLst>
              <a:ext uri="{FF2B5EF4-FFF2-40B4-BE49-F238E27FC236}">
                <a16:creationId xmlns:a16="http://schemas.microsoft.com/office/drawing/2014/main" id="{D92BAA4C-B392-44BD-B84D-3B0A5A1819E5}"/>
              </a:ext>
            </a:extLst>
          </p:cNvPr>
          <p:cNvSpPr/>
          <p:nvPr/>
        </p:nvSpPr>
        <p:spPr>
          <a:xfrm>
            <a:off x="6676525"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9</a:t>
            </a:r>
          </a:p>
        </p:txBody>
      </p:sp>
      <p:pic>
        <p:nvPicPr>
          <p:cNvPr id="37" name="Picture 36">
            <a:extLst>
              <a:ext uri="{FF2B5EF4-FFF2-40B4-BE49-F238E27FC236}">
                <a16:creationId xmlns:a16="http://schemas.microsoft.com/office/drawing/2014/main" id="{C7803066-237B-4B99-B211-DDB9FFB0B99A}"/>
              </a:ext>
            </a:extLst>
          </p:cNvPr>
          <p:cNvPicPr>
            <a:picLocks noChangeAspect="1"/>
          </p:cNvPicPr>
          <p:nvPr/>
        </p:nvPicPr>
        <p:blipFill>
          <a:blip r:embed="rId5"/>
          <a:stretch>
            <a:fillRect/>
          </a:stretch>
        </p:blipFill>
        <p:spPr>
          <a:xfrm>
            <a:off x="914400" y="6338167"/>
            <a:ext cx="1171575" cy="495300"/>
          </a:xfrm>
          <a:prstGeom prst="rect">
            <a:avLst/>
          </a:prstGeom>
        </p:spPr>
      </p:pic>
      <p:pic>
        <p:nvPicPr>
          <p:cNvPr id="46" name="Picture 45">
            <a:extLst>
              <a:ext uri="{FF2B5EF4-FFF2-40B4-BE49-F238E27FC236}">
                <a16:creationId xmlns:a16="http://schemas.microsoft.com/office/drawing/2014/main" id="{C162434C-8341-4099-BB71-7CCD0C15F15C}"/>
              </a:ext>
            </a:extLst>
          </p:cNvPr>
          <p:cNvPicPr>
            <a:picLocks noChangeAspect="1"/>
          </p:cNvPicPr>
          <p:nvPr/>
        </p:nvPicPr>
        <p:blipFill>
          <a:blip r:embed="rId6"/>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141974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p:cTn id="11" dur="500" fill="hold"/>
                                        <p:tgtEl>
                                          <p:spTgt spid="40"/>
                                        </p:tgtEl>
                                        <p:attrNameLst>
                                          <p:attrName>ppt_w</p:attrName>
                                        </p:attrNameLst>
                                      </p:cBhvr>
                                      <p:tavLst>
                                        <p:tav tm="0">
                                          <p:val>
                                            <p:fltVal val="0"/>
                                          </p:val>
                                        </p:tav>
                                        <p:tav tm="100000">
                                          <p:val>
                                            <p:strVal val="#ppt_w"/>
                                          </p:val>
                                        </p:tav>
                                      </p:tavLst>
                                    </p:anim>
                                    <p:anim calcmode="lin" valueType="num">
                                      <p:cBhvr>
                                        <p:cTn id="12" dur="500" fill="hold"/>
                                        <p:tgtEl>
                                          <p:spTgt spid="40"/>
                                        </p:tgtEl>
                                        <p:attrNameLst>
                                          <p:attrName>ppt_h</p:attrName>
                                        </p:attrNameLst>
                                      </p:cBhvr>
                                      <p:tavLst>
                                        <p:tav tm="0">
                                          <p:val>
                                            <p:fltVal val="0"/>
                                          </p:val>
                                        </p:tav>
                                        <p:tav tm="100000">
                                          <p:val>
                                            <p:strVal val="#ppt_h"/>
                                          </p:val>
                                        </p:tav>
                                      </p:tavLst>
                                    </p:anim>
                                    <p:animEffect transition="in" filter="fade">
                                      <p:cBhvr>
                                        <p:cTn id="13" dur="500"/>
                                        <p:tgtEl>
                                          <p:spTgt spid="40"/>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 calcmode="lin" valueType="num">
                                      <p:cBhvr>
                                        <p:cTn id="16" dur="500" fill="hold"/>
                                        <p:tgtEl>
                                          <p:spTgt spid="41"/>
                                        </p:tgtEl>
                                        <p:attrNameLst>
                                          <p:attrName>ppt_w</p:attrName>
                                        </p:attrNameLst>
                                      </p:cBhvr>
                                      <p:tavLst>
                                        <p:tav tm="0">
                                          <p:val>
                                            <p:fltVal val="0"/>
                                          </p:val>
                                        </p:tav>
                                        <p:tav tm="100000">
                                          <p:val>
                                            <p:strVal val="#ppt_w"/>
                                          </p:val>
                                        </p:tav>
                                      </p:tavLst>
                                    </p:anim>
                                    <p:anim calcmode="lin" valueType="num">
                                      <p:cBhvr>
                                        <p:cTn id="17" dur="500" fill="hold"/>
                                        <p:tgtEl>
                                          <p:spTgt spid="41"/>
                                        </p:tgtEl>
                                        <p:attrNameLst>
                                          <p:attrName>ppt_h</p:attrName>
                                        </p:attrNameLst>
                                      </p:cBhvr>
                                      <p:tavLst>
                                        <p:tav tm="0">
                                          <p:val>
                                            <p:fltVal val="0"/>
                                          </p:val>
                                        </p:tav>
                                        <p:tav tm="100000">
                                          <p:val>
                                            <p:strVal val="#ppt_h"/>
                                          </p:val>
                                        </p:tav>
                                      </p:tavLst>
                                    </p:anim>
                                    <p:animEffect transition="in" filter="fade">
                                      <p:cBhvr>
                                        <p:cTn id="18" dur="500"/>
                                        <p:tgtEl>
                                          <p:spTgt spid="41"/>
                                        </p:tgtEl>
                                      </p:cBhvr>
                                    </p:animEffect>
                                  </p:childTnLst>
                                </p:cTn>
                              </p:par>
                            </p:childTnLst>
                          </p:cTn>
                        </p:par>
                        <p:par>
                          <p:cTn id="19" fill="hold">
                            <p:stCondLst>
                              <p:cond delay="1000"/>
                            </p:stCondLst>
                            <p:childTnLst>
                              <p:par>
                                <p:cTn id="20" presetID="42" presetClass="entr" presetSubtype="0" fill="hold" grpId="0"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250"/>
                                        <p:tgtEl>
                                          <p:spTgt spid="42"/>
                                        </p:tgtEl>
                                      </p:cBhvr>
                                    </p:animEffect>
                                    <p:anim calcmode="lin" valueType="num">
                                      <p:cBhvr>
                                        <p:cTn id="23" dur="250" fill="hold"/>
                                        <p:tgtEl>
                                          <p:spTgt spid="42"/>
                                        </p:tgtEl>
                                        <p:attrNameLst>
                                          <p:attrName>ppt_x</p:attrName>
                                        </p:attrNameLst>
                                      </p:cBhvr>
                                      <p:tavLst>
                                        <p:tav tm="0">
                                          <p:val>
                                            <p:strVal val="#ppt_x"/>
                                          </p:val>
                                        </p:tav>
                                        <p:tav tm="100000">
                                          <p:val>
                                            <p:strVal val="#ppt_x"/>
                                          </p:val>
                                        </p:tav>
                                      </p:tavLst>
                                    </p:anim>
                                    <p:anim calcmode="lin" valueType="num">
                                      <p:cBhvr>
                                        <p:cTn id="24" dur="250" fill="hold"/>
                                        <p:tgtEl>
                                          <p:spTgt spid="42"/>
                                        </p:tgtEl>
                                        <p:attrNameLst>
                                          <p:attrName>ppt_y</p:attrName>
                                        </p:attrNameLst>
                                      </p:cBhvr>
                                      <p:tavLst>
                                        <p:tav tm="0">
                                          <p:val>
                                            <p:strVal val="#ppt_y+.1"/>
                                          </p:val>
                                        </p:tav>
                                        <p:tav tm="100000">
                                          <p:val>
                                            <p:strVal val="#ppt_y"/>
                                          </p:val>
                                        </p:tav>
                                      </p:tavLst>
                                    </p:anim>
                                  </p:childTnLst>
                                </p:cTn>
                              </p:par>
                            </p:childTnLst>
                          </p:cTn>
                        </p:par>
                        <p:par>
                          <p:cTn id="25" fill="hold">
                            <p:stCondLst>
                              <p:cond delay="1250"/>
                            </p:stCondLst>
                            <p:childTnLst>
                              <p:par>
                                <p:cTn id="26" presetID="42" presetClass="entr" presetSubtype="0" fill="hold" grpId="0" nodeType="after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250"/>
                                        <p:tgtEl>
                                          <p:spTgt spid="43"/>
                                        </p:tgtEl>
                                      </p:cBhvr>
                                    </p:animEffect>
                                    <p:anim calcmode="lin" valueType="num">
                                      <p:cBhvr>
                                        <p:cTn id="29" dur="250" fill="hold"/>
                                        <p:tgtEl>
                                          <p:spTgt spid="43"/>
                                        </p:tgtEl>
                                        <p:attrNameLst>
                                          <p:attrName>ppt_x</p:attrName>
                                        </p:attrNameLst>
                                      </p:cBhvr>
                                      <p:tavLst>
                                        <p:tav tm="0">
                                          <p:val>
                                            <p:strVal val="#ppt_x"/>
                                          </p:val>
                                        </p:tav>
                                        <p:tav tm="100000">
                                          <p:val>
                                            <p:strVal val="#ppt_x"/>
                                          </p:val>
                                        </p:tav>
                                      </p:tavLst>
                                    </p:anim>
                                    <p:anim calcmode="lin" valueType="num">
                                      <p:cBhvr>
                                        <p:cTn id="30" dur="250" fill="hold"/>
                                        <p:tgtEl>
                                          <p:spTgt spid="43"/>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42" presetClass="entr" presetSubtype="0" fill="hold" grpId="0"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250"/>
                                        <p:tgtEl>
                                          <p:spTgt spid="45"/>
                                        </p:tgtEl>
                                      </p:cBhvr>
                                    </p:animEffect>
                                    <p:anim calcmode="lin" valueType="num">
                                      <p:cBhvr>
                                        <p:cTn id="35" dur="250" fill="hold"/>
                                        <p:tgtEl>
                                          <p:spTgt spid="45"/>
                                        </p:tgtEl>
                                        <p:attrNameLst>
                                          <p:attrName>ppt_x</p:attrName>
                                        </p:attrNameLst>
                                      </p:cBhvr>
                                      <p:tavLst>
                                        <p:tav tm="0">
                                          <p:val>
                                            <p:strVal val="#ppt_x"/>
                                          </p:val>
                                        </p:tav>
                                        <p:tav tm="100000">
                                          <p:val>
                                            <p:strVal val="#ppt_x"/>
                                          </p:val>
                                        </p:tav>
                                      </p:tavLst>
                                    </p:anim>
                                    <p:anim calcmode="lin" valueType="num">
                                      <p:cBhvr>
                                        <p:cTn id="36" dur="250" fill="hold"/>
                                        <p:tgtEl>
                                          <p:spTgt spid="45"/>
                                        </p:tgtEl>
                                        <p:attrNameLst>
                                          <p:attrName>ppt_y</p:attrName>
                                        </p:attrNameLst>
                                      </p:cBhvr>
                                      <p:tavLst>
                                        <p:tav tm="0">
                                          <p:val>
                                            <p:strVal val="#ppt_y+.1"/>
                                          </p:val>
                                        </p:tav>
                                        <p:tav tm="100000">
                                          <p:val>
                                            <p:strVal val="#ppt_y"/>
                                          </p:val>
                                        </p:tav>
                                      </p:tavLst>
                                    </p:anim>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250"/>
                                        <p:tgtEl>
                                          <p:spTgt spid="44"/>
                                        </p:tgtEl>
                                      </p:cBhvr>
                                    </p:animEffect>
                                    <p:anim calcmode="lin" valueType="num">
                                      <p:cBhvr>
                                        <p:cTn id="41" dur="250" fill="hold"/>
                                        <p:tgtEl>
                                          <p:spTgt spid="44"/>
                                        </p:tgtEl>
                                        <p:attrNameLst>
                                          <p:attrName>ppt_x</p:attrName>
                                        </p:attrNameLst>
                                      </p:cBhvr>
                                      <p:tavLst>
                                        <p:tav tm="0">
                                          <p:val>
                                            <p:strVal val="#ppt_x"/>
                                          </p:val>
                                        </p:tav>
                                        <p:tav tm="100000">
                                          <p:val>
                                            <p:strVal val="#ppt_x"/>
                                          </p:val>
                                        </p:tav>
                                      </p:tavLst>
                                    </p:anim>
                                    <p:anim calcmode="lin" valueType="num">
                                      <p:cBhvr>
                                        <p:cTn id="42" dur="25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2" grpId="0" animBg="1"/>
      <p:bldP spid="43" grpId="0" animBg="1"/>
      <p:bldP spid="44" grpId="0" animBg="1"/>
      <p:bldP spid="45" grpId="0" animBg="1"/>
    </p:bldLst>
  </p:timing>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F050F87C-DBB8-465C-9461-1A51EB4895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8200" y="5779918"/>
            <a:ext cx="1111659" cy="512064"/>
          </a:xfrm>
          <a:prstGeom prst="rect">
            <a:avLst/>
          </a:prstGeom>
        </p:spPr>
      </p:pic>
      <p:pic>
        <p:nvPicPr>
          <p:cNvPr id="41" name="Picture 40">
            <a:extLst>
              <a:ext uri="{FF2B5EF4-FFF2-40B4-BE49-F238E27FC236}">
                <a16:creationId xmlns:a16="http://schemas.microsoft.com/office/drawing/2014/main" id="{735DBF1E-9558-416C-B472-948A6E7C002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210571" y="1141155"/>
            <a:ext cx="3141233" cy="2807745"/>
          </a:xfrm>
          <a:prstGeom prst="rect">
            <a:avLst/>
          </a:prstGeom>
        </p:spPr>
      </p:pic>
      <p:sp>
        <p:nvSpPr>
          <p:cNvPr id="6" name="Footer Placeholder 5">
            <a:extLst>
              <a:ext uri="{FF2B5EF4-FFF2-40B4-BE49-F238E27FC236}">
                <a16:creationId xmlns:a16="http://schemas.microsoft.com/office/drawing/2014/main" id="{E1D3A87B-B994-4379-9AFE-7C6D0B965469}"/>
              </a:ext>
            </a:extLst>
          </p:cNvPr>
          <p:cNvSpPr>
            <a:spLocks noGrp="1"/>
          </p:cNvSpPr>
          <p:nvPr>
            <p:ph type="ftr" sz="quarter" idx="10"/>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1664A3F4-F702-4E48-ADB1-C36FC859912D}"/>
              </a:ext>
            </a:extLst>
          </p:cNvPr>
          <p:cNvSpPr>
            <a:spLocks noGrp="1"/>
          </p:cNvSpPr>
          <p:nvPr>
            <p:ph type="sldNum" sz="quarter" idx="11"/>
          </p:nvPr>
        </p:nvSpPr>
        <p:spPr/>
        <p:txBody>
          <a:bodyPr/>
          <a:lstStyle/>
          <a:p>
            <a:pPr lvl="0"/>
            <a:fld id="{5A1C2420-D500-4FDF-A245-39DCF46675EA}" type="slidenum">
              <a:rPr lang="en-US" noProof="0" smtClean="0"/>
              <a:pPr lvl="0"/>
              <a:t>91</a:t>
            </a:fld>
            <a:endParaRPr lang="en-US" noProof="0"/>
          </a:p>
        </p:txBody>
      </p:sp>
      <p:sp>
        <p:nvSpPr>
          <p:cNvPr id="2" name="Title 1">
            <a:extLst>
              <a:ext uri="{FF2B5EF4-FFF2-40B4-BE49-F238E27FC236}">
                <a16:creationId xmlns:a16="http://schemas.microsoft.com/office/drawing/2014/main" id="{6E7C41BD-FFFC-410C-AD34-CF0CEA5832FA}"/>
              </a:ext>
            </a:extLst>
          </p:cNvPr>
          <p:cNvSpPr>
            <a:spLocks noGrp="1"/>
          </p:cNvSpPr>
          <p:nvPr>
            <p:ph type="title"/>
          </p:nvPr>
        </p:nvSpPr>
        <p:spPr/>
        <p:txBody>
          <a:bodyPr/>
          <a:lstStyle/>
          <a:p>
            <a:r>
              <a:rPr lang="en-US"/>
              <a:t>Weed Examples</a:t>
            </a:r>
          </a:p>
        </p:txBody>
      </p:sp>
      <p:graphicFrame>
        <p:nvGraphicFramePr>
          <p:cNvPr id="214" name="Table 213">
            <a:extLst>
              <a:ext uri="{FF2B5EF4-FFF2-40B4-BE49-F238E27FC236}">
                <a16:creationId xmlns:a16="http://schemas.microsoft.com/office/drawing/2014/main" id="{CC182EC8-34C3-42CB-B2CD-193BF62887D0}"/>
              </a:ext>
            </a:extLst>
          </p:cNvPr>
          <p:cNvGraphicFramePr>
            <a:graphicFrameLocks noGrp="1"/>
          </p:cNvGraphicFramePr>
          <p:nvPr/>
        </p:nvGraphicFramePr>
        <p:xfrm>
          <a:off x="0" y="4715163"/>
          <a:ext cx="12199350" cy="1051560"/>
        </p:xfrm>
        <a:graphic>
          <a:graphicData uri="http://schemas.openxmlformats.org/drawingml/2006/table">
            <a:tbl>
              <a:tblPr firstCol="1" bandRow="1">
                <a:tableStyleId>{5C22544A-7EE6-4342-B048-85BDC9FD1C3A}</a:tableStyleId>
              </a:tblPr>
              <a:tblGrid>
                <a:gridCol w="868680">
                  <a:extLst>
                    <a:ext uri="{9D8B030D-6E8A-4147-A177-3AD203B41FA5}">
                      <a16:colId xmlns:a16="http://schemas.microsoft.com/office/drawing/2014/main" val="2286531471"/>
                    </a:ext>
                  </a:extLst>
                </a:gridCol>
                <a:gridCol w="731520">
                  <a:extLst>
                    <a:ext uri="{9D8B030D-6E8A-4147-A177-3AD203B41FA5}">
                      <a16:colId xmlns:a16="http://schemas.microsoft.com/office/drawing/2014/main" val="859317391"/>
                    </a:ext>
                  </a:extLst>
                </a:gridCol>
                <a:gridCol w="731520">
                  <a:extLst>
                    <a:ext uri="{9D8B030D-6E8A-4147-A177-3AD203B41FA5}">
                      <a16:colId xmlns:a16="http://schemas.microsoft.com/office/drawing/2014/main" val="1499567133"/>
                    </a:ext>
                  </a:extLst>
                </a:gridCol>
                <a:gridCol w="877824">
                  <a:extLst>
                    <a:ext uri="{9D8B030D-6E8A-4147-A177-3AD203B41FA5}">
                      <a16:colId xmlns:a16="http://schemas.microsoft.com/office/drawing/2014/main" val="3425404963"/>
                    </a:ext>
                  </a:extLst>
                </a:gridCol>
                <a:gridCol w="738553">
                  <a:extLst>
                    <a:ext uri="{9D8B030D-6E8A-4147-A177-3AD203B41FA5}">
                      <a16:colId xmlns:a16="http://schemas.microsoft.com/office/drawing/2014/main" val="764172400"/>
                    </a:ext>
                  </a:extLst>
                </a:gridCol>
                <a:gridCol w="1106424">
                  <a:extLst>
                    <a:ext uri="{9D8B030D-6E8A-4147-A177-3AD203B41FA5}">
                      <a16:colId xmlns:a16="http://schemas.microsoft.com/office/drawing/2014/main" val="4081262955"/>
                    </a:ext>
                  </a:extLst>
                </a:gridCol>
                <a:gridCol w="978408">
                  <a:extLst>
                    <a:ext uri="{9D8B030D-6E8A-4147-A177-3AD203B41FA5}">
                      <a16:colId xmlns:a16="http://schemas.microsoft.com/office/drawing/2014/main" val="894326951"/>
                    </a:ext>
                  </a:extLst>
                </a:gridCol>
                <a:gridCol w="990917">
                  <a:extLst>
                    <a:ext uri="{9D8B030D-6E8A-4147-A177-3AD203B41FA5}">
                      <a16:colId xmlns:a16="http://schemas.microsoft.com/office/drawing/2014/main" val="2258004565"/>
                    </a:ext>
                  </a:extLst>
                </a:gridCol>
                <a:gridCol w="822960">
                  <a:extLst>
                    <a:ext uri="{9D8B030D-6E8A-4147-A177-3AD203B41FA5}">
                      <a16:colId xmlns:a16="http://schemas.microsoft.com/office/drawing/2014/main" val="1296239282"/>
                    </a:ext>
                  </a:extLst>
                </a:gridCol>
                <a:gridCol w="886968">
                  <a:extLst>
                    <a:ext uri="{9D8B030D-6E8A-4147-A177-3AD203B41FA5}">
                      <a16:colId xmlns:a16="http://schemas.microsoft.com/office/drawing/2014/main" val="2886766434"/>
                    </a:ext>
                  </a:extLst>
                </a:gridCol>
                <a:gridCol w="731520">
                  <a:extLst>
                    <a:ext uri="{9D8B030D-6E8A-4147-A177-3AD203B41FA5}">
                      <a16:colId xmlns:a16="http://schemas.microsoft.com/office/drawing/2014/main" val="2103153167"/>
                    </a:ext>
                  </a:extLst>
                </a:gridCol>
                <a:gridCol w="1005840">
                  <a:extLst>
                    <a:ext uri="{9D8B030D-6E8A-4147-A177-3AD203B41FA5}">
                      <a16:colId xmlns:a16="http://schemas.microsoft.com/office/drawing/2014/main" val="1494173614"/>
                    </a:ext>
                  </a:extLst>
                </a:gridCol>
                <a:gridCol w="950976">
                  <a:extLst>
                    <a:ext uri="{9D8B030D-6E8A-4147-A177-3AD203B41FA5}">
                      <a16:colId xmlns:a16="http://schemas.microsoft.com/office/drawing/2014/main" val="303720624"/>
                    </a:ext>
                  </a:extLst>
                </a:gridCol>
                <a:gridCol w="777240">
                  <a:extLst>
                    <a:ext uri="{9D8B030D-6E8A-4147-A177-3AD203B41FA5}">
                      <a16:colId xmlns:a16="http://schemas.microsoft.com/office/drawing/2014/main" val="490070077"/>
                    </a:ext>
                  </a:extLst>
                </a:gridCol>
              </a:tblGrid>
              <a:tr h="594360">
                <a:tc>
                  <a:txBody>
                    <a:bodyPr/>
                    <a:lstStyle/>
                    <a:p>
                      <a:r>
                        <a:rPr lang="en-US" sz="1000" b="0" spc="0" baseline="0">
                          <a:solidFill>
                            <a:schemeClr val="bg1"/>
                          </a:solidFill>
                          <a:latin typeface="+mj-lt"/>
                        </a:rPr>
                        <a:t>SITE OF</a:t>
                      </a:r>
                    </a:p>
                    <a:p>
                      <a:r>
                        <a:rPr lang="en-US" sz="1000" b="0" spc="0" baseline="0">
                          <a:solidFill>
                            <a:schemeClr val="bg1"/>
                          </a:solidFill>
                          <a:latin typeface="+mj-lt"/>
                        </a:rPr>
                        <a:t>ACTION</a:t>
                      </a:r>
                    </a:p>
                  </a:txBody>
                  <a:tcPr anchor="ctr">
                    <a:lnL w="12700" cmpd="sng">
                      <a:noFill/>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spc="0" baseline="0">
                          <a:solidFill>
                            <a:schemeClr val="bg1"/>
                          </a:solidFill>
                          <a:latin typeface="Arial Narrow" panose="020B0606020202030204" pitchFamily="34" charset="0"/>
                        </a:rPr>
                        <a:t>ACCASE</a:t>
                      </a:r>
                    </a:p>
                    <a:p>
                      <a:pPr algn="ctr"/>
                      <a:r>
                        <a:rPr lang="en-US" sz="900" b="1" spc="0" baseline="0">
                          <a:solidFill>
                            <a:schemeClr val="bg1"/>
                          </a:solidFill>
                          <a:latin typeface="Arial Narrow" panose="020B0606020202030204" pitchFamily="34" charset="0"/>
                        </a:rPr>
                        <a:t>INHIBITORS</a:t>
                      </a:r>
                    </a:p>
                  </a:txBody>
                  <a:tcPr anchor="b">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ALS</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MICROTUBULE</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SYNTHETIC</a:t>
                      </a:r>
                    </a:p>
                    <a:p>
                      <a:pPr algn="ctr"/>
                      <a:r>
                        <a:rPr lang="en-US" sz="900" b="1" kern="1200" spc="0" baseline="0">
                          <a:solidFill>
                            <a:schemeClr val="bg1"/>
                          </a:solidFill>
                          <a:latin typeface="Arial Narrow" panose="020B0606020202030204" pitchFamily="34" charset="0"/>
                          <a:ea typeface="+mn-ea"/>
                          <a:cs typeface="+mn-cs"/>
                        </a:rPr>
                        <a:t>AUXIN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I</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IPID SYNTHESIS</a:t>
                      </a:r>
                    </a:p>
                    <a:p>
                      <a:pPr algn="ctr"/>
                      <a:r>
                        <a:rPr lang="en-US" sz="900" b="1" kern="1200" spc="0" baseline="0">
                          <a:solidFill>
                            <a:schemeClr val="bg1"/>
                          </a:solidFill>
                          <a:latin typeface="Arial Narrow" panose="020B0606020202030204" pitchFamily="34" charset="0"/>
                          <a:ea typeface="+mn-ea"/>
                          <a:cs typeface="+mn-cs"/>
                        </a:rPr>
                        <a:t>INHIBITOR </a:t>
                      </a:r>
                      <a:br>
                        <a:rPr lang="en-US" sz="900" b="1" kern="1200" spc="0" baseline="0">
                          <a:solidFill>
                            <a:schemeClr val="bg1"/>
                          </a:solidFill>
                          <a:latin typeface="Arial Narrow" panose="020B0606020202030204" pitchFamily="34" charset="0"/>
                          <a:ea typeface="+mn-ea"/>
                          <a:cs typeface="+mn-cs"/>
                        </a:rPr>
                      </a:br>
                      <a:r>
                        <a:rPr lang="en-US" sz="900" b="0" kern="1200" spc="0" baseline="0">
                          <a:solidFill>
                            <a:schemeClr val="bg1"/>
                          </a:solidFill>
                          <a:latin typeface="Arial Narrow" panose="020B0606020202030204" pitchFamily="34" charset="0"/>
                          <a:ea typeface="+mn-ea"/>
                          <a:cs typeface="+mn-cs"/>
                        </a:rPr>
                        <a:t>(not </a:t>
                      </a:r>
                      <a:r>
                        <a:rPr lang="en-US" sz="900" b="0" kern="1200" spc="0" baseline="0" err="1">
                          <a:solidFill>
                            <a:schemeClr val="bg1"/>
                          </a:solidFill>
                          <a:latin typeface="Arial Narrow" panose="020B0606020202030204" pitchFamily="34" charset="0"/>
                          <a:ea typeface="+mn-ea"/>
                          <a:cs typeface="+mn-cs"/>
                        </a:rPr>
                        <a:t>ACCase</a:t>
                      </a:r>
                      <a:r>
                        <a:rPr lang="en-US" sz="900" b="0" kern="1200" spc="0" baseline="0">
                          <a:solidFill>
                            <a:schemeClr val="bg1"/>
                          </a:solidFill>
                          <a:latin typeface="Arial Narrow" panose="020B0606020202030204" pitchFamily="34" charset="0"/>
                          <a:ea typeface="+mn-ea"/>
                          <a:cs typeface="+mn-cs"/>
                        </a:rPr>
                        <a: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EPSP SYNTH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GLUTAMINE SYNTHET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DITERPENE</a:t>
                      </a:r>
                    </a:p>
                    <a:p>
                      <a:pPr algn="ctr"/>
                      <a:r>
                        <a:rPr lang="en-US" sz="900" b="1" kern="1200" spc="0" baseline="0">
                          <a:solidFill>
                            <a:schemeClr val="bg1"/>
                          </a:solidFill>
                          <a:latin typeface="Arial Narrow" panose="020B0606020202030204" pitchFamily="34" charset="0"/>
                          <a:ea typeface="+mn-ea"/>
                          <a:cs typeface="+mn-cs"/>
                        </a:rPr>
                        <a:t>BIOSYNTHESIS</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PO</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ONG-CHAIN FATTY</a:t>
                      </a:r>
                    </a:p>
                    <a:p>
                      <a:pPr algn="ctr"/>
                      <a:r>
                        <a:rPr lang="en-US" sz="900" b="1" kern="1200" spc="0" baseline="0">
                          <a:solidFill>
                            <a:schemeClr val="bg1"/>
                          </a:solidFill>
                          <a:latin typeface="Arial Narrow" panose="020B0606020202030204" pitchFamily="34" charset="0"/>
                          <a:ea typeface="+mn-ea"/>
                          <a:cs typeface="+mn-cs"/>
                        </a:rPr>
                        <a:t>ACID 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a:t>
                      </a:r>
                    </a:p>
                    <a:p>
                      <a:pPr algn="ctr"/>
                      <a:r>
                        <a:rPr lang="en-US" sz="900" b="1" kern="1200" spc="0" baseline="0">
                          <a:solidFill>
                            <a:schemeClr val="bg1"/>
                          </a:solidFill>
                          <a:latin typeface="Arial Narrow" panose="020B0606020202030204" pitchFamily="34" charset="0"/>
                          <a:ea typeface="+mn-ea"/>
                          <a:cs typeface="+mn-cs"/>
                        </a:rPr>
                        <a:t>ELECTRON DIVERTE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HPPD</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0">
                <a:tc>
                  <a:txBody>
                    <a:bodyPr/>
                    <a:lstStyle/>
                    <a:p>
                      <a:r>
                        <a:rPr lang="en-US" sz="900" b="0" spc="0" baseline="0">
                          <a:solidFill>
                            <a:schemeClr val="tx1"/>
                          </a:solidFill>
                          <a:latin typeface="Arial Narrow" panose="020B0606020202030204" pitchFamily="34" charset="0"/>
                        </a:rPr>
                        <a:t>PRODUCT</a:t>
                      </a:r>
                    </a:p>
                    <a:p>
                      <a:r>
                        <a:rPr lang="en-US" sz="900" b="0" spc="0" baseline="0">
                          <a:solidFill>
                            <a:schemeClr val="tx1"/>
                          </a:solidFill>
                          <a:latin typeface="Arial Narrow" panose="020B0606020202030204" pitchFamily="34" charset="0"/>
                        </a:rPr>
                        <a:t>EXAMPLES</a:t>
                      </a:r>
                    </a:p>
                    <a:p>
                      <a:r>
                        <a:rPr lang="en-US" sz="600" b="0" spc="0" baseline="0">
                          <a:solidFill>
                            <a:schemeClr val="tx1"/>
                          </a:solidFill>
                          <a:latin typeface="Arial Narrow" panose="020B0606020202030204" pitchFamily="34" charset="0"/>
                        </a:rPr>
                        <a:t>(Trade Name</a:t>
                      </a:r>
                      <a:r>
                        <a:rPr lang="en-US" sz="600" b="0" strike="noStrike" spc="0" baseline="30000">
                          <a:solidFill>
                            <a:schemeClr val="tx1"/>
                          </a:solidFill>
                          <a:latin typeface="Arial Narrow" panose="020B0606020202030204" pitchFamily="34" charset="0"/>
                        </a:rPr>
                        <a:t>®</a:t>
                      </a:r>
                      <a:r>
                        <a:rPr lang="en-US" sz="600" b="0" spc="0" baseline="0">
                          <a:solidFill>
                            <a:schemeClr val="tx1"/>
                          </a:solidFill>
                          <a:latin typeface="Arial Narrow" panose="020B0606020202030204" pitchFamily="34" charset="0"/>
                        </a:rPr>
                        <a:t>)</a:t>
                      </a:r>
                      <a:endParaRPr lang="en-US" sz="700" b="0" spc="0" baseline="0">
                        <a:solidFill>
                          <a:schemeClr val="tx1"/>
                        </a:solidFill>
                        <a:latin typeface="Arial Narrow" panose="020B0606020202030204" pitchFamily="34" charset="0"/>
                      </a:endParaRPr>
                    </a:p>
                  </a:txBody>
                  <a:tcPr anchor="ctr">
                    <a:lnL w="12700" cmpd="sng">
                      <a:noFill/>
                    </a:lnL>
                    <a:lnR w="381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ssure II,</a:t>
                      </a:r>
                    </a:p>
                    <a:p>
                      <a:pPr algn="ctr"/>
                      <a:r>
                        <a:rPr lang="en-US" sz="800" b="0" spc="0" baseline="0">
                          <a:solidFill>
                            <a:schemeClr val="tx1"/>
                          </a:solidFill>
                          <a:latin typeface="+mn-lt"/>
                        </a:rPr>
                        <a:t>Select Max</a:t>
                      </a:r>
                    </a:p>
                  </a:txBody>
                  <a:tcPr anchor="ctr">
                    <a:lnL w="38100" cap="flat" cmpd="sng" algn="ctr">
                      <a:solidFill>
                        <a:schemeClr val="tx1"/>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lassic,</a:t>
                      </a:r>
                    </a:p>
                    <a:p>
                      <a:pPr algn="ctr"/>
                      <a:r>
                        <a:rPr lang="en-US" sz="800" b="0" spc="0" baseline="0">
                          <a:solidFill>
                            <a:schemeClr val="tx1"/>
                          </a:solidFill>
                          <a:latin typeface="+mn-lt"/>
                        </a:rPr>
                        <a:t>Pursui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Prowl H</a:t>
                      </a:r>
                      <a:r>
                        <a:rPr lang="en-US" sz="800" b="0" spc="0" baseline="-25000">
                          <a:solidFill>
                            <a:schemeClr val="tx1"/>
                          </a:solidFill>
                          <a:latin typeface="+mn-lt"/>
                        </a:rPr>
                        <a:t>2</a:t>
                      </a:r>
                      <a:r>
                        <a:rPr lang="en-US" sz="800" b="0" spc="0" baseline="0">
                          <a:solidFill>
                            <a:schemeClr val="tx1"/>
                          </a:solidFill>
                          <a:latin typeface="+mn-lt"/>
                        </a:rPr>
                        <a:t>O,</a:t>
                      </a:r>
                    </a:p>
                    <a:p>
                      <a:pPr algn="ctr"/>
                      <a:r>
                        <a:rPr lang="en-US" sz="800" b="0" spc="0" baseline="0" err="1">
                          <a:solidFill>
                            <a:schemeClr val="tx1"/>
                          </a:solidFill>
                          <a:latin typeface="+mn-lt"/>
                        </a:rPr>
                        <a:t>Treflan</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2,4-D, Clarity</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quinclorac</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trazine, metribuzin,</a:t>
                      </a:r>
                    </a:p>
                    <a:p>
                      <a:pPr algn="ctr"/>
                      <a:r>
                        <a:rPr lang="en-US" sz="800" b="0" spc="0" baseline="0" err="1">
                          <a:solidFill>
                            <a:schemeClr val="tx1"/>
                          </a:solidFill>
                          <a:latin typeface="+mn-lt"/>
                        </a:rPr>
                        <a:t>Basagran</a:t>
                      </a:r>
                      <a:r>
                        <a:rPr lang="en-US" sz="800" b="0" spc="0" baseline="0">
                          <a:solidFill>
                            <a:schemeClr val="tx1"/>
                          </a:solidFill>
                          <a:latin typeface="+mn-lt"/>
                        </a:rPr>
                        <a:t>, </a:t>
                      </a:r>
                      <a:r>
                        <a:rPr lang="en-US" sz="800" b="0" spc="0" baseline="0" err="1">
                          <a:solidFill>
                            <a:schemeClr val="tx1"/>
                          </a:solidFill>
                          <a:latin typeface="+mn-lt"/>
                        </a:rPr>
                        <a:t>Linex</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Far-Go</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Roundup,</a:t>
                      </a:r>
                    </a:p>
                    <a:p>
                      <a:pPr algn="ctr"/>
                      <a:r>
                        <a:rPr lang="en-US" sz="800" b="0" spc="0" baseline="0">
                          <a:solidFill>
                            <a:schemeClr val="tx1"/>
                          </a:solidFill>
                          <a:latin typeface="+mn-lt"/>
                        </a:rPr>
                        <a:t>(glyphosate)</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Liberty</a:t>
                      </a:r>
                      <a:r>
                        <a:rPr lang="en-US" sz="800" b="0" spc="0" baseline="30000">
                          <a:solidFill>
                            <a:schemeClr val="tx1"/>
                          </a:solidFill>
                          <a:latin typeface="+mn-lt"/>
                        </a:rPr>
                        <a:t>®</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ommand</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Flexstar</a:t>
                      </a:r>
                      <a:r>
                        <a:rPr lang="en-US" sz="800" b="0" spc="0" baseline="0">
                          <a:solidFill>
                            <a:schemeClr val="tx1"/>
                          </a:solidFill>
                          <a:latin typeface="+mn-lt"/>
                        </a:rPr>
                        <a:t>,</a:t>
                      </a:r>
                    </a:p>
                    <a:p>
                      <a:pPr algn="ctr"/>
                      <a:r>
                        <a:rPr lang="en-US" sz="800" b="0" spc="0" baseline="0">
                          <a:solidFill>
                            <a:schemeClr val="tx1"/>
                          </a:solidFill>
                          <a:latin typeface="+mn-lt"/>
                        </a:rPr>
                        <a:t>Cobra</a:t>
                      </a:r>
                      <a:r>
                        <a:rPr lang="en-US" sz="800" b="0" spc="0" baseline="30000">
                          <a:solidFill>
                            <a:schemeClr val="tx1"/>
                          </a:solidFill>
                          <a:latin typeface="+mn-lt"/>
                        </a:rPr>
                        <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Dual, Harness</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Gramoxone</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paraqu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Callisto</a:t>
                      </a:r>
                      <a:r>
                        <a:rPr lang="en-US" sz="800" b="0" spc="0" baseline="0">
                          <a:solidFill>
                            <a:schemeClr val="tx1"/>
                          </a:solidFill>
                          <a:latin typeface="+mn-lt"/>
                        </a:rPr>
                        <a:t>,</a:t>
                      </a:r>
                    </a:p>
                    <a:p>
                      <a:pPr algn="ctr"/>
                      <a:r>
                        <a:rPr lang="en-US" sz="800" b="0" spc="0" baseline="0" err="1">
                          <a:solidFill>
                            <a:schemeClr val="tx1"/>
                          </a:solidFill>
                          <a:latin typeface="+mn-lt"/>
                        </a:rPr>
                        <a:t>Laudis</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216" name="Oval 215">
            <a:extLst>
              <a:ext uri="{FF2B5EF4-FFF2-40B4-BE49-F238E27FC236}">
                <a16:creationId xmlns:a16="http://schemas.microsoft.com/office/drawing/2014/main" id="{F21BDF6C-F254-4CB3-AE6F-541DCDF3B281}"/>
              </a:ext>
            </a:extLst>
          </p:cNvPr>
          <p:cNvSpPr/>
          <p:nvPr/>
        </p:nvSpPr>
        <p:spPr>
          <a:xfrm>
            <a:off x="112213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a:t>
            </a:r>
          </a:p>
        </p:txBody>
      </p:sp>
      <p:sp>
        <p:nvSpPr>
          <p:cNvPr id="217" name="Oval 216">
            <a:extLst>
              <a:ext uri="{FF2B5EF4-FFF2-40B4-BE49-F238E27FC236}">
                <a16:creationId xmlns:a16="http://schemas.microsoft.com/office/drawing/2014/main" id="{CF98D4CD-6C78-46C5-8C33-597B873D2420}"/>
              </a:ext>
            </a:extLst>
          </p:cNvPr>
          <p:cNvSpPr/>
          <p:nvPr/>
        </p:nvSpPr>
        <p:spPr>
          <a:xfrm>
            <a:off x="1851158"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a:t>
            </a:r>
          </a:p>
        </p:txBody>
      </p:sp>
      <p:sp>
        <p:nvSpPr>
          <p:cNvPr id="218" name="Oval 217">
            <a:extLst>
              <a:ext uri="{FF2B5EF4-FFF2-40B4-BE49-F238E27FC236}">
                <a16:creationId xmlns:a16="http://schemas.microsoft.com/office/drawing/2014/main" id="{D5AD951D-F13A-4511-9CB0-CA451795509A}"/>
              </a:ext>
            </a:extLst>
          </p:cNvPr>
          <p:cNvSpPr/>
          <p:nvPr/>
        </p:nvSpPr>
        <p:spPr>
          <a:xfrm>
            <a:off x="265092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3</a:t>
            </a:r>
          </a:p>
        </p:txBody>
      </p:sp>
      <p:sp>
        <p:nvSpPr>
          <p:cNvPr id="219" name="Oval 218">
            <a:extLst>
              <a:ext uri="{FF2B5EF4-FFF2-40B4-BE49-F238E27FC236}">
                <a16:creationId xmlns:a16="http://schemas.microsoft.com/office/drawing/2014/main" id="{DC2E6585-9595-4254-A4E3-F5A14D2C2194}"/>
              </a:ext>
            </a:extLst>
          </p:cNvPr>
          <p:cNvSpPr/>
          <p:nvPr/>
        </p:nvSpPr>
        <p:spPr>
          <a:xfrm>
            <a:off x="346111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4</a:t>
            </a:r>
          </a:p>
        </p:txBody>
      </p:sp>
      <p:sp>
        <p:nvSpPr>
          <p:cNvPr id="220" name="Oval 219">
            <a:extLst>
              <a:ext uri="{FF2B5EF4-FFF2-40B4-BE49-F238E27FC236}">
                <a16:creationId xmlns:a16="http://schemas.microsoft.com/office/drawing/2014/main" id="{F7DB4806-C0A8-42C9-9D7F-5735B4E42AAB}"/>
              </a:ext>
            </a:extLst>
          </p:cNvPr>
          <p:cNvSpPr/>
          <p:nvPr/>
        </p:nvSpPr>
        <p:spPr>
          <a:xfrm>
            <a:off x="407674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5</a:t>
            </a:r>
          </a:p>
        </p:txBody>
      </p:sp>
      <p:sp>
        <p:nvSpPr>
          <p:cNvPr id="221" name="Oval 220">
            <a:extLst>
              <a:ext uri="{FF2B5EF4-FFF2-40B4-BE49-F238E27FC236}">
                <a16:creationId xmlns:a16="http://schemas.microsoft.com/office/drawing/2014/main" id="{B8C32C6C-CA3B-4769-8256-2EB0548E3700}"/>
              </a:ext>
            </a:extLst>
          </p:cNvPr>
          <p:cNvSpPr/>
          <p:nvPr/>
        </p:nvSpPr>
        <p:spPr>
          <a:xfrm>
            <a:off x="4381873"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6</a:t>
            </a:r>
          </a:p>
        </p:txBody>
      </p:sp>
      <p:sp>
        <p:nvSpPr>
          <p:cNvPr id="222" name="Oval 221">
            <a:extLst>
              <a:ext uri="{FF2B5EF4-FFF2-40B4-BE49-F238E27FC236}">
                <a16:creationId xmlns:a16="http://schemas.microsoft.com/office/drawing/2014/main" id="{5610B1DB-54A8-4D07-B90C-243B2C23FA08}"/>
              </a:ext>
            </a:extLst>
          </p:cNvPr>
          <p:cNvSpPr/>
          <p:nvPr/>
        </p:nvSpPr>
        <p:spPr>
          <a:xfrm>
            <a:off x="7322354"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0</a:t>
            </a:r>
          </a:p>
        </p:txBody>
      </p:sp>
      <p:sp>
        <p:nvSpPr>
          <p:cNvPr id="223" name="Oval 222">
            <a:extLst>
              <a:ext uri="{FF2B5EF4-FFF2-40B4-BE49-F238E27FC236}">
                <a16:creationId xmlns:a16="http://schemas.microsoft.com/office/drawing/2014/main" id="{51F8C5D5-75BE-4ACB-847C-8A251AB2DF01}"/>
              </a:ext>
            </a:extLst>
          </p:cNvPr>
          <p:cNvSpPr/>
          <p:nvPr/>
        </p:nvSpPr>
        <p:spPr>
          <a:xfrm>
            <a:off x="468128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7</a:t>
            </a:r>
          </a:p>
        </p:txBody>
      </p:sp>
      <p:sp>
        <p:nvSpPr>
          <p:cNvPr id="224" name="Oval 223">
            <a:extLst>
              <a:ext uri="{FF2B5EF4-FFF2-40B4-BE49-F238E27FC236}">
                <a16:creationId xmlns:a16="http://schemas.microsoft.com/office/drawing/2014/main" id="{1D87181F-4801-49F9-8F4F-E9E71F4A6C1B}"/>
              </a:ext>
            </a:extLst>
          </p:cNvPr>
          <p:cNvSpPr/>
          <p:nvPr/>
        </p:nvSpPr>
        <p:spPr>
          <a:xfrm>
            <a:off x="544216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8</a:t>
            </a:r>
          </a:p>
        </p:txBody>
      </p:sp>
      <p:sp>
        <p:nvSpPr>
          <p:cNvPr id="225" name="Oval 224">
            <a:extLst>
              <a:ext uri="{FF2B5EF4-FFF2-40B4-BE49-F238E27FC236}">
                <a16:creationId xmlns:a16="http://schemas.microsoft.com/office/drawing/2014/main" id="{658DF298-4512-4785-B057-ED8818A3942C}"/>
              </a:ext>
            </a:extLst>
          </p:cNvPr>
          <p:cNvSpPr/>
          <p:nvPr/>
        </p:nvSpPr>
        <p:spPr>
          <a:xfrm>
            <a:off x="642606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9</a:t>
            </a:r>
          </a:p>
        </p:txBody>
      </p:sp>
      <p:sp>
        <p:nvSpPr>
          <p:cNvPr id="226" name="Oval 225">
            <a:extLst>
              <a:ext uri="{FF2B5EF4-FFF2-40B4-BE49-F238E27FC236}">
                <a16:creationId xmlns:a16="http://schemas.microsoft.com/office/drawing/2014/main" id="{A152EBB9-3FB8-4661-8CBE-0EB3A960CA4F}"/>
              </a:ext>
            </a:extLst>
          </p:cNvPr>
          <p:cNvSpPr/>
          <p:nvPr/>
        </p:nvSpPr>
        <p:spPr>
          <a:xfrm>
            <a:off x="81807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3</a:t>
            </a:r>
          </a:p>
        </p:txBody>
      </p:sp>
      <p:sp>
        <p:nvSpPr>
          <p:cNvPr id="227" name="Oval 226">
            <a:extLst>
              <a:ext uri="{FF2B5EF4-FFF2-40B4-BE49-F238E27FC236}">
                <a16:creationId xmlns:a16="http://schemas.microsoft.com/office/drawing/2014/main" id="{F310B25A-56A0-41A0-AA86-1F8FDB33F897}"/>
              </a:ext>
            </a:extLst>
          </p:cNvPr>
          <p:cNvSpPr/>
          <p:nvPr/>
        </p:nvSpPr>
        <p:spPr>
          <a:xfrm>
            <a:off x="89865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4</a:t>
            </a:r>
          </a:p>
        </p:txBody>
      </p:sp>
      <p:sp>
        <p:nvSpPr>
          <p:cNvPr id="228" name="Oval 227">
            <a:extLst>
              <a:ext uri="{FF2B5EF4-FFF2-40B4-BE49-F238E27FC236}">
                <a16:creationId xmlns:a16="http://schemas.microsoft.com/office/drawing/2014/main" id="{46D3E6CC-A16E-4A2F-82FD-B4C9033C3B47}"/>
              </a:ext>
            </a:extLst>
          </p:cNvPr>
          <p:cNvSpPr/>
          <p:nvPr/>
        </p:nvSpPr>
        <p:spPr>
          <a:xfrm>
            <a:off x="985824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5</a:t>
            </a:r>
          </a:p>
        </p:txBody>
      </p:sp>
      <p:sp>
        <p:nvSpPr>
          <p:cNvPr id="229" name="Oval 228">
            <a:extLst>
              <a:ext uri="{FF2B5EF4-FFF2-40B4-BE49-F238E27FC236}">
                <a16:creationId xmlns:a16="http://schemas.microsoft.com/office/drawing/2014/main" id="{ACF0719F-6B7A-4793-943D-64E69619B9F2}"/>
              </a:ext>
            </a:extLst>
          </p:cNvPr>
          <p:cNvSpPr/>
          <p:nvPr/>
        </p:nvSpPr>
        <p:spPr>
          <a:xfrm>
            <a:off x="1084058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2</a:t>
            </a:r>
          </a:p>
        </p:txBody>
      </p:sp>
      <p:sp>
        <p:nvSpPr>
          <p:cNvPr id="230" name="Oval 229">
            <a:extLst>
              <a:ext uri="{FF2B5EF4-FFF2-40B4-BE49-F238E27FC236}">
                <a16:creationId xmlns:a16="http://schemas.microsoft.com/office/drawing/2014/main" id="{3E1E6405-346B-4BEA-BBD3-2EBB5358715C}"/>
              </a:ext>
            </a:extLst>
          </p:cNvPr>
          <p:cNvSpPr/>
          <p:nvPr/>
        </p:nvSpPr>
        <p:spPr>
          <a:xfrm>
            <a:off x="1168605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7</a:t>
            </a:r>
          </a:p>
        </p:txBody>
      </p:sp>
      <p:grpSp>
        <p:nvGrpSpPr>
          <p:cNvPr id="51" name="4: Horseweed">
            <a:extLst>
              <a:ext uri="{FF2B5EF4-FFF2-40B4-BE49-F238E27FC236}">
                <a16:creationId xmlns:a16="http://schemas.microsoft.com/office/drawing/2014/main" id="{2329E3F7-1423-4F70-8576-3049EABEBCB0}"/>
              </a:ext>
            </a:extLst>
          </p:cNvPr>
          <p:cNvGrpSpPr/>
          <p:nvPr/>
        </p:nvGrpSpPr>
        <p:grpSpPr>
          <a:xfrm>
            <a:off x="2209913" y="1141155"/>
            <a:ext cx="7772174" cy="2807745"/>
            <a:chOff x="1762543" y="1141155"/>
            <a:chExt cx="7772174" cy="2807745"/>
          </a:xfrm>
        </p:grpSpPr>
        <p:sp>
          <p:nvSpPr>
            <p:cNvPr id="52" name="Rectangle 51">
              <a:extLst>
                <a:ext uri="{FF2B5EF4-FFF2-40B4-BE49-F238E27FC236}">
                  <a16:creationId xmlns:a16="http://schemas.microsoft.com/office/drawing/2014/main" id="{59042B1E-231E-4A97-9614-6E921DCD6643}"/>
                </a:ext>
              </a:extLst>
            </p:cNvPr>
            <p:cNvSpPr/>
            <p:nvPr/>
          </p:nvSpPr>
          <p:spPr>
            <a:xfrm>
              <a:off x="4903776" y="1141155"/>
              <a:ext cx="4630941" cy="2807745"/>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54" name="Rectangle 53">
              <a:extLst>
                <a:ext uri="{FF2B5EF4-FFF2-40B4-BE49-F238E27FC236}">
                  <a16:creationId xmlns:a16="http://schemas.microsoft.com/office/drawing/2014/main" id="{61C8322E-390C-4296-B2DC-C86C3AFE284A}"/>
                </a:ext>
              </a:extLst>
            </p:cNvPr>
            <p:cNvSpPr/>
            <p:nvPr/>
          </p:nvSpPr>
          <p:spPr>
            <a:xfrm>
              <a:off x="1762543" y="1141155"/>
              <a:ext cx="3141233" cy="280774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55" name="TextBox 54">
              <a:extLst>
                <a:ext uri="{FF2B5EF4-FFF2-40B4-BE49-F238E27FC236}">
                  <a16:creationId xmlns:a16="http://schemas.microsoft.com/office/drawing/2014/main" id="{73D92BFF-5A36-4807-A147-677520B408CE}"/>
                </a:ext>
              </a:extLst>
            </p:cNvPr>
            <p:cNvSpPr txBox="1"/>
            <p:nvPr/>
          </p:nvSpPr>
          <p:spPr>
            <a:xfrm>
              <a:off x="5210290" y="2690802"/>
              <a:ext cx="1833101" cy="7848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Narrow" panose="020B0606020202030204" pitchFamily="34" charset="0"/>
                  <a:ea typeface="+mj-ea"/>
                  <a:cs typeface="+mj-cs"/>
                </a:rPr>
                <a:t>SEEDS/PLANT</a:t>
              </a:r>
            </a:p>
            <a:p>
              <a:pPr marL="0" marR="0" lvl="0" indent="0" defTabSz="914400"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a:ln>
                    <a:noFill/>
                  </a:ln>
                  <a:solidFill>
                    <a:sysClr val="windowText" lastClr="000000"/>
                  </a:solidFill>
                  <a:effectLst/>
                  <a:uLnTx/>
                  <a:uFillTx/>
                  <a:latin typeface="+mj-lt"/>
                </a:rPr>
                <a:t>200K</a:t>
              </a:r>
            </a:p>
          </p:txBody>
        </p:sp>
        <p:sp>
          <p:nvSpPr>
            <p:cNvPr id="56" name="TextBox 55">
              <a:extLst>
                <a:ext uri="{FF2B5EF4-FFF2-40B4-BE49-F238E27FC236}">
                  <a16:creationId xmlns:a16="http://schemas.microsoft.com/office/drawing/2014/main" id="{F68D186C-9C81-4C6C-A1FE-7D1C1CF01D7A}"/>
                </a:ext>
              </a:extLst>
            </p:cNvPr>
            <p:cNvSpPr txBox="1"/>
            <p:nvPr/>
          </p:nvSpPr>
          <p:spPr>
            <a:xfrm>
              <a:off x="5210290" y="1445298"/>
              <a:ext cx="3373873" cy="7294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ysClr val="windowText" lastClr="000000"/>
                  </a:solidFill>
                  <a:effectLst/>
                  <a:uLnTx/>
                  <a:uFillTx/>
                  <a:latin typeface="+mj-lt"/>
                </a:rPr>
                <a:t>HORSEWEED</a:t>
              </a:r>
            </a:p>
            <a:p>
              <a:pPr marL="0" marR="0" lvl="0" indent="0" defTabSz="91440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err="1">
                  <a:ln>
                    <a:noFill/>
                  </a:ln>
                  <a:solidFill>
                    <a:schemeClr val="accent6"/>
                  </a:solidFill>
                  <a:effectLst/>
                  <a:uLnTx/>
                  <a:uFillTx/>
                  <a:latin typeface="Arial Narrow" panose="020B0606020202030204" pitchFamily="34" charset="0"/>
                </a:rPr>
                <a:t>Conyza</a:t>
              </a:r>
              <a:r>
                <a:rPr kumimoji="0" lang="en-US" sz="2200" b="0" i="0" u="none" strike="noStrike" kern="0" cap="none" spc="0" normalizeH="0" baseline="0" noProof="0">
                  <a:ln>
                    <a:noFill/>
                  </a:ln>
                  <a:solidFill>
                    <a:schemeClr val="accent6"/>
                  </a:solidFill>
                  <a:effectLst/>
                  <a:uLnTx/>
                  <a:uFillTx/>
                  <a:latin typeface="Arial Narrow" panose="020B0606020202030204" pitchFamily="34" charset="0"/>
                </a:rPr>
                <a:t> canadensis</a:t>
              </a:r>
            </a:p>
          </p:txBody>
        </p:sp>
        <p:cxnSp>
          <p:nvCxnSpPr>
            <p:cNvPr id="57" name="Straight Connector 56">
              <a:extLst>
                <a:ext uri="{FF2B5EF4-FFF2-40B4-BE49-F238E27FC236}">
                  <a16:creationId xmlns:a16="http://schemas.microsoft.com/office/drawing/2014/main" id="{0F62FF3A-A961-45EF-A140-9BBE2AC18F2B}"/>
                </a:ext>
              </a:extLst>
            </p:cNvPr>
            <p:cNvCxnSpPr>
              <a:cxnSpLocks/>
            </p:cNvCxnSpPr>
            <p:nvPr/>
          </p:nvCxnSpPr>
          <p:spPr>
            <a:xfrm flipV="1">
              <a:off x="5207008" y="2396381"/>
              <a:ext cx="4007133"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B81CA493-CCB8-4955-B3B3-5D8491775C70}"/>
              </a:ext>
            </a:extLst>
          </p:cNvPr>
          <p:cNvSpPr/>
          <p:nvPr/>
        </p:nvSpPr>
        <p:spPr>
          <a:xfrm>
            <a:off x="0" y="4494078"/>
            <a:ext cx="12199350" cy="132171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39" name="Table 38">
            <a:extLst>
              <a:ext uri="{FF2B5EF4-FFF2-40B4-BE49-F238E27FC236}">
                <a16:creationId xmlns:a16="http://schemas.microsoft.com/office/drawing/2014/main" id="{A21B3B25-12FC-4B07-AE94-B6AA31946EBA}"/>
              </a:ext>
            </a:extLst>
          </p:cNvPr>
          <p:cNvGraphicFramePr>
            <a:graphicFrameLocks noGrp="1"/>
          </p:cNvGraphicFramePr>
          <p:nvPr/>
        </p:nvGraphicFramePr>
        <p:xfrm>
          <a:off x="2849880" y="4385705"/>
          <a:ext cx="6492240" cy="1554480"/>
        </p:xfrm>
        <a:graphic>
          <a:graphicData uri="http://schemas.openxmlformats.org/drawingml/2006/table">
            <a:tbl>
              <a:tblPr firstCol="1" bandRow="1">
                <a:tableStyleId>{5C22544A-7EE6-4342-B048-85BDC9FD1C3A}</a:tableStyleId>
              </a:tblPr>
              <a:tblGrid>
                <a:gridCol w="1188720">
                  <a:extLst>
                    <a:ext uri="{9D8B030D-6E8A-4147-A177-3AD203B41FA5}">
                      <a16:colId xmlns:a16="http://schemas.microsoft.com/office/drawing/2014/main" val="859317391"/>
                    </a:ext>
                  </a:extLst>
                </a:gridCol>
                <a:gridCol w="1645920">
                  <a:extLst>
                    <a:ext uri="{9D8B030D-6E8A-4147-A177-3AD203B41FA5}">
                      <a16:colId xmlns:a16="http://schemas.microsoft.com/office/drawing/2014/main" val="3425404963"/>
                    </a:ext>
                  </a:extLst>
                </a:gridCol>
                <a:gridCol w="1645920">
                  <a:extLst>
                    <a:ext uri="{9D8B030D-6E8A-4147-A177-3AD203B41FA5}">
                      <a16:colId xmlns:a16="http://schemas.microsoft.com/office/drawing/2014/main" val="1494173614"/>
                    </a:ext>
                  </a:extLst>
                </a:gridCol>
                <a:gridCol w="2011680">
                  <a:extLst>
                    <a:ext uri="{9D8B030D-6E8A-4147-A177-3AD203B41FA5}">
                      <a16:colId xmlns:a16="http://schemas.microsoft.com/office/drawing/2014/main" val="3747364226"/>
                    </a:ext>
                  </a:extLst>
                </a:gridCol>
              </a:tblGrid>
              <a:tr h="1097280">
                <a:tc>
                  <a:txBody>
                    <a:bodyPr/>
                    <a:lstStyle/>
                    <a:p>
                      <a:pPr algn="ctr"/>
                      <a:r>
                        <a:rPr lang="en-US" sz="1600" b="1" spc="0" baseline="0">
                          <a:solidFill>
                            <a:schemeClr val="bg1"/>
                          </a:solidFill>
                          <a:latin typeface="Arial Narrow" panose="020B0606020202030204" pitchFamily="34" charset="0"/>
                        </a:rPr>
                        <a:t>ALS</a:t>
                      </a:r>
                    </a:p>
                    <a:p>
                      <a:pPr algn="ctr"/>
                      <a:r>
                        <a:rPr lang="en-US" sz="1600" b="1" spc="0" baseline="0">
                          <a:solidFill>
                            <a:schemeClr val="bg1"/>
                          </a:solidFill>
                          <a:latin typeface="Arial Narrow" panose="020B0606020202030204" pitchFamily="34" charset="0"/>
                        </a:rPr>
                        <a:t>INHIBITORS</a:t>
                      </a:r>
                    </a:p>
                  </a:txBody>
                  <a:tcPr anchor="b">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HOTOSYSTEM II</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EPSP SYNTHASE</a:t>
                      </a:r>
                    </a:p>
                    <a:p>
                      <a:pPr algn="ctr"/>
                      <a:r>
                        <a:rPr lang="en-US" sz="16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HOTOSYSTEM I</a:t>
                      </a:r>
                    </a:p>
                    <a:p>
                      <a:pPr algn="ctr"/>
                      <a:r>
                        <a:rPr lang="en-US" sz="1600" b="1" kern="1200" spc="0" baseline="0">
                          <a:solidFill>
                            <a:schemeClr val="bg1"/>
                          </a:solidFill>
                          <a:latin typeface="Arial Narrow" panose="020B0606020202030204" pitchFamily="34" charset="0"/>
                          <a:ea typeface="+mn-ea"/>
                          <a:cs typeface="+mn-cs"/>
                        </a:rPr>
                        <a:t>ELECTRON DIVERTER</a:t>
                      </a: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034289678"/>
                  </a:ext>
                </a:extLst>
              </a:tr>
              <a:tr h="457200">
                <a:tc gridSpan="4">
                  <a:txBody>
                    <a:bodyPr/>
                    <a:lstStyle/>
                    <a:p>
                      <a:pPr algn="ctr">
                        <a:lnSpc>
                          <a:spcPct val="90000"/>
                        </a:lnSpc>
                      </a:pPr>
                      <a:r>
                        <a:rPr lang="en-US" sz="1800" b="0" kern="1200">
                          <a:solidFill>
                            <a:schemeClr val="tx1"/>
                          </a:solidFill>
                          <a:latin typeface="Arial Narrow" panose="020B0606020202030204" pitchFamily="34" charset="0"/>
                          <a:ea typeface="+mn-ea"/>
                          <a:cs typeface="+mn-cs"/>
                        </a:rPr>
                        <a:t>KNOWN RESISTANCE</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90000"/>
                        </a:lnSpc>
                      </a:pPr>
                      <a:endParaRPr lang="en-US" sz="1800" b="0" kern="1200">
                        <a:solidFill>
                          <a:schemeClr val="tx1"/>
                        </a:solidFill>
                        <a:latin typeface="Arial Narrow" panose="020B0606020202030204" pitchFamily="34" charset="0"/>
                        <a:ea typeface="+mj-ea"/>
                        <a:cs typeface="+mj-cs"/>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40" name="Rectangle 39">
            <a:extLst>
              <a:ext uri="{FF2B5EF4-FFF2-40B4-BE49-F238E27FC236}">
                <a16:creationId xmlns:a16="http://schemas.microsoft.com/office/drawing/2014/main" id="{CBAFEC67-B4A7-4BF0-A196-0D148DF423B9}"/>
              </a:ext>
            </a:extLst>
          </p:cNvPr>
          <p:cNvSpPr/>
          <p:nvPr/>
        </p:nvSpPr>
        <p:spPr>
          <a:xfrm>
            <a:off x="2849880" y="4385706"/>
            <a:ext cx="6492240" cy="155448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Oval 41">
            <a:extLst>
              <a:ext uri="{FF2B5EF4-FFF2-40B4-BE49-F238E27FC236}">
                <a16:creationId xmlns:a16="http://schemas.microsoft.com/office/drawing/2014/main" id="{9E34CDEA-A4C0-4C8E-8AD5-88649C5A4CFA}"/>
              </a:ext>
            </a:extLst>
          </p:cNvPr>
          <p:cNvSpPr/>
          <p:nvPr/>
        </p:nvSpPr>
        <p:spPr>
          <a:xfrm>
            <a:off x="3238851"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sp>
        <p:nvSpPr>
          <p:cNvPr id="43" name="Oval 42">
            <a:extLst>
              <a:ext uri="{FF2B5EF4-FFF2-40B4-BE49-F238E27FC236}">
                <a16:creationId xmlns:a16="http://schemas.microsoft.com/office/drawing/2014/main" id="{A46249A3-E198-4DC6-96B6-6AB01EE86EA7}"/>
              </a:ext>
            </a:extLst>
          </p:cNvPr>
          <p:cNvSpPr/>
          <p:nvPr/>
        </p:nvSpPr>
        <p:spPr>
          <a:xfrm>
            <a:off x="4391241"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5</a:t>
            </a:r>
          </a:p>
        </p:txBody>
      </p:sp>
      <p:sp>
        <p:nvSpPr>
          <p:cNvPr id="44" name="Oval 43">
            <a:extLst>
              <a:ext uri="{FF2B5EF4-FFF2-40B4-BE49-F238E27FC236}">
                <a16:creationId xmlns:a16="http://schemas.microsoft.com/office/drawing/2014/main" id="{4C7E0D12-C823-4221-A0A0-4B4E3910BC2D}"/>
              </a:ext>
            </a:extLst>
          </p:cNvPr>
          <p:cNvSpPr/>
          <p:nvPr/>
        </p:nvSpPr>
        <p:spPr>
          <a:xfrm>
            <a:off x="6294745"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9</a:t>
            </a:r>
          </a:p>
        </p:txBody>
      </p:sp>
      <p:sp>
        <p:nvSpPr>
          <p:cNvPr id="45" name="Oval 44">
            <a:extLst>
              <a:ext uri="{FF2B5EF4-FFF2-40B4-BE49-F238E27FC236}">
                <a16:creationId xmlns:a16="http://schemas.microsoft.com/office/drawing/2014/main" id="{A59D3490-52A7-4C31-8839-235467EB62AE}"/>
              </a:ext>
            </a:extLst>
          </p:cNvPr>
          <p:cNvSpPr/>
          <p:nvPr/>
        </p:nvSpPr>
        <p:spPr>
          <a:xfrm>
            <a:off x="4892901"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7</a:t>
            </a:r>
          </a:p>
        </p:txBody>
      </p:sp>
      <p:sp>
        <p:nvSpPr>
          <p:cNvPr id="46" name="Oval 45">
            <a:extLst>
              <a:ext uri="{FF2B5EF4-FFF2-40B4-BE49-F238E27FC236}">
                <a16:creationId xmlns:a16="http://schemas.microsoft.com/office/drawing/2014/main" id="{B2F8B6C0-F853-4FB7-93E2-131F80175F42}"/>
              </a:ext>
            </a:extLst>
          </p:cNvPr>
          <p:cNvSpPr/>
          <p:nvPr/>
        </p:nvSpPr>
        <p:spPr>
          <a:xfrm>
            <a:off x="8116201"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2</a:t>
            </a:r>
          </a:p>
        </p:txBody>
      </p:sp>
      <p:pic>
        <p:nvPicPr>
          <p:cNvPr id="37" name="Picture 36">
            <a:extLst>
              <a:ext uri="{FF2B5EF4-FFF2-40B4-BE49-F238E27FC236}">
                <a16:creationId xmlns:a16="http://schemas.microsoft.com/office/drawing/2014/main" id="{D2692DF0-67FC-4141-B4CA-C1773A899948}"/>
              </a:ext>
            </a:extLst>
          </p:cNvPr>
          <p:cNvPicPr>
            <a:picLocks noChangeAspect="1"/>
          </p:cNvPicPr>
          <p:nvPr/>
        </p:nvPicPr>
        <p:blipFill>
          <a:blip r:embed="rId4"/>
          <a:stretch>
            <a:fillRect/>
          </a:stretch>
        </p:blipFill>
        <p:spPr>
          <a:xfrm>
            <a:off x="914400" y="6319117"/>
            <a:ext cx="1171575" cy="495300"/>
          </a:xfrm>
          <a:prstGeom prst="rect">
            <a:avLst/>
          </a:prstGeom>
        </p:spPr>
      </p:pic>
      <p:pic>
        <p:nvPicPr>
          <p:cNvPr id="48" name="Picture 47">
            <a:extLst>
              <a:ext uri="{FF2B5EF4-FFF2-40B4-BE49-F238E27FC236}">
                <a16:creationId xmlns:a16="http://schemas.microsoft.com/office/drawing/2014/main" id="{D47B651C-4436-486A-A133-9089FD5D706F}"/>
              </a:ext>
            </a:extLst>
          </p:cNvPr>
          <p:cNvPicPr>
            <a:picLocks noChangeAspect="1"/>
          </p:cNvPicPr>
          <p:nvPr/>
        </p:nvPicPr>
        <p:blipFill>
          <a:blip r:embed="rId5"/>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258889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 calcmode="lin" valueType="num">
                                      <p:cBhvr>
                                        <p:cTn id="11" dur="500" fill="hold"/>
                                        <p:tgtEl>
                                          <p:spTgt spid="39"/>
                                        </p:tgtEl>
                                        <p:attrNameLst>
                                          <p:attrName>ppt_w</p:attrName>
                                        </p:attrNameLst>
                                      </p:cBhvr>
                                      <p:tavLst>
                                        <p:tav tm="0">
                                          <p:val>
                                            <p:fltVal val="0"/>
                                          </p:val>
                                        </p:tav>
                                        <p:tav tm="100000">
                                          <p:val>
                                            <p:strVal val="#ppt_w"/>
                                          </p:val>
                                        </p:tav>
                                      </p:tavLst>
                                    </p:anim>
                                    <p:anim calcmode="lin" valueType="num">
                                      <p:cBhvr>
                                        <p:cTn id="12" dur="500" fill="hold"/>
                                        <p:tgtEl>
                                          <p:spTgt spid="39"/>
                                        </p:tgtEl>
                                        <p:attrNameLst>
                                          <p:attrName>ppt_h</p:attrName>
                                        </p:attrNameLst>
                                      </p:cBhvr>
                                      <p:tavLst>
                                        <p:tav tm="0">
                                          <p:val>
                                            <p:fltVal val="0"/>
                                          </p:val>
                                        </p:tav>
                                        <p:tav tm="100000">
                                          <p:val>
                                            <p:strVal val="#ppt_h"/>
                                          </p:val>
                                        </p:tav>
                                      </p:tavLst>
                                    </p:anim>
                                    <p:animEffect transition="in" filter="fade">
                                      <p:cBhvr>
                                        <p:cTn id="13" dur="500"/>
                                        <p:tgtEl>
                                          <p:spTgt spid="39"/>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 calcmode="lin" valueType="num">
                                      <p:cBhvr>
                                        <p:cTn id="16" dur="500" fill="hold"/>
                                        <p:tgtEl>
                                          <p:spTgt spid="40"/>
                                        </p:tgtEl>
                                        <p:attrNameLst>
                                          <p:attrName>ppt_w</p:attrName>
                                        </p:attrNameLst>
                                      </p:cBhvr>
                                      <p:tavLst>
                                        <p:tav tm="0">
                                          <p:val>
                                            <p:fltVal val="0"/>
                                          </p:val>
                                        </p:tav>
                                        <p:tav tm="100000">
                                          <p:val>
                                            <p:strVal val="#ppt_w"/>
                                          </p:val>
                                        </p:tav>
                                      </p:tavLst>
                                    </p:anim>
                                    <p:anim calcmode="lin" valueType="num">
                                      <p:cBhvr>
                                        <p:cTn id="17" dur="500" fill="hold"/>
                                        <p:tgtEl>
                                          <p:spTgt spid="40"/>
                                        </p:tgtEl>
                                        <p:attrNameLst>
                                          <p:attrName>ppt_h</p:attrName>
                                        </p:attrNameLst>
                                      </p:cBhvr>
                                      <p:tavLst>
                                        <p:tav tm="0">
                                          <p:val>
                                            <p:fltVal val="0"/>
                                          </p:val>
                                        </p:tav>
                                        <p:tav tm="100000">
                                          <p:val>
                                            <p:strVal val="#ppt_h"/>
                                          </p:val>
                                        </p:tav>
                                      </p:tavLst>
                                    </p:anim>
                                    <p:animEffect transition="in" filter="fade">
                                      <p:cBhvr>
                                        <p:cTn id="18" dur="500"/>
                                        <p:tgtEl>
                                          <p:spTgt spid="40"/>
                                        </p:tgtEl>
                                      </p:cBhvr>
                                    </p:animEffect>
                                  </p:childTnLst>
                                </p:cTn>
                              </p:par>
                            </p:childTnLst>
                          </p:cTn>
                        </p:par>
                        <p:par>
                          <p:cTn id="19" fill="hold">
                            <p:stCondLst>
                              <p:cond delay="1000"/>
                            </p:stCondLst>
                            <p:childTnLst>
                              <p:par>
                                <p:cTn id="20" presetID="42" presetClass="entr" presetSubtype="0" fill="hold" grpId="0"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250"/>
                                        <p:tgtEl>
                                          <p:spTgt spid="42"/>
                                        </p:tgtEl>
                                      </p:cBhvr>
                                    </p:animEffect>
                                    <p:anim calcmode="lin" valueType="num">
                                      <p:cBhvr>
                                        <p:cTn id="23" dur="250" fill="hold"/>
                                        <p:tgtEl>
                                          <p:spTgt spid="42"/>
                                        </p:tgtEl>
                                        <p:attrNameLst>
                                          <p:attrName>ppt_x</p:attrName>
                                        </p:attrNameLst>
                                      </p:cBhvr>
                                      <p:tavLst>
                                        <p:tav tm="0">
                                          <p:val>
                                            <p:strVal val="#ppt_x"/>
                                          </p:val>
                                        </p:tav>
                                        <p:tav tm="100000">
                                          <p:val>
                                            <p:strVal val="#ppt_x"/>
                                          </p:val>
                                        </p:tav>
                                      </p:tavLst>
                                    </p:anim>
                                    <p:anim calcmode="lin" valueType="num">
                                      <p:cBhvr>
                                        <p:cTn id="24" dur="250" fill="hold"/>
                                        <p:tgtEl>
                                          <p:spTgt spid="42"/>
                                        </p:tgtEl>
                                        <p:attrNameLst>
                                          <p:attrName>ppt_y</p:attrName>
                                        </p:attrNameLst>
                                      </p:cBhvr>
                                      <p:tavLst>
                                        <p:tav tm="0">
                                          <p:val>
                                            <p:strVal val="#ppt_y+.1"/>
                                          </p:val>
                                        </p:tav>
                                        <p:tav tm="100000">
                                          <p:val>
                                            <p:strVal val="#ppt_y"/>
                                          </p:val>
                                        </p:tav>
                                      </p:tavLst>
                                    </p:anim>
                                  </p:childTnLst>
                                </p:cTn>
                              </p:par>
                            </p:childTnLst>
                          </p:cTn>
                        </p:par>
                        <p:par>
                          <p:cTn id="25" fill="hold">
                            <p:stCondLst>
                              <p:cond delay="1250"/>
                            </p:stCondLst>
                            <p:childTnLst>
                              <p:par>
                                <p:cTn id="26" presetID="42" presetClass="entr" presetSubtype="0" fill="hold" grpId="0" nodeType="after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250"/>
                                        <p:tgtEl>
                                          <p:spTgt spid="43"/>
                                        </p:tgtEl>
                                      </p:cBhvr>
                                    </p:animEffect>
                                    <p:anim calcmode="lin" valueType="num">
                                      <p:cBhvr>
                                        <p:cTn id="29" dur="250" fill="hold"/>
                                        <p:tgtEl>
                                          <p:spTgt spid="43"/>
                                        </p:tgtEl>
                                        <p:attrNameLst>
                                          <p:attrName>ppt_x</p:attrName>
                                        </p:attrNameLst>
                                      </p:cBhvr>
                                      <p:tavLst>
                                        <p:tav tm="0">
                                          <p:val>
                                            <p:strVal val="#ppt_x"/>
                                          </p:val>
                                        </p:tav>
                                        <p:tav tm="100000">
                                          <p:val>
                                            <p:strVal val="#ppt_x"/>
                                          </p:val>
                                        </p:tav>
                                      </p:tavLst>
                                    </p:anim>
                                    <p:anim calcmode="lin" valueType="num">
                                      <p:cBhvr>
                                        <p:cTn id="30" dur="250" fill="hold"/>
                                        <p:tgtEl>
                                          <p:spTgt spid="43"/>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42" presetClass="entr" presetSubtype="0" fill="hold" grpId="0"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250"/>
                                        <p:tgtEl>
                                          <p:spTgt spid="45"/>
                                        </p:tgtEl>
                                      </p:cBhvr>
                                    </p:animEffect>
                                    <p:anim calcmode="lin" valueType="num">
                                      <p:cBhvr>
                                        <p:cTn id="35" dur="250" fill="hold"/>
                                        <p:tgtEl>
                                          <p:spTgt spid="45"/>
                                        </p:tgtEl>
                                        <p:attrNameLst>
                                          <p:attrName>ppt_x</p:attrName>
                                        </p:attrNameLst>
                                      </p:cBhvr>
                                      <p:tavLst>
                                        <p:tav tm="0">
                                          <p:val>
                                            <p:strVal val="#ppt_x"/>
                                          </p:val>
                                        </p:tav>
                                        <p:tav tm="100000">
                                          <p:val>
                                            <p:strVal val="#ppt_x"/>
                                          </p:val>
                                        </p:tav>
                                      </p:tavLst>
                                    </p:anim>
                                    <p:anim calcmode="lin" valueType="num">
                                      <p:cBhvr>
                                        <p:cTn id="36" dur="250" fill="hold"/>
                                        <p:tgtEl>
                                          <p:spTgt spid="45"/>
                                        </p:tgtEl>
                                        <p:attrNameLst>
                                          <p:attrName>ppt_y</p:attrName>
                                        </p:attrNameLst>
                                      </p:cBhvr>
                                      <p:tavLst>
                                        <p:tav tm="0">
                                          <p:val>
                                            <p:strVal val="#ppt_y+.1"/>
                                          </p:val>
                                        </p:tav>
                                        <p:tav tm="100000">
                                          <p:val>
                                            <p:strVal val="#ppt_y"/>
                                          </p:val>
                                        </p:tav>
                                      </p:tavLst>
                                    </p:anim>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250"/>
                                        <p:tgtEl>
                                          <p:spTgt spid="44"/>
                                        </p:tgtEl>
                                      </p:cBhvr>
                                    </p:animEffect>
                                    <p:anim calcmode="lin" valueType="num">
                                      <p:cBhvr>
                                        <p:cTn id="41" dur="250" fill="hold"/>
                                        <p:tgtEl>
                                          <p:spTgt spid="44"/>
                                        </p:tgtEl>
                                        <p:attrNameLst>
                                          <p:attrName>ppt_x</p:attrName>
                                        </p:attrNameLst>
                                      </p:cBhvr>
                                      <p:tavLst>
                                        <p:tav tm="0">
                                          <p:val>
                                            <p:strVal val="#ppt_x"/>
                                          </p:val>
                                        </p:tav>
                                        <p:tav tm="100000">
                                          <p:val>
                                            <p:strVal val="#ppt_x"/>
                                          </p:val>
                                        </p:tav>
                                      </p:tavLst>
                                    </p:anim>
                                    <p:anim calcmode="lin" valueType="num">
                                      <p:cBhvr>
                                        <p:cTn id="42" dur="250" fill="hold"/>
                                        <p:tgtEl>
                                          <p:spTgt spid="44"/>
                                        </p:tgtEl>
                                        <p:attrNameLst>
                                          <p:attrName>ppt_y</p:attrName>
                                        </p:attrNameLst>
                                      </p:cBhvr>
                                      <p:tavLst>
                                        <p:tav tm="0">
                                          <p:val>
                                            <p:strVal val="#ppt_y+.1"/>
                                          </p:val>
                                        </p:tav>
                                        <p:tav tm="100000">
                                          <p:val>
                                            <p:strVal val="#ppt_y"/>
                                          </p:val>
                                        </p:tav>
                                      </p:tavLst>
                                    </p:anim>
                                  </p:childTnLst>
                                </p:cTn>
                              </p:par>
                            </p:childTnLst>
                          </p:cTn>
                        </p:par>
                        <p:par>
                          <p:cTn id="43" fill="hold">
                            <p:stCondLst>
                              <p:cond delay="2000"/>
                            </p:stCondLst>
                            <p:childTnLst>
                              <p:par>
                                <p:cTn id="44" presetID="42" presetClass="entr" presetSubtype="0" fill="hold" grpId="0" nodeType="afterEffect">
                                  <p:stCondLst>
                                    <p:cond delay="0"/>
                                  </p:stCondLst>
                                  <p:childTnLst>
                                    <p:set>
                                      <p:cBhvr>
                                        <p:cTn id="45" dur="1" fill="hold">
                                          <p:stCondLst>
                                            <p:cond delay="0"/>
                                          </p:stCondLst>
                                        </p:cTn>
                                        <p:tgtEl>
                                          <p:spTgt spid="46"/>
                                        </p:tgtEl>
                                        <p:attrNameLst>
                                          <p:attrName>style.visibility</p:attrName>
                                        </p:attrNameLst>
                                      </p:cBhvr>
                                      <p:to>
                                        <p:strVal val="visible"/>
                                      </p:to>
                                    </p:set>
                                    <p:animEffect transition="in" filter="fade">
                                      <p:cBhvr>
                                        <p:cTn id="46" dur="250"/>
                                        <p:tgtEl>
                                          <p:spTgt spid="46"/>
                                        </p:tgtEl>
                                      </p:cBhvr>
                                    </p:animEffect>
                                    <p:anim calcmode="lin" valueType="num">
                                      <p:cBhvr>
                                        <p:cTn id="47" dur="250" fill="hold"/>
                                        <p:tgtEl>
                                          <p:spTgt spid="46"/>
                                        </p:tgtEl>
                                        <p:attrNameLst>
                                          <p:attrName>ppt_x</p:attrName>
                                        </p:attrNameLst>
                                      </p:cBhvr>
                                      <p:tavLst>
                                        <p:tav tm="0">
                                          <p:val>
                                            <p:strVal val="#ppt_x"/>
                                          </p:val>
                                        </p:tav>
                                        <p:tav tm="100000">
                                          <p:val>
                                            <p:strVal val="#ppt_x"/>
                                          </p:val>
                                        </p:tav>
                                      </p:tavLst>
                                    </p:anim>
                                    <p:anim calcmode="lin" valueType="num">
                                      <p:cBhvr>
                                        <p:cTn id="48" dur="25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P spid="42" grpId="0" animBg="1"/>
      <p:bldP spid="43" grpId="0" animBg="1"/>
      <p:bldP spid="44" grpId="0" animBg="1"/>
      <p:bldP spid="45" grpId="0" animBg="1"/>
      <p:bldP spid="46" grpId="0" animBg="1"/>
    </p:bldLst>
  </p:timing>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CC9FE3E4-F3BE-4E85-B18E-564E16AA78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8200" y="5779918"/>
            <a:ext cx="1111659" cy="512064"/>
          </a:xfrm>
          <a:prstGeom prst="rect">
            <a:avLst/>
          </a:prstGeom>
        </p:spPr>
      </p:pic>
      <p:pic>
        <p:nvPicPr>
          <p:cNvPr id="39" name="Picture 38">
            <a:extLst>
              <a:ext uri="{FF2B5EF4-FFF2-40B4-BE49-F238E27FC236}">
                <a16:creationId xmlns:a16="http://schemas.microsoft.com/office/drawing/2014/main" id="{55F61CB9-5DFA-4D8A-89F7-D5F33F4205C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210571" y="1141155"/>
            <a:ext cx="3141233" cy="2807745"/>
          </a:xfrm>
          <a:prstGeom prst="rect">
            <a:avLst/>
          </a:prstGeom>
        </p:spPr>
      </p:pic>
      <p:sp>
        <p:nvSpPr>
          <p:cNvPr id="6" name="Footer Placeholder 5">
            <a:extLst>
              <a:ext uri="{FF2B5EF4-FFF2-40B4-BE49-F238E27FC236}">
                <a16:creationId xmlns:a16="http://schemas.microsoft.com/office/drawing/2014/main" id="{E1D3A87B-B994-4379-9AFE-7C6D0B965469}"/>
              </a:ext>
            </a:extLst>
          </p:cNvPr>
          <p:cNvSpPr>
            <a:spLocks noGrp="1"/>
          </p:cNvSpPr>
          <p:nvPr>
            <p:ph type="ftr" sz="quarter" idx="10"/>
          </p:nvPr>
        </p:nvSpPr>
        <p:spPr/>
        <p:txBody>
          <a:bodyPr/>
          <a:lstStyle/>
          <a:p>
            <a:pPr lvl="0"/>
            <a:r>
              <a:rPr lang="en-US" noProof="0"/>
              <a:t>These training materials are designed to satisfy federal training requirements. Please check with your state pesticide regulatory agency for additional training and application requirements imposed by your state. V1-11/20</a:t>
            </a:r>
          </a:p>
        </p:txBody>
      </p:sp>
      <p:sp>
        <p:nvSpPr>
          <p:cNvPr id="7" name="Slide Number Placeholder 6">
            <a:extLst>
              <a:ext uri="{FF2B5EF4-FFF2-40B4-BE49-F238E27FC236}">
                <a16:creationId xmlns:a16="http://schemas.microsoft.com/office/drawing/2014/main" id="{1664A3F4-F702-4E48-ADB1-C36FC859912D}"/>
              </a:ext>
            </a:extLst>
          </p:cNvPr>
          <p:cNvSpPr>
            <a:spLocks noGrp="1"/>
          </p:cNvSpPr>
          <p:nvPr>
            <p:ph type="sldNum" sz="quarter" idx="11"/>
          </p:nvPr>
        </p:nvSpPr>
        <p:spPr/>
        <p:txBody>
          <a:bodyPr/>
          <a:lstStyle/>
          <a:p>
            <a:pPr lvl="0"/>
            <a:fld id="{5A1C2420-D500-4FDF-A245-39DCF46675EA}" type="slidenum">
              <a:rPr lang="en-US" noProof="0" smtClean="0"/>
              <a:pPr lvl="0"/>
              <a:t>92</a:t>
            </a:fld>
            <a:endParaRPr lang="en-US" noProof="0"/>
          </a:p>
        </p:txBody>
      </p:sp>
      <p:sp>
        <p:nvSpPr>
          <p:cNvPr id="2" name="Title 1">
            <a:extLst>
              <a:ext uri="{FF2B5EF4-FFF2-40B4-BE49-F238E27FC236}">
                <a16:creationId xmlns:a16="http://schemas.microsoft.com/office/drawing/2014/main" id="{6E7C41BD-FFFC-410C-AD34-CF0CEA5832FA}"/>
              </a:ext>
            </a:extLst>
          </p:cNvPr>
          <p:cNvSpPr>
            <a:spLocks noGrp="1"/>
          </p:cNvSpPr>
          <p:nvPr>
            <p:ph type="title"/>
          </p:nvPr>
        </p:nvSpPr>
        <p:spPr/>
        <p:txBody>
          <a:bodyPr/>
          <a:lstStyle/>
          <a:p>
            <a:r>
              <a:rPr lang="en-US"/>
              <a:t>Weed Examples</a:t>
            </a:r>
          </a:p>
        </p:txBody>
      </p:sp>
      <p:graphicFrame>
        <p:nvGraphicFramePr>
          <p:cNvPr id="214" name="Table 213">
            <a:extLst>
              <a:ext uri="{FF2B5EF4-FFF2-40B4-BE49-F238E27FC236}">
                <a16:creationId xmlns:a16="http://schemas.microsoft.com/office/drawing/2014/main" id="{CC182EC8-34C3-42CB-B2CD-193BF62887D0}"/>
              </a:ext>
            </a:extLst>
          </p:cNvPr>
          <p:cNvGraphicFramePr>
            <a:graphicFrameLocks noGrp="1"/>
          </p:cNvGraphicFramePr>
          <p:nvPr/>
        </p:nvGraphicFramePr>
        <p:xfrm>
          <a:off x="0" y="4715163"/>
          <a:ext cx="12199350" cy="1051560"/>
        </p:xfrm>
        <a:graphic>
          <a:graphicData uri="http://schemas.openxmlformats.org/drawingml/2006/table">
            <a:tbl>
              <a:tblPr firstCol="1" bandRow="1">
                <a:tableStyleId>{5C22544A-7EE6-4342-B048-85BDC9FD1C3A}</a:tableStyleId>
              </a:tblPr>
              <a:tblGrid>
                <a:gridCol w="868680">
                  <a:extLst>
                    <a:ext uri="{9D8B030D-6E8A-4147-A177-3AD203B41FA5}">
                      <a16:colId xmlns:a16="http://schemas.microsoft.com/office/drawing/2014/main" val="2286531471"/>
                    </a:ext>
                  </a:extLst>
                </a:gridCol>
                <a:gridCol w="731520">
                  <a:extLst>
                    <a:ext uri="{9D8B030D-6E8A-4147-A177-3AD203B41FA5}">
                      <a16:colId xmlns:a16="http://schemas.microsoft.com/office/drawing/2014/main" val="859317391"/>
                    </a:ext>
                  </a:extLst>
                </a:gridCol>
                <a:gridCol w="731520">
                  <a:extLst>
                    <a:ext uri="{9D8B030D-6E8A-4147-A177-3AD203B41FA5}">
                      <a16:colId xmlns:a16="http://schemas.microsoft.com/office/drawing/2014/main" val="1499567133"/>
                    </a:ext>
                  </a:extLst>
                </a:gridCol>
                <a:gridCol w="877824">
                  <a:extLst>
                    <a:ext uri="{9D8B030D-6E8A-4147-A177-3AD203B41FA5}">
                      <a16:colId xmlns:a16="http://schemas.microsoft.com/office/drawing/2014/main" val="3425404963"/>
                    </a:ext>
                  </a:extLst>
                </a:gridCol>
                <a:gridCol w="738553">
                  <a:extLst>
                    <a:ext uri="{9D8B030D-6E8A-4147-A177-3AD203B41FA5}">
                      <a16:colId xmlns:a16="http://schemas.microsoft.com/office/drawing/2014/main" val="764172400"/>
                    </a:ext>
                  </a:extLst>
                </a:gridCol>
                <a:gridCol w="1106424">
                  <a:extLst>
                    <a:ext uri="{9D8B030D-6E8A-4147-A177-3AD203B41FA5}">
                      <a16:colId xmlns:a16="http://schemas.microsoft.com/office/drawing/2014/main" val="4081262955"/>
                    </a:ext>
                  </a:extLst>
                </a:gridCol>
                <a:gridCol w="978408">
                  <a:extLst>
                    <a:ext uri="{9D8B030D-6E8A-4147-A177-3AD203B41FA5}">
                      <a16:colId xmlns:a16="http://schemas.microsoft.com/office/drawing/2014/main" val="894326951"/>
                    </a:ext>
                  </a:extLst>
                </a:gridCol>
                <a:gridCol w="990917">
                  <a:extLst>
                    <a:ext uri="{9D8B030D-6E8A-4147-A177-3AD203B41FA5}">
                      <a16:colId xmlns:a16="http://schemas.microsoft.com/office/drawing/2014/main" val="2258004565"/>
                    </a:ext>
                  </a:extLst>
                </a:gridCol>
                <a:gridCol w="822960">
                  <a:extLst>
                    <a:ext uri="{9D8B030D-6E8A-4147-A177-3AD203B41FA5}">
                      <a16:colId xmlns:a16="http://schemas.microsoft.com/office/drawing/2014/main" val="1296239282"/>
                    </a:ext>
                  </a:extLst>
                </a:gridCol>
                <a:gridCol w="886968">
                  <a:extLst>
                    <a:ext uri="{9D8B030D-6E8A-4147-A177-3AD203B41FA5}">
                      <a16:colId xmlns:a16="http://schemas.microsoft.com/office/drawing/2014/main" val="2886766434"/>
                    </a:ext>
                  </a:extLst>
                </a:gridCol>
                <a:gridCol w="731520">
                  <a:extLst>
                    <a:ext uri="{9D8B030D-6E8A-4147-A177-3AD203B41FA5}">
                      <a16:colId xmlns:a16="http://schemas.microsoft.com/office/drawing/2014/main" val="2103153167"/>
                    </a:ext>
                  </a:extLst>
                </a:gridCol>
                <a:gridCol w="1005840">
                  <a:extLst>
                    <a:ext uri="{9D8B030D-6E8A-4147-A177-3AD203B41FA5}">
                      <a16:colId xmlns:a16="http://schemas.microsoft.com/office/drawing/2014/main" val="1494173614"/>
                    </a:ext>
                  </a:extLst>
                </a:gridCol>
                <a:gridCol w="950976">
                  <a:extLst>
                    <a:ext uri="{9D8B030D-6E8A-4147-A177-3AD203B41FA5}">
                      <a16:colId xmlns:a16="http://schemas.microsoft.com/office/drawing/2014/main" val="303720624"/>
                    </a:ext>
                  </a:extLst>
                </a:gridCol>
                <a:gridCol w="777240">
                  <a:extLst>
                    <a:ext uri="{9D8B030D-6E8A-4147-A177-3AD203B41FA5}">
                      <a16:colId xmlns:a16="http://schemas.microsoft.com/office/drawing/2014/main" val="490070077"/>
                    </a:ext>
                  </a:extLst>
                </a:gridCol>
              </a:tblGrid>
              <a:tr h="594360">
                <a:tc>
                  <a:txBody>
                    <a:bodyPr/>
                    <a:lstStyle/>
                    <a:p>
                      <a:r>
                        <a:rPr lang="en-US" sz="1000" b="0" spc="0" baseline="0">
                          <a:solidFill>
                            <a:schemeClr val="bg1"/>
                          </a:solidFill>
                          <a:latin typeface="+mj-lt"/>
                        </a:rPr>
                        <a:t>SITE OF</a:t>
                      </a:r>
                    </a:p>
                    <a:p>
                      <a:r>
                        <a:rPr lang="en-US" sz="1000" b="0" spc="0" baseline="0">
                          <a:solidFill>
                            <a:schemeClr val="bg1"/>
                          </a:solidFill>
                          <a:latin typeface="+mj-lt"/>
                        </a:rPr>
                        <a:t>ACTION</a:t>
                      </a:r>
                    </a:p>
                  </a:txBody>
                  <a:tcPr anchor="ctr">
                    <a:lnL w="12700" cmpd="sng">
                      <a:noFill/>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spc="0" baseline="0">
                          <a:solidFill>
                            <a:schemeClr val="bg1"/>
                          </a:solidFill>
                          <a:latin typeface="Arial Narrow" panose="020B0606020202030204" pitchFamily="34" charset="0"/>
                        </a:rPr>
                        <a:t>ACCASE</a:t>
                      </a:r>
                    </a:p>
                    <a:p>
                      <a:pPr algn="ctr"/>
                      <a:r>
                        <a:rPr lang="en-US" sz="900" b="1" spc="0" baseline="0">
                          <a:solidFill>
                            <a:schemeClr val="bg1"/>
                          </a:solidFill>
                          <a:latin typeface="Arial Narrow" panose="020B0606020202030204" pitchFamily="34" charset="0"/>
                        </a:rPr>
                        <a:t>INHIBITORS</a:t>
                      </a:r>
                    </a:p>
                  </a:txBody>
                  <a:tcPr anchor="b">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ALS</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MICROTUBULE</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SYNTHETIC</a:t>
                      </a:r>
                    </a:p>
                    <a:p>
                      <a:pPr algn="ctr"/>
                      <a:r>
                        <a:rPr lang="en-US" sz="900" b="1" kern="1200" spc="0" baseline="0">
                          <a:solidFill>
                            <a:schemeClr val="bg1"/>
                          </a:solidFill>
                          <a:latin typeface="Arial Narrow" panose="020B0606020202030204" pitchFamily="34" charset="0"/>
                          <a:ea typeface="+mn-ea"/>
                          <a:cs typeface="+mn-cs"/>
                        </a:rPr>
                        <a:t>AUXIN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I</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IPID SYNTHESIS</a:t>
                      </a:r>
                    </a:p>
                    <a:p>
                      <a:pPr algn="ctr"/>
                      <a:r>
                        <a:rPr lang="en-US" sz="900" b="1" kern="1200" spc="0" baseline="0">
                          <a:solidFill>
                            <a:schemeClr val="bg1"/>
                          </a:solidFill>
                          <a:latin typeface="Arial Narrow" panose="020B0606020202030204" pitchFamily="34" charset="0"/>
                          <a:ea typeface="+mn-ea"/>
                          <a:cs typeface="+mn-cs"/>
                        </a:rPr>
                        <a:t>INHIBITOR </a:t>
                      </a:r>
                      <a:br>
                        <a:rPr lang="en-US" sz="900" b="1" kern="1200" spc="0" baseline="0">
                          <a:solidFill>
                            <a:schemeClr val="bg1"/>
                          </a:solidFill>
                          <a:latin typeface="Arial Narrow" panose="020B0606020202030204" pitchFamily="34" charset="0"/>
                          <a:ea typeface="+mn-ea"/>
                          <a:cs typeface="+mn-cs"/>
                        </a:rPr>
                      </a:br>
                      <a:r>
                        <a:rPr lang="en-US" sz="900" b="0" kern="1200" spc="0" baseline="0">
                          <a:solidFill>
                            <a:schemeClr val="bg1"/>
                          </a:solidFill>
                          <a:latin typeface="Arial Narrow" panose="020B0606020202030204" pitchFamily="34" charset="0"/>
                          <a:ea typeface="+mn-ea"/>
                          <a:cs typeface="+mn-cs"/>
                        </a:rPr>
                        <a:t>(not </a:t>
                      </a:r>
                      <a:r>
                        <a:rPr lang="en-US" sz="900" b="0" kern="1200" spc="0" baseline="0" err="1">
                          <a:solidFill>
                            <a:schemeClr val="bg1"/>
                          </a:solidFill>
                          <a:latin typeface="Arial Narrow" panose="020B0606020202030204" pitchFamily="34" charset="0"/>
                          <a:ea typeface="+mn-ea"/>
                          <a:cs typeface="+mn-cs"/>
                        </a:rPr>
                        <a:t>ACCase</a:t>
                      </a:r>
                      <a:r>
                        <a:rPr lang="en-US" sz="900" b="0" kern="1200" spc="0" baseline="0">
                          <a:solidFill>
                            <a:schemeClr val="bg1"/>
                          </a:solidFill>
                          <a:latin typeface="Arial Narrow" panose="020B0606020202030204" pitchFamily="34" charset="0"/>
                          <a:ea typeface="+mn-ea"/>
                          <a:cs typeface="+mn-cs"/>
                        </a:rPr>
                        <a: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EPSP SYNTH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GLUTAMINE SYNTHETASE</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DITERPENE</a:t>
                      </a:r>
                    </a:p>
                    <a:p>
                      <a:pPr algn="ctr"/>
                      <a:r>
                        <a:rPr lang="en-US" sz="900" b="1" kern="1200" spc="0" baseline="0">
                          <a:solidFill>
                            <a:schemeClr val="bg1"/>
                          </a:solidFill>
                          <a:latin typeface="Arial Narrow" panose="020B0606020202030204" pitchFamily="34" charset="0"/>
                          <a:ea typeface="+mn-ea"/>
                          <a:cs typeface="+mn-cs"/>
                        </a:rPr>
                        <a:t>BIOSYNTHESIS</a:t>
                      </a:r>
                    </a:p>
                    <a:p>
                      <a:pPr algn="ctr"/>
                      <a:r>
                        <a:rPr lang="en-US" sz="9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PO</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LONG-CHAIN FATTY</a:t>
                      </a:r>
                    </a:p>
                    <a:p>
                      <a:pPr algn="ctr"/>
                      <a:r>
                        <a:rPr lang="en-US" sz="900" b="1" kern="1200" spc="0" baseline="0">
                          <a:solidFill>
                            <a:schemeClr val="bg1"/>
                          </a:solidFill>
                          <a:latin typeface="Arial Narrow" panose="020B0606020202030204" pitchFamily="34" charset="0"/>
                          <a:ea typeface="+mn-ea"/>
                          <a:cs typeface="+mn-cs"/>
                        </a:rPr>
                        <a:t>ACID 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PHOTOSYSTEM I</a:t>
                      </a:r>
                    </a:p>
                    <a:p>
                      <a:pPr algn="ctr"/>
                      <a:r>
                        <a:rPr lang="en-US" sz="900" b="1" kern="1200" spc="0" baseline="0">
                          <a:solidFill>
                            <a:schemeClr val="bg1"/>
                          </a:solidFill>
                          <a:latin typeface="Arial Narrow" panose="020B0606020202030204" pitchFamily="34" charset="0"/>
                          <a:ea typeface="+mn-ea"/>
                          <a:cs typeface="+mn-cs"/>
                        </a:rPr>
                        <a:t>ELECTRON DIVERTE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900" b="1" kern="1200" spc="0" baseline="0">
                          <a:solidFill>
                            <a:schemeClr val="bg1"/>
                          </a:solidFill>
                          <a:latin typeface="Arial Narrow" panose="020B0606020202030204" pitchFamily="34" charset="0"/>
                          <a:ea typeface="+mn-ea"/>
                          <a:cs typeface="+mn-cs"/>
                        </a:rPr>
                        <a:t>HPPD</a:t>
                      </a:r>
                    </a:p>
                    <a:p>
                      <a:pPr algn="ctr"/>
                      <a:r>
                        <a:rPr lang="en-US" sz="9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034289678"/>
                  </a:ext>
                </a:extLst>
              </a:tr>
              <a:tr h="0">
                <a:tc>
                  <a:txBody>
                    <a:bodyPr/>
                    <a:lstStyle/>
                    <a:p>
                      <a:r>
                        <a:rPr lang="en-US" sz="900" b="0" spc="0" baseline="0">
                          <a:solidFill>
                            <a:schemeClr val="tx1"/>
                          </a:solidFill>
                          <a:latin typeface="Arial Narrow" panose="020B0606020202030204" pitchFamily="34" charset="0"/>
                        </a:rPr>
                        <a:t>PRODUCT</a:t>
                      </a:r>
                    </a:p>
                    <a:p>
                      <a:r>
                        <a:rPr lang="en-US" sz="900" b="0" spc="0" baseline="0">
                          <a:solidFill>
                            <a:schemeClr val="tx1"/>
                          </a:solidFill>
                          <a:latin typeface="Arial Narrow" panose="020B0606020202030204" pitchFamily="34" charset="0"/>
                        </a:rPr>
                        <a:t>EXAMPLES</a:t>
                      </a:r>
                    </a:p>
                    <a:p>
                      <a:r>
                        <a:rPr lang="en-US" sz="600" b="0" spc="0" baseline="0">
                          <a:solidFill>
                            <a:schemeClr val="tx1"/>
                          </a:solidFill>
                          <a:latin typeface="Arial Narrow" panose="020B0606020202030204" pitchFamily="34" charset="0"/>
                        </a:rPr>
                        <a:t>(Trade Name</a:t>
                      </a:r>
                      <a:r>
                        <a:rPr lang="en-US" sz="600" b="0" strike="noStrike" spc="0" baseline="30000">
                          <a:solidFill>
                            <a:schemeClr val="tx1"/>
                          </a:solidFill>
                          <a:latin typeface="Arial Narrow" panose="020B0606020202030204" pitchFamily="34" charset="0"/>
                        </a:rPr>
                        <a:t>®</a:t>
                      </a:r>
                      <a:r>
                        <a:rPr lang="en-US" sz="600" b="0" spc="0" baseline="0">
                          <a:solidFill>
                            <a:schemeClr val="tx1"/>
                          </a:solidFill>
                          <a:latin typeface="Arial Narrow" panose="020B0606020202030204" pitchFamily="34" charset="0"/>
                        </a:rPr>
                        <a:t>)</a:t>
                      </a:r>
                      <a:endParaRPr lang="en-US" sz="700" b="0" spc="0" baseline="0">
                        <a:solidFill>
                          <a:schemeClr val="tx1"/>
                        </a:solidFill>
                        <a:latin typeface="Arial Narrow" panose="020B0606020202030204" pitchFamily="34" charset="0"/>
                      </a:endParaRPr>
                    </a:p>
                  </a:txBody>
                  <a:tcPr anchor="ctr">
                    <a:lnL w="12700" cmpd="sng">
                      <a:noFill/>
                    </a:lnL>
                    <a:lnR w="381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ssure II,</a:t>
                      </a:r>
                    </a:p>
                    <a:p>
                      <a:pPr algn="ctr"/>
                      <a:r>
                        <a:rPr lang="en-US" sz="800" b="0" spc="0" baseline="0">
                          <a:solidFill>
                            <a:schemeClr val="tx1"/>
                          </a:solidFill>
                          <a:latin typeface="+mn-lt"/>
                        </a:rPr>
                        <a:t>Select Max</a:t>
                      </a:r>
                    </a:p>
                  </a:txBody>
                  <a:tcPr anchor="ctr">
                    <a:lnL w="38100" cap="flat" cmpd="sng" algn="ctr">
                      <a:solidFill>
                        <a:schemeClr val="tx1"/>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lassic,</a:t>
                      </a:r>
                    </a:p>
                    <a:p>
                      <a:pPr algn="ctr"/>
                      <a:r>
                        <a:rPr lang="en-US" sz="800" b="0" spc="0" baseline="0">
                          <a:solidFill>
                            <a:schemeClr val="tx1"/>
                          </a:solidFill>
                          <a:latin typeface="+mn-lt"/>
                        </a:rPr>
                        <a:t>Pursui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Prowl H</a:t>
                      </a:r>
                      <a:r>
                        <a:rPr lang="en-US" sz="800" b="0" spc="0" baseline="-25000">
                          <a:solidFill>
                            <a:schemeClr val="tx1"/>
                          </a:solidFill>
                          <a:latin typeface="+mn-lt"/>
                        </a:rPr>
                        <a:t>2</a:t>
                      </a:r>
                      <a:r>
                        <a:rPr lang="en-US" sz="800" b="0" spc="0" baseline="0">
                          <a:solidFill>
                            <a:schemeClr val="tx1"/>
                          </a:solidFill>
                          <a:latin typeface="+mn-lt"/>
                        </a:rPr>
                        <a:t>O,</a:t>
                      </a:r>
                    </a:p>
                    <a:p>
                      <a:pPr algn="ctr"/>
                      <a:r>
                        <a:rPr lang="en-US" sz="800" b="0" spc="0" baseline="0" err="1">
                          <a:solidFill>
                            <a:schemeClr val="tx1"/>
                          </a:solidFill>
                          <a:latin typeface="+mn-lt"/>
                        </a:rPr>
                        <a:t>Treflan</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2,4-D, Clarity</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quinclorac</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atrazine, metribuzin,</a:t>
                      </a:r>
                    </a:p>
                    <a:p>
                      <a:pPr algn="ctr"/>
                      <a:r>
                        <a:rPr lang="en-US" sz="800" b="0" spc="0" baseline="0" err="1">
                          <a:solidFill>
                            <a:schemeClr val="tx1"/>
                          </a:solidFill>
                          <a:latin typeface="+mn-lt"/>
                        </a:rPr>
                        <a:t>Basagran</a:t>
                      </a:r>
                      <a:r>
                        <a:rPr lang="en-US" sz="800" b="0" spc="0" baseline="0">
                          <a:solidFill>
                            <a:schemeClr val="tx1"/>
                          </a:solidFill>
                          <a:latin typeface="+mn-lt"/>
                        </a:rPr>
                        <a:t>, </a:t>
                      </a:r>
                      <a:r>
                        <a:rPr lang="en-US" sz="800" b="0" spc="0" baseline="0" err="1">
                          <a:solidFill>
                            <a:schemeClr val="tx1"/>
                          </a:solidFill>
                          <a:latin typeface="+mn-lt"/>
                        </a:rPr>
                        <a:t>Linex</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Far-Go</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Roundup,</a:t>
                      </a:r>
                    </a:p>
                    <a:p>
                      <a:pPr algn="ctr"/>
                      <a:r>
                        <a:rPr lang="en-US" sz="800" b="0" spc="0" baseline="0">
                          <a:solidFill>
                            <a:schemeClr val="tx1"/>
                          </a:solidFill>
                          <a:latin typeface="+mn-lt"/>
                        </a:rPr>
                        <a:t>(glyphosate)</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Liberty</a:t>
                      </a:r>
                      <a:r>
                        <a:rPr lang="en-US" sz="800" b="0" spc="0" baseline="30000">
                          <a:solidFill>
                            <a:schemeClr val="tx1"/>
                          </a:solidFill>
                          <a:latin typeface="+mn-lt"/>
                        </a:rPr>
                        <a:t>®</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Command</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Flexstar</a:t>
                      </a:r>
                      <a:r>
                        <a:rPr lang="en-US" sz="800" b="0" spc="0" baseline="0">
                          <a:solidFill>
                            <a:schemeClr val="tx1"/>
                          </a:solidFill>
                          <a:latin typeface="+mn-lt"/>
                        </a:rPr>
                        <a:t>,</a:t>
                      </a:r>
                    </a:p>
                    <a:p>
                      <a:pPr algn="ctr"/>
                      <a:r>
                        <a:rPr lang="en-US" sz="800" b="0" spc="0" baseline="0">
                          <a:solidFill>
                            <a:schemeClr val="tx1"/>
                          </a:solidFill>
                          <a:latin typeface="+mn-lt"/>
                        </a:rPr>
                        <a:t>Cobra</a:t>
                      </a:r>
                      <a:r>
                        <a:rPr lang="en-US" sz="800" b="0" spc="0" baseline="30000">
                          <a:solidFill>
                            <a:schemeClr val="tx1"/>
                          </a:solidFill>
                          <a:latin typeface="+mn-lt"/>
                        </a:rPr>
                        <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a:solidFill>
                            <a:schemeClr val="tx1"/>
                          </a:solidFill>
                          <a:latin typeface="+mn-lt"/>
                        </a:rPr>
                        <a:t>Dual, Harness</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Gramoxone</a:t>
                      </a:r>
                      <a:r>
                        <a:rPr lang="en-US" sz="800" b="0" spc="0" baseline="30000">
                          <a:solidFill>
                            <a:schemeClr val="tx1"/>
                          </a:solidFill>
                          <a:latin typeface="+mn-lt"/>
                        </a:rPr>
                        <a:t>®</a:t>
                      </a:r>
                      <a:r>
                        <a:rPr lang="en-US" sz="800" b="0" spc="0" baseline="0">
                          <a:solidFill>
                            <a:schemeClr val="tx1"/>
                          </a:solidFill>
                          <a:latin typeface="+mn-lt"/>
                        </a:rPr>
                        <a:t>,</a:t>
                      </a:r>
                    </a:p>
                    <a:p>
                      <a:pPr algn="ctr"/>
                      <a:r>
                        <a:rPr lang="en-US" sz="800" b="0" spc="0" baseline="0">
                          <a:solidFill>
                            <a:schemeClr val="tx1"/>
                          </a:solidFill>
                          <a:latin typeface="+mn-lt"/>
                        </a:rPr>
                        <a:t>(paraquat)</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spc="0" baseline="0" err="1">
                          <a:solidFill>
                            <a:schemeClr val="tx1"/>
                          </a:solidFill>
                          <a:latin typeface="+mn-lt"/>
                        </a:rPr>
                        <a:t>Callisto</a:t>
                      </a:r>
                      <a:r>
                        <a:rPr lang="en-US" sz="800" b="0" spc="0" baseline="0">
                          <a:solidFill>
                            <a:schemeClr val="tx1"/>
                          </a:solidFill>
                          <a:latin typeface="+mn-lt"/>
                        </a:rPr>
                        <a:t>,</a:t>
                      </a:r>
                    </a:p>
                    <a:p>
                      <a:pPr algn="ctr"/>
                      <a:r>
                        <a:rPr lang="en-US" sz="800" b="0" spc="0" baseline="0" err="1">
                          <a:solidFill>
                            <a:schemeClr val="tx1"/>
                          </a:solidFill>
                          <a:latin typeface="+mn-lt"/>
                        </a:rPr>
                        <a:t>Laudis</a:t>
                      </a:r>
                      <a:endParaRPr lang="en-US" sz="8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216" name="Oval 215">
            <a:extLst>
              <a:ext uri="{FF2B5EF4-FFF2-40B4-BE49-F238E27FC236}">
                <a16:creationId xmlns:a16="http://schemas.microsoft.com/office/drawing/2014/main" id="{F21BDF6C-F254-4CB3-AE6F-541DCDF3B281}"/>
              </a:ext>
            </a:extLst>
          </p:cNvPr>
          <p:cNvSpPr/>
          <p:nvPr/>
        </p:nvSpPr>
        <p:spPr>
          <a:xfrm>
            <a:off x="112213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a:t>
            </a:r>
          </a:p>
        </p:txBody>
      </p:sp>
      <p:sp>
        <p:nvSpPr>
          <p:cNvPr id="217" name="Oval 216">
            <a:extLst>
              <a:ext uri="{FF2B5EF4-FFF2-40B4-BE49-F238E27FC236}">
                <a16:creationId xmlns:a16="http://schemas.microsoft.com/office/drawing/2014/main" id="{CF98D4CD-6C78-46C5-8C33-597B873D2420}"/>
              </a:ext>
            </a:extLst>
          </p:cNvPr>
          <p:cNvSpPr/>
          <p:nvPr/>
        </p:nvSpPr>
        <p:spPr>
          <a:xfrm>
            <a:off x="1851158"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a:t>
            </a:r>
          </a:p>
        </p:txBody>
      </p:sp>
      <p:sp>
        <p:nvSpPr>
          <p:cNvPr id="218" name="Oval 217">
            <a:extLst>
              <a:ext uri="{FF2B5EF4-FFF2-40B4-BE49-F238E27FC236}">
                <a16:creationId xmlns:a16="http://schemas.microsoft.com/office/drawing/2014/main" id="{D5AD951D-F13A-4511-9CB0-CA451795509A}"/>
              </a:ext>
            </a:extLst>
          </p:cNvPr>
          <p:cNvSpPr/>
          <p:nvPr/>
        </p:nvSpPr>
        <p:spPr>
          <a:xfrm>
            <a:off x="265092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3</a:t>
            </a:r>
          </a:p>
        </p:txBody>
      </p:sp>
      <p:sp>
        <p:nvSpPr>
          <p:cNvPr id="219" name="Oval 218">
            <a:extLst>
              <a:ext uri="{FF2B5EF4-FFF2-40B4-BE49-F238E27FC236}">
                <a16:creationId xmlns:a16="http://schemas.microsoft.com/office/drawing/2014/main" id="{DC2E6585-9595-4254-A4E3-F5A14D2C2194}"/>
              </a:ext>
            </a:extLst>
          </p:cNvPr>
          <p:cNvSpPr/>
          <p:nvPr/>
        </p:nvSpPr>
        <p:spPr>
          <a:xfrm>
            <a:off x="346111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4</a:t>
            </a:r>
          </a:p>
        </p:txBody>
      </p:sp>
      <p:sp>
        <p:nvSpPr>
          <p:cNvPr id="220" name="Oval 219">
            <a:extLst>
              <a:ext uri="{FF2B5EF4-FFF2-40B4-BE49-F238E27FC236}">
                <a16:creationId xmlns:a16="http://schemas.microsoft.com/office/drawing/2014/main" id="{F7DB4806-C0A8-42C9-9D7F-5735B4E42AAB}"/>
              </a:ext>
            </a:extLst>
          </p:cNvPr>
          <p:cNvSpPr/>
          <p:nvPr/>
        </p:nvSpPr>
        <p:spPr>
          <a:xfrm>
            <a:off x="407674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5</a:t>
            </a:r>
          </a:p>
        </p:txBody>
      </p:sp>
      <p:sp>
        <p:nvSpPr>
          <p:cNvPr id="221" name="Oval 220">
            <a:extLst>
              <a:ext uri="{FF2B5EF4-FFF2-40B4-BE49-F238E27FC236}">
                <a16:creationId xmlns:a16="http://schemas.microsoft.com/office/drawing/2014/main" id="{B8C32C6C-CA3B-4769-8256-2EB0548E3700}"/>
              </a:ext>
            </a:extLst>
          </p:cNvPr>
          <p:cNvSpPr/>
          <p:nvPr/>
        </p:nvSpPr>
        <p:spPr>
          <a:xfrm>
            <a:off x="4381873"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6</a:t>
            </a:r>
          </a:p>
        </p:txBody>
      </p:sp>
      <p:sp>
        <p:nvSpPr>
          <p:cNvPr id="222" name="Oval 221">
            <a:extLst>
              <a:ext uri="{FF2B5EF4-FFF2-40B4-BE49-F238E27FC236}">
                <a16:creationId xmlns:a16="http://schemas.microsoft.com/office/drawing/2014/main" id="{5610B1DB-54A8-4D07-B90C-243B2C23FA08}"/>
              </a:ext>
            </a:extLst>
          </p:cNvPr>
          <p:cNvSpPr/>
          <p:nvPr/>
        </p:nvSpPr>
        <p:spPr>
          <a:xfrm>
            <a:off x="7322354"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0</a:t>
            </a:r>
          </a:p>
        </p:txBody>
      </p:sp>
      <p:sp>
        <p:nvSpPr>
          <p:cNvPr id="223" name="Oval 222">
            <a:extLst>
              <a:ext uri="{FF2B5EF4-FFF2-40B4-BE49-F238E27FC236}">
                <a16:creationId xmlns:a16="http://schemas.microsoft.com/office/drawing/2014/main" id="{51F8C5D5-75BE-4ACB-847C-8A251AB2DF01}"/>
              </a:ext>
            </a:extLst>
          </p:cNvPr>
          <p:cNvSpPr/>
          <p:nvPr/>
        </p:nvSpPr>
        <p:spPr>
          <a:xfrm>
            <a:off x="4681282"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7</a:t>
            </a:r>
          </a:p>
        </p:txBody>
      </p:sp>
      <p:sp>
        <p:nvSpPr>
          <p:cNvPr id="224" name="Oval 223">
            <a:extLst>
              <a:ext uri="{FF2B5EF4-FFF2-40B4-BE49-F238E27FC236}">
                <a16:creationId xmlns:a16="http://schemas.microsoft.com/office/drawing/2014/main" id="{1D87181F-4801-49F9-8F4F-E9E71F4A6C1B}"/>
              </a:ext>
            </a:extLst>
          </p:cNvPr>
          <p:cNvSpPr/>
          <p:nvPr/>
        </p:nvSpPr>
        <p:spPr>
          <a:xfrm>
            <a:off x="544216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8</a:t>
            </a:r>
          </a:p>
        </p:txBody>
      </p:sp>
      <p:sp>
        <p:nvSpPr>
          <p:cNvPr id="225" name="Oval 224">
            <a:extLst>
              <a:ext uri="{FF2B5EF4-FFF2-40B4-BE49-F238E27FC236}">
                <a16:creationId xmlns:a16="http://schemas.microsoft.com/office/drawing/2014/main" id="{658DF298-4512-4785-B057-ED8818A3942C}"/>
              </a:ext>
            </a:extLst>
          </p:cNvPr>
          <p:cNvSpPr/>
          <p:nvPr/>
        </p:nvSpPr>
        <p:spPr>
          <a:xfrm>
            <a:off x="6426061"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9</a:t>
            </a:r>
          </a:p>
        </p:txBody>
      </p:sp>
      <p:sp>
        <p:nvSpPr>
          <p:cNvPr id="226" name="Oval 225">
            <a:extLst>
              <a:ext uri="{FF2B5EF4-FFF2-40B4-BE49-F238E27FC236}">
                <a16:creationId xmlns:a16="http://schemas.microsoft.com/office/drawing/2014/main" id="{A152EBB9-3FB8-4661-8CBE-0EB3A960CA4F}"/>
              </a:ext>
            </a:extLst>
          </p:cNvPr>
          <p:cNvSpPr/>
          <p:nvPr/>
        </p:nvSpPr>
        <p:spPr>
          <a:xfrm>
            <a:off x="81807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3</a:t>
            </a:r>
          </a:p>
        </p:txBody>
      </p:sp>
      <p:sp>
        <p:nvSpPr>
          <p:cNvPr id="227" name="Oval 226">
            <a:extLst>
              <a:ext uri="{FF2B5EF4-FFF2-40B4-BE49-F238E27FC236}">
                <a16:creationId xmlns:a16="http://schemas.microsoft.com/office/drawing/2014/main" id="{F310B25A-56A0-41A0-AA86-1F8FDB33F897}"/>
              </a:ext>
            </a:extLst>
          </p:cNvPr>
          <p:cNvSpPr/>
          <p:nvPr/>
        </p:nvSpPr>
        <p:spPr>
          <a:xfrm>
            <a:off x="8986515"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4</a:t>
            </a:r>
          </a:p>
        </p:txBody>
      </p:sp>
      <p:sp>
        <p:nvSpPr>
          <p:cNvPr id="228" name="Oval 227">
            <a:extLst>
              <a:ext uri="{FF2B5EF4-FFF2-40B4-BE49-F238E27FC236}">
                <a16:creationId xmlns:a16="http://schemas.microsoft.com/office/drawing/2014/main" id="{46D3E6CC-A16E-4A2F-82FD-B4C9033C3B47}"/>
              </a:ext>
            </a:extLst>
          </p:cNvPr>
          <p:cNvSpPr/>
          <p:nvPr/>
        </p:nvSpPr>
        <p:spPr>
          <a:xfrm>
            <a:off x="985824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15</a:t>
            </a:r>
          </a:p>
        </p:txBody>
      </p:sp>
      <p:sp>
        <p:nvSpPr>
          <p:cNvPr id="229" name="Oval 228">
            <a:extLst>
              <a:ext uri="{FF2B5EF4-FFF2-40B4-BE49-F238E27FC236}">
                <a16:creationId xmlns:a16="http://schemas.microsoft.com/office/drawing/2014/main" id="{ACF0719F-6B7A-4793-943D-64E69619B9F2}"/>
              </a:ext>
            </a:extLst>
          </p:cNvPr>
          <p:cNvSpPr/>
          <p:nvPr/>
        </p:nvSpPr>
        <p:spPr>
          <a:xfrm>
            <a:off x="10840589"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2</a:t>
            </a:r>
          </a:p>
        </p:txBody>
      </p:sp>
      <p:sp>
        <p:nvSpPr>
          <p:cNvPr id="230" name="Oval 229">
            <a:extLst>
              <a:ext uri="{FF2B5EF4-FFF2-40B4-BE49-F238E27FC236}">
                <a16:creationId xmlns:a16="http://schemas.microsoft.com/office/drawing/2014/main" id="{3E1E6405-346B-4BEA-BBD3-2EBB5358715C}"/>
              </a:ext>
            </a:extLst>
          </p:cNvPr>
          <p:cNvSpPr/>
          <p:nvPr/>
        </p:nvSpPr>
        <p:spPr>
          <a:xfrm>
            <a:off x="11686057"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27</a:t>
            </a:r>
          </a:p>
        </p:txBody>
      </p:sp>
      <p:grpSp>
        <p:nvGrpSpPr>
          <p:cNvPr id="58" name="5: Kochia">
            <a:extLst>
              <a:ext uri="{FF2B5EF4-FFF2-40B4-BE49-F238E27FC236}">
                <a16:creationId xmlns:a16="http://schemas.microsoft.com/office/drawing/2014/main" id="{CB7F96F5-EB88-4FE4-8424-80C1E081360D}"/>
              </a:ext>
            </a:extLst>
          </p:cNvPr>
          <p:cNvGrpSpPr/>
          <p:nvPr/>
        </p:nvGrpSpPr>
        <p:grpSpPr>
          <a:xfrm>
            <a:off x="2209913" y="1141155"/>
            <a:ext cx="7772174" cy="2807745"/>
            <a:chOff x="1762543" y="1141155"/>
            <a:chExt cx="7772174" cy="2807745"/>
          </a:xfrm>
        </p:grpSpPr>
        <p:sp>
          <p:nvSpPr>
            <p:cNvPr id="59" name="Rectangle 58">
              <a:extLst>
                <a:ext uri="{FF2B5EF4-FFF2-40B4-BE49-F238E27FC236}">
                  <a16:creationId xmlns:a16="http://schemas.microsoft.com/office/drawing/2014/main" id="{BB919B3A-127A-422D-86C0-BB49355DC964}"/>
                </a:ext>
              </a:extLst>
            </p:cNvPr>
            <p:cNvSpPr/>
            <p:nvPr/>
          </p:nvSpPr>
          <p:spPr>
            <a:xfrm>
              <a:off x="4903776" y="1141155"/>
              <a:ext cx="4630941" cy="2807745"/>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61" name="Rectangle 60">
              <a:extLst>
                <a:ext uri="{FF2B5EF4-FFF2-40B4-BE49-F238E27FC236}">
                  <a16:creationId xmlns:a16="http://schemas.microsoft.com/office/drawing/2014/main" id="{7B10D9EC-23EB-487B-BE3C-FFEA21A26159}"/>
                </a:ext>
              </a:extLst>
            </p:cNvPr>
            <p:cNvSpPr/>
            <p:nvPr/>
          </p:nvSpPr>
          <p:spPr>
            <a:xfrm>
              <a:off x="1762543" y="1141155"/>
              <a:ext cx="3141233" cy="2807745"/>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62" name="TextBox 61">
              <a:extLst>
                <a:ext uri="{FF2B5EF4-FFF2-40B4-BE49-F238E27FC236}">
                  <a16:creationId xmlns:a16="http://schemas.microsoft.com/office/drawing/2014/main" id="{A055EB60-834A-4275-B644-3A49AA1FA0A2}"/>
                </a:ext>
              </a:extLst>
            </p:cNvPr>
            <p:cNvSpPr txBox="1"/>
            <p:nvPr/>
          </p:nvSpPr>
          <p:spPr>
            <a:xfrm>
              <a:off x="5210290" y="2690802"/>
              <a:ext cx="1833101" cy="7848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Narrow" panose="020B0606020202030204" pitchFamily="34" charset="0"/>
                  <a:ea typeface="+mj-ea"/>
                  <a:cs typeface="+mj-cs"/>
                </a:rPr>
                <a:t>SEEDS/PLANT</a:t>
              </a:r>
            </a:p>
            <a:p>
              <a:pPr marL="0" marR="0" lvl="0" indent="0" defTabSz="914400"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a:ln>
                    <a:noFill/>
                  </a:ln>
                  <a:solidFill>
                    <a:sysClr val="windowText" lastClr="000000"/>
                  </a:solidFill>
                  <a:effectLst/>
                  <a:uLnTx/>
                  <a:uFillTx/>
                  <a:latin typeface="+mj-lt"/>
                </a:rPr>
                <a:t>30K</a:t>
              </a:r>
            </a:p>
          </p:txBody>
        </p:sp>
        <p:sp>
          <p:nvSpPr>
            <p:cNvPr id="63" name="TextBox 62">
              <a:extLst>
                <a:ext uri="{FF2B5EF4-FFF2-40B4-BE49-F238E27FC236}">
                  <a16:creationId xmlns:a16="http://schemas.microsoft.com/office/drawing/2014/main" id="{3738FD35-E1D7-4EF4-A078-84BFCAFFD53C}"/>
                </a:ext>
              </a:extLst>
            </p:cNvPr>
            <p:cNvSpPr txBox="1"/>
            <p:nvPr/>
          </p:nvSpPr>
          <p:spPr>
            <a:xfrm>
              <a:off x="5210290" y="1445298"/>
              <a:ext cx="2963326" cy="729430"/>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ysClr val="windowText" lastClr="000000"/>
                  </a:solidFill>
                  <a:effectLst/>
                  <a:uLnTx/>
                  <a:uFillTx/>
                  <a:latin typeface="+mj-lt"/>
                </a:rPr>
                <a:t>KOCHIA</a:t>
              </a:r>
            </a:p>
            <a:p>
              <a:pPr marL="0" marR="0" lvl="0" indent="0" defTabSz="91440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a:ln>
                    <a:noFill/>
                  </a:ln>
                  <a:solidFill>
                    <a:schemeClr val="accent6"/>
                  </a:solidFill>
                  <a:effectLst/>
                  <a:uLnTx/>
                  <a:uFillTx/>
                  <a:latin typeface="Arial Narrow" panose="020B0606020202030204" pitchFamily="34" charset="0"/>
                </a:rPr>
                <a:t>Kochia </a:t>
              </a:r>
              <a:r>
                <a:rPr kumimoji="0" lang="en-US" sz="2200" b="0" i="0" u="none" strike="noStrike" kern="0" cap="none" spc="0" normalizeH="0" baseline="0" noProof="0" err="1">
                  <a:ln>
                    <a:noFill/>
                  </a:ln>
                  <a:solidFill>
                    <a:schemeClr val="accent6"/>
                  </a:solidFill>
                  <a:effectLst/>
                  <a:uLnTx/>
                  <a:uFillTx/>
                  <a:latin typeface="Arial Narrow" panose="020B0606020202030204" pitchFamily="34" charset="0"/>
                </a:rPr>
                <a:t>scoparia</a:t>
              </a:r>
              <a:endParaRPr kumimoji="0" lang="en-US" sz="2200" b="0" i="0" u="none" strike="noStrike" kern="0" cap="none" spc="0" normalizeH="0" baseline="0" noProof="0">
                <a:ln>
                  <a:noFill/>
                </a:ln>
                <a:solidFill>
                  <a:schemeClr val="accent6"/>
                </a:solidFill>
                <a:effectLst/>
                <a:uLnTx/>
                <a:uFillTx/>
                <a:latin typeface="Arial Narrow" panose="020B0606020202030204" pitchFamily="34" charset="0"/>
              </a:endParaRPr>
            </a:p>
          </p:txBody>
        </p:sp>
        <p:cxnSp>
          <p:nvCxnSpPr>
            <p:cNvPr id="64" name="Straight Connector 63">
              <a:extLst>
                <a:ext uri="{FF2B5EF4-FFF2-40B4-BE49-F238E27FC236}">
                  <a16:creationId xmlns:a16="http://schemas.microsoft.com/office/drawing/2014/main" id="{E87DF026-35CF-40CF-8BA8-4B55293524C6}"/>
                </a:ext>
              </a:extLst>
            </p:cNvPr>
            <p:cNvCxnSpPr>
              <a:cxnSpLocks/>
            </p:cNvCxnSpPr>
            <p:nvPr/>
          </p:nvCxnSpPr>
          <p:spPr>
            <a:xfrm flipV="1">
              <a:off x="5207008" y="2396381"/>
              <a:ext cx="4007133" cy="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Oval 36">
            <a:extLst>
              <a:ext uri="{FF2B5EF4-FFF2-40B4-BE49-F238E27FC236}">
                <a16:creationId xmlns:a16="http://schemas.microsoft.com/office/drawing/2014/main" id="{6700BC29-039D-4B2B-B25F-8B7F3652EE7B}"/>
              </a:ext>
            </a:extLst>
          </p:cNvPr>
          <p:cNvSpPr/>
          <p:nvPr/>
        </p:nvSpPr>
        <p:spPr>
          <a:xfrm>
            <a:off x="4381873" y="4586637"/>
            <a:ext cx="229272" cy="229272"/>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mj-lt"/>
              </a:rPr>
              <a:t>6</a:t>
            </a:r>
          </a:p>
        </p:txBody>
      </p:sp>
      <p:sp>
        <p:nvSpPr>
          <p:cNvPr id="38" name="Rectangle 37">
            <a:extLst>
              <a:ext uri="{FF2B5EF4-FFF2-40B4-BE49-F238E27FC236}">
                <a16:creationId xmlns:a16="http://schemas.microsoft.com/office/drawing/2014/main" id="{009DC23F-2C4B-4B2F-A6AD-41A2C9899C1F}"/>
              </a:ext>
            </a:extLst>
          </p:cNvPr>
          <p:cNvSpPr/>
          <p:nvPr/>
        </p:nvSpPr>
        <p:spPr>
          <a:xfrm>
            <a:off x="0" y="4494078"/>
            <a:ext cx="12199350" cy="132171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40" name="Table 39">
            <a:extLst>
              <a:ext uri="{FF2B5EF4-FFF2-40B4-BE49-F238E27FC236}">
                <a16:creationId xmlns:a16="http://schemas.microsoft.com/office/drawing/2014/main" id="{EC4D468A-BC66-4C08-A63F-A2811276BC27}"/>
              </a:ext>
            </a:extLst>
          </p:cNvPr>
          <p:cNvGraphicFramePr>
            <a:graphicFrameLocks noGrp="1"/>
          </p:cNvGraphicFramePr>
          <p:nvPr/>
        </p:nvGraphicFramePr>
        <p:xfrm>
          <a:off x="3261360" y="4385705"/>
          <a:ext cx="5669280" cy="1554480"/>
        </p:xfrm>
        <a:graphic>
          <a:graphicData uri="http://schemas.openxmlformats.org/drawingml/2006/table">
            <a:tbl>
              <a:tblPr firstCol="1" bandRow="1">
                <a:tableStyleId>{5C22544A-7EE6-4342-B048-85BDC9FD1C3A}</a:tableStyleId>
              </a:tblPr>
              <a:tblGrid>
                <a:gridCol w="1188720">
                  <a:extLst>
                    <a:ext uri="{9D8B030D-6E8A-4147-A177-3AD203B41FA5}">
                      <a16:colId xmlns:a16="http://schemas.microsoft.com/office/drawing/2014/main" val="859317391"/>
                    </a:ext>
                  </a:extLst>
                </a:gridCol>
                <a:gridCol w="1188720">
                  <a:extLst>
                    <a:ext uri="{9D8B030D-6E8A-4147-A177-3AD203B41FA5}">
                      <a16:colId xmlns:a16="http://schemas.microsoft.com/office/drawing/2014/main" val="3425404963"/>
                    </a:ext>
                  </a:extLst>
                </a:gridCol>
                <a:gridCol w="1645920">
                  <a:extLst>
                    <a:ext uri="{9D8B030D-6E8A-4147-A177-3AD203B41FA5}">
                      <a16:colId xmlns:a16="http://schemas.microsoft.com/office/drawing/2014/main" val="1494173614"/>
                    </a:ext>
                  </a:extLst>
                </a:gridCol>
                <a:gridCol w="1645920">
                  <a:extLst>
                    <a:ext uri="{9D8B030D-6E8A-4147-A177-3AD203B41FA5}">
                      <a16:colId xmlns:a16="http://schemas.microsoft.com/office/drawing/2014/main" val="3747364226"/>
                    </a:ext>
                  </a:extLst>
                </a:gridCol>
              </a:tblGrid>
              <a:tr h="1097280">
                <a:tc>
                  <a:txBody>
                    <a:bodyPr/>
                    <a:lstStyle/>
                    <a:p>
                      <a:pPr algn="ctr"/>
                      <a:r>
                        <a:rPr lang="en-US" sz="1600" b="1" spc="0" baseline="0">
                          <a:solidFill>
                            <a:schemeClr val="bg1"/>
                          </a:solidFill>
                          <a:latin typeface="Arial Narrow" panose="020B0606020202030204" pitchFamily="34" charset="0"/>
                        </a:rPr>
                        <a:t>ALS</a:t>
                      </a:r>
                    </a:p>
                    <a:p>
                      <a:pPr algn="ctr"/>
                      <a:r>
                        <a:rPr lang="en-US" sz="1600" b="1" spc="0" baseline="0">
                          <a:solidFill>
                            <a:schemeClr val="bg1"/>
                          </a:solidFill>
                          <a:latin typeface="Arial Narrow" panose="020B0606020202030204" pitchFamily="34" charset="0"/>
                        </a:rPr>
                        <a:t>INHIBITORS</a:t>
                      </a:r>
                    </a:p>
                  </a:txBody>
                  <a:tcPr anchor="b">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SYNTHETIC AUXIN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PHOTOSYSTEM II</a:t>
                      </a:r>
                    </a:p>
                    <a:p>
                      <a:pPr algn="ctr"/>
                      <a:r>
                        <a:rPr lang="en-US" sz="1600" b="1" kern="1200" spc="0" baseline="0">
                          <a:solidFill>
                            <a:schemeClr val="bg1"/>
                          </a:solidFill>
                          <a:latin typeface="Arial Narrow" panose="020B0606020202030204" pitchFamily="34" charset="0"/>
                          <a:ea typeface="+mn-ea"/>
                          <a:cs typeface="+mn-cs"/>
                        </a:rPr>
                        <a:t>INHIBITOR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b="1" kern="1200" spc="0" baseline="0">
                          <a:solidFill>
                            <a:schemeClr val="bg1"/>
                          </a:solidFill>
                          <a:latin typeface="Arial Narrow" panose="020B0606020202030204" pitchFamily="34" charset="0"/>
                          <a:ea typeface="+mn-ea"/>
                          <a:cs typeface="+mn-cs"/>
                        </a:rPr>
                        <a:t>EPSP SYNTHASE</a:t>
                      </a:r>
                    </a:p>
                    <a:p>
                      <a:pPr algn="ctr"/>
                      <a:r>
                        <a:rPr lang="en-US" sz="1600" b="1" kern="1200" spc="0" baseline="0">
                          <a:solidFill>
                            <a:schemeClr val="bg1"/>
                          </a:solidFill>
                          <a:latin typeface="Arial Narrow" panose="020B0606020202030204" pitchFamily="34" charset="0"/>
                          <a:ea typeface="+mn-ea"/>
                          <a:cs typeface="+mn-cs"/>
                        </a:rPr>
                        <a:t>INHIBITOR</a:t>
                      </a: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034289678"/>
                  </a:ext>
                </a:extLst>
              </a:tr>
              <a:tr h="457200">
                <a:tc gridSpan="4">
                  <a:txBody>
                    <a:bodyPr/>
                    <a:lstStyle/>
                    <a:p>
                      <a:pPr algn="ctr">
                        <a:lnSpc>
                          <a:spcPct val="90000"/>
                        </a:lnSpc>
                      </a:pPr>
                      <a:r>
                        <a:rPr lang="en-US" sz="1800" b="0" kern="1200">
                          <a:solidFill>
                            <a:schemeClr val="tx1"/>
                          </a:solidFill>
                          <a:latin typeface="Arial Narrow" panose="020B0606020202030204" pitchFamily="34" charset="0"/>
                          <a:ea typeface="+mn-ea"/>
                          <a:cs typeface="+mn-cs"/>
                        </a:rPr>
                        <a:t>KNOWN RESISTANCE</a:t>
                      </a: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spc="0" baseline="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90000"/>
                        </a:lnSpc>
                      </a:pPr>
                      <a:endParaRPr lang="en-US" sz="1800" b="0" kern="1200">
                        <a:solidFill>
                          <a:schemeClr val="tx1"/>
                        </a:solidFill>
                        <a:latin typeface="Arial Narrow" panose="020B0606020202030204" pitchFamily="34" charset="0"/>
                        <a:ea typeface="+mj-ea"/>
                        <a:cs typeface="+mj-cs"/>
                      </a:endParaRPr>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662658"/>
                  </a:ext>
                </a:extLst>
              </a:tr>
            </a:tbl>
          </a:graphicData>
        </a:graphic>
      </p:graphicFrame>
      <p:sp>
        <p:nvSpPr>
          <p:cNvPr id="41" name="Rectangle 40">
            <a:extLst>
              <a:ext uri="{FF2B5EF4-FFF2-40B4-BE49-F238E27FC236}">
                <a16:creationId xmlns:a16="http://schemas.microsoft.com/office/drawing/2014/main" id="{271C32F6-3026-4C15-B60B-046711D56B09}"/>
              </a:ext>
            </a:extLst>
          </p:cNvPr>
          <p:cNvSpPr/>
          <p:nvPr/>
        </p:nvSpPr>
        <p:spPr>
          <a:xfrm>
            <a:off x="3261360" y="4385706"/>
            <a:ext cx="5669280" cy="155448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Oval 41">
            <a:extLst>
              <a:ext uri="{FF2B5EF4-FFF2-40B4-BE49-F238E27FC236}">
                <a16:creationId xmlns:a16="http://schemas.microsoft.com/office/drawing/2014/main" id="{66E71089-48EC-45E2-9607-26B388948ECC}"/>
              </a:ext>
            </a:extLst>
          </p:cNvPr>
          <p:cNvSpPr/>
          <p:nvPr/>
        </p:nvSpPr>
        <p:spPr>
          <a:xfrm>
            <a:off x="3646257"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2</a:t>
            </a:r>
          </a:p>
        </p:txBody>
      </p:sp>
      <p:sp>
        <p:nvSpPr>
          <p:cNvPr id="43" name="Oval 42">
            <a:extLst>
              <a:ext uri="{FF2B5EF4-FFF2-40B4-BE49-F238E27FC236}">
                <a16:creationId xmlns:a16="http://schemas.microsoft.com/office/drawing/2014/main" id="{1BD47C7D-8D8D-45B3-9168-22E41FA12322}"/>
              </a:ext>
            </a:extLst>
          </p:cNvPr>
          <p:cNvSpPr/>
          <p:nvPr/>
        </p:nvSpPr>
        <p:spPr>
          <a:xfrm>
            <a:off x="4834861"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4</a:t>
            </a:r>
          </a:p>
        </p:txBody>
      </p:sp>
      <p:sp>
        <p:nvSpPr>
          <p:cNvPr id="44" name="Oval 43">
            <a:extLst>
              <a:ext uri="{FF2B5EF4-FFF2-40B4-BE49-F238E27FC236}">
                <a16:creationId xmlns:a16="http://schemas.microsoft.com/office/drawing/2014/main" id="{B6CF054C-F9C5-4C73-B72F-BC382FD7A42C}"/>
              </a:ext>
            </a:extLst>
          </p:cNvPr>
          <p:cNvSpPr/>
          <p:nvPr/>
        </p:nvSpPr>
        <p:spPr>
          <a:xfrm>
            <a:off x="7897208"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9</a:t>
            </a:r>
          </a:p>
        </p:txBody>
      </p:sp>
      <p:sp>
        <p:nvSpPr>
          <p:cNvPr id="45" name="Oval 44">
            <a:extLst>
              <a:ext uri="{FF2B5EF4-FFF2-40B4-BE49-F238E27FC236}">
                <a16:creationId xmlns:a16="http://schemas.microsoft.com/office/drawing/2014/main" id="{91D6CBFB-6649-4B32-B7E5-9446957DE83B}"/>
              </a:ext>
            </a:extLst>
          </p:cNvPr>
          <p:cNvSpPr/>
          <p:nvPr/>
        </p:nvSpPr>
        <p:spPr>
          <a:xfrm>
            <a:off x="6250921" y="4165883"/>
            <a:ext cx="420624" cy="420624"/>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mj-lt"/>
              </a:rPr>
              <a:t>5</a:t>
            </a:r>
          </a:p>
        </p:txBody>
      </p:sp>
      <p:pic>
        <p:nvPicPr>
          <p:cNvPr id="47" name="Picture 46">
            <a:extLst>
              <a:ext uri="{FF2B5EF4-FFF2-40B4-BE49-F238E27FC236}">
                <a16:creationId xmlns:a16="http://schemas.microsoft.com/office/drawing/2014/main" id="{00A50969-1165-44D9-BC7C-D7DE7561F572}"/>
              </a:ext>
            </a:extLst>
          </p:cNvPr>
          <p:cNvPicPr>
            <a:picLocks noChangeAspect="1"/>
          </p:cNvPicPr>
          <p:nvPr/>
        </p:nvPicPr>
        <p:blipFill>
          <a:blip r:embed="rId4"/>
          <a:stretch>
            <a:fillRect/>
          </a:stretch>
        </p:blipFill>
        <p:spPr>
          <a:xfrm>
            <a:off x="914400" y="6319117"/>
            <a:ext cx="1171575" cy="495300"/>
          </a:xfrm>
          <a:prstGeom prst="rect">
            <a:avLst/>
          </a:prstGeom>
        </p:spPr>
      </p:pic>
      <p:pic>
        <p:nvPicPr>
          <p:cNvPr id="48" name="Picture 47">
            <a:extLst>
              <a:ext uri="{FF2B5EF4-FFF2-40B4-BE49-F238E27FC236}">
                <a16:creationId xmlns:a16="http://schemas.microsoft.com/office/drawing/2014/main" id="{A8B7C2A9-B4C2-4AC6-8A3E-27BD67D9A436}"/>
              </a:ext>
            </a:extLst>
          </p:cNvPr>
          <p:cNvPicPr>
            <a:picLocks noChangeAspect="1"/>
          </p:cNvPicPr>
          <p:nvPr/>
        </p:nvPicPr>
        <p:blipFill>
          <a:blip r:embed="rId5"/>
          <a:stretch>
            <a:fillRect/>
          </a:stretch>
        </p:blipFill>
        <p:spPr>
          <a:xfrm>
            <a:off x="838200" y="6393164"/>
            <a:ext cx="1333500" cy="378995"/>
          </a:xfrm>
          <a:prstGeom prst="rect">
            <a:avLst/>
          </a:prstGeom>
        </p:spPr>
      </p:pic>
    </p:spTree>
    <p:extLst>
      <p:ext uri="{BB962C8B-B14F-4D97-AF65-F5344CB8AC3E}">
        <p14:creationId xmlns:p14="http://schemas.microsoft.com/office/powerpoint/2010/main" val="20677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p:cTn id="11" dur="500" fill="hold"/>
                                        <p:tgtEl>
                                          <p:spTgt spid="40"/>
                                        </p:tgtEl>
                                        <p:attrNameLst>
                                          <p:attrName>ppt_w</p:attrName>
                                        </p:attrNameLst>
                                      </p:cBhvr>
                                      <p:tavLst>
                                        <p:tav tm="0">
                                          <p:val>
                                            <p:fltVal val="0"/>
                                          </p:val>
                                        </p:tav>
                                        <p:tav tm="100000">
                                          <p:val>
                                            <p:strVal val="#ppt_w"/>
                                          </p:val>
                                        </p:tav>
                                      </p:tavLst>
                                    </p:anim>
                                    <p:anim calcmode="lin" valueType="num">
                                      <p:cBhvr>
                                        <p:cTn id="12" dur="500" fill="hold"/>
                                        <p:tgtEl>
                                          <p:spTgt spid="40"/>
                                        </p:tgtEl>
                                        <p:attrNameLst>
                                          <p:attrName>ppt_h</p:attrName>
                                        </p:attrNameLst>
                                      </p:cBhvr>
                                      <p:tavLst>
                                        <p:tav tm="0">
                                          <p:val>
                                            <p:fltVal val="0"/>
                                          </p:val>
                                        </p:tav>
                                        <p:tav tm="100000">
                                          <p:val>
                                            <p:strVal val="#ppt_h"/>
                                          </p:val>
                                        </p:tav>
                                      </p:tavLst>
                                    </p:anim>
                                    <p:animEffect transition="in" filter="fade">
                                      <p:cBhvr>
                                        <p:cTn id="13" dur="500"/>
                                        <p:tgtEl>
                                          <p:spTgt spid="40"/>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 calcmode="lin" valueType="num">
                                      <p:cBhvr>
                                        <p:cTn id="16" dur="500" fill="hold"/>
                                        <p:tgtEl>
                                          <p:spTgt spid="41"/>
                                        </p:tgtEl>
                                        <p:attrNameLst>
                                          <p:attrName>ppt_w</p:attrName>
                                        </p:attrNameLst>
                                      </p:cBhvr>
                                      <p:tavLst>
                                        <p:tav tm="0">
                                          <p:val>
                                            <p:fltVal val="0"/>
                                          </p:val>
                                        </p:tav>
                                        <p:tav tm="100000">
                                          <p:val>
                                            <p:strVal val="#ppt_w"/>
                                          </p:val>
                                        </p:tav>
                                      </p:tavLst>
                                    </p:anim>
                                    <p:anim calcmode="lin" valueType="num">
                                      <p:cBhvr>
                                        <p:cTn id="17" dur="500" fill="hold"/>
                                        <p:tgtEl>
                                          <p:spTgt spid="41"/>
                                        </p:tgtEl>
                                        <p:attrNameLst>
                                          <p:attrName>ppt_h</p:attrName>
                                        </p:attrNameLst>
                                      </p:cBhvr>
                                      <p:tavLst>
                                        <p:tav tm="0">
                                          <p:val>
                                            <p:fltVal val="0"/>
                                          </p:val>
                                        </p:tav>
                                        <p:tav tm="100000">
                                          <p:val>
                                            <p:strVal val="#ppt_h"/>
                                          </p:val>
                                        </p:tav>
                                      </p:tavLst>
                                    </p:anim>
                                    <p:animEffect transition="in" filter="fade">
                                      <p:cBhvr>
                                        <p:cTn id="18" dur="500"/>
                                        <p:tgtEl>
                                          <p:spTgt spid="41"/>
                                        </p:tgtEl>
                                      </p:cBhvr>
                                    </p:animEffect>
                                  </p:childTnLst>
                                </p:cTn>
                              </p:par>
                            </p:childTnLst>
                          </p:cTn>
                        </p:par>
                        <p:par>
                          <p:cTn id="19" fill="hold">
                            <p:stCondLst>
                              <p:cond delay="1000"/>
                            </p:stCondLst>
                            <p:childTnLst>
                              <p:par>
                                <p:cTn id="20" presetID="42" presetClass="entr" presetSubtype="0" fill="hold" grpId="0"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250"/>
                                        <p:tgtEl>
                                          <p:spTgt spid="42"/>
                                        </p:tgtEl>
                                      </p:cBhvr>
                                    </p:animEffect>
                                    <p:anim calcmode="lin" valueType="num">
                                      <p:cBhvr>
                                        <p:cTn id="23" dur="250" fill="hold"/>
                                        <p:tgtEl>
                                          <p:spTgt spid="42"/>
                                        </p:tgtEl>
                                        <p:attrNameLst>
                                          <p:attrName>ppt_x</p:attrName>
                                        </p:attrNameLst>
                                      </p:cBhvr>
                                      <p:tavLst>
                                        <p:tav tm="0">
                                          <p:val>
                                            <p:strVal val="#ppt_x"/>
                                          </p:val>
                                        </p:tav>
                                        <p:tav tm="100000">
                                          <p:val>
                                            <p:strVal val="#ppt_x"/>
                                          </p:val>
                                        </p:tav>
                                      </p:tavLst>
                                    </p:anim>
                                    <p:anim calcmode="lin" valueType="num">
                                      <p:cBhvr>
                                        <p:cTn id="24" dur="250" fill="hold"/>
                                        <p:tgtEl>
                                          <p:spTgt spid="42"/>
                                        </p:tgtEl>
                                        <p:attrNameLst>
                                          <p:attrName>ppt_y</p:attrName>
                                        </p:attrNameLst>
                                      </p:cBhvr>
                                      <p:tavLst>
                                        <p:tav tm="0">
                                          <p:val>
                                            <p:strVal val="#ppt_y+.1"/>
                                          </p:val>
                                        </p:tav>
                                        <p:tav tm="100000">
                                          <p:val>
                                            <p:strVal val="#ppt_y"/>
                                          </p:val>
                                        </p:tav>
                                      </p:tavLst>
                                    </p:anim>
                                  </p:childTnLst>
                                </p:cTn>
                              </p:par>
                            </p:childTnLst>
                          </p:cTn>
                        </p:par>
                        <p:par>
                          <p:cTn id="25" fill="hold">
                            <p:stCondLst>
                              <p:cond delay="1250"/>
                            </p:stCondLst>
                            <p:childTnLst>
                              <p:par>
                                <p:cTn id="26" presetID="42" presetClass="entr" presetSubtype="0" fill="hold" grpId="0" nodeType="after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250"/>
                                        <p:tgtEl>
                                          <p:spTgt spid="43"/>
                                        </p:tgtEl>
                                      </p:cBhvr>
                                    </p:animEffect>
                                    <p:anim calcmode="lin" valueType="num">
                                      <p:cBhvr>
                                        <p:cTn id="29" dur="250" fill="hold"/>
                                        <p:tgtEl>
                                          <p:spTgt spid="43"/>
                                        </p:tgtEl>
                                        <p:attrNameLst>
                                          <p:attrName>ppt_x</p:attrName>
                                        </p:attrNameLst>
                                      </p:cBhvr>
                                      <p:tavLst>
                                        <p:tav tm="0">
                                          <p:val>
                                            <p:strVal val="#ppt_x"/>
                                          </p:val>
                                        </p:tav>
                                        <p:tav tm="100000">
                                          <p:val>
                                            <p:strVal val="#ppt_x"/>
                                          </p:val>
                                        </p:tav>
                                      </p:tavLst>
                                    </p:anim>
                                    <p:anim calcmode="lin" valueType="num">
                                      <p:cBhvr>
                                        <p:cTn id="30" dur="250" fill="hold"/>
                                        <p:tgtEl>
                                          <p:spTgt spid="43"/>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42" presetClass="entr" presetSubtype="0" fill="hold" grpId="0"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250"/>
                                        <p:tgtEl>
                                          <p:spTgt spid="45"/>
                                        </p:tgtEl>
                                      </p:cBhvr>
                                    </p:animEffect>
                                    <p:anim calcmode="lin" valueType="num">
                                      <p:cBhvr>
                                        <p:cTn id="35" dur="250" fill="hold"/>
                                        <p:tgtEl>
                                          <p:spTgt spid="45"/>
                                        </p:tgtEl>
                                        <p:attrNameLst>
                                          <p:attrName>ppt_x</p:attrName>
                                        </p:attrNameLst>
                                      </p:cBhvr>
                                      <p:tavLst>
                                        <p:tav tm="0">
                                          <p:val>
                                            <p:strVal val="#ppt_x"/>
                                          </p:val>
                                        </p:tav>
                                        <p:tav tm="100000">
                                          <p:val>
                                            <p:strVal val="#ppt_x"/>
                                          </p:val>
                                        </p:tav>
                                      </p:tavLst>
                                    </p:anim>
                                    <p:anim calcmode="lin" valueType="num">
                                      <p:cBhvr>
                                        <p:cTn id="36" dur="250" fill="hold"/>
                                        <p:tgtEl>
                                          <p:spTgt spid="45"/>
                                        </p:tgtEl>
                                        <p:attrNameLst>
                                          <p:attrName>ppt_y</p:attrName>
                                        </p:attrNameLst>
                                      </p:cBhvr>
                                      <p:tavLst>
                                        <p:tav tm="0">
                                          <p:val>
                                            <p:strVal val="#ppt_y+.1"/>
                                          </p:val>
                                        </p:tav>
                                        <p:tav tm="100000">
                                          <p:val>
                                            <p:strVal val="#ppt_y"/>
                                          </p:val>
                                        </p:tav>
                                      </p:tavLst>
                                    </p:anim>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250"/>
                                        <p:tgtEl>
                                          <p:spTgt spid="44"/>
                                        </p:tgtEl>
                                      </p:cBhvr>
                                    </p:animEffect>
                                    <p:anim calcmode="lin" valueType="num">
                                      <p:cBhvr>
                                        <p:cTn id="41" dur="250" fill="hold"/>
                                        <p:tgtEl>
                                          <p:spTgt spid="44"/>
                                        </p:tgtEl>
                                        <p:attrNameLst>
                                          <p:attrName>ppt_x</p:attrName>
                                        </p:attrNameLst>
                                      </p:cBhvr>
                                      <p:tavLst>
                                        <p:tav tm="0">
                                          <p:val>
                                            <p:strVal val="#ppt_x"/>
                                          </p:val>
                                        </p:tav>
                                        <p:tav tm="100000">
                                          <p:val>
                                            <p:strVal val="#ppt_x"/>
                                          </p:val>
                                        </p:tav>
                                      </p:tavLst>
                                    </p:anim>
                                    <p:anim calcmode="lin" valueType="num">
                                      <p:cBhvr>
                                        <p:cTn id="42" dur="25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2" grpId="0" animBg="1"/>
      <p:bldP spid="43" grpId="0" animBg="1"/>
      <p:bldP spid="44" grpId="0" animBg="1"/>
      <p:bldP spid="4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2019_Dicamba_Training_Master">
  <a:themeElements>
    <a:clrScheme name="2019_Dicamba_Training_Fed">
      <a:dk1>
        <a:sysClr val="windowText" lastClr="000000"/>
      </a:dk1>
      <a:lt1>
        <a:sysClr val="window" lastClr="FFFFFF"/>
      </a:lt1>
      <a:dk2>
        <a:srgbClr val="4B1D3F"/>
      </a:dk2>
      <a:lt2>
        <a:srgbClr val="E7E6E6"/>
      </a:lt2>
      <a:accent1>
        <a:srgbClr val="4B1D3F"/>
      </a:accent1>
      <a:accent2>
        <a:srgbClr val="2683D0"/>
      </a:accent2>
      <a:accent3>
        <a:srgbClr val="6AA028"/>
      </a:accent3>
      <a:accent4>
        <a:srgbClr val="D66B00"/>
      </a:accent4>
      <a:accent5>
        <a:srgbClr val="F7E129"/>
      </a:accent5>
      <a:accent6>
        <a:srgbClr val="672767"/>
      </a:accent6>
      <a:hlink>
        <a:srgbClr val="0563C1"/>
      </a:hlink>
      <a:folHlink>
        <a:srgbClr val="954F72"/>
      </a:folHlink>
    </a:clrScheme>
    <a:fontScheme name="2019_Dicamba_Training">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 id="{BA7FC9B8-D77E-4760-BB50-5C3672009A69}" vid="{5AB5E309-8B5B-4188-B16E-88FEE91C1690}"/>
    </a:ext>
  </a:extLst>
</a:theme>
</file>

<file path=ppt/theme/theme2.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60F5E55C585DB41A8086B22A0BA3978" ma:contentTypeVersion="13" ma:contentTypeDescription="Create a new document." ma:contentTypeScope="" ma:versionID="e22e86e3f987c2af14d4a05802ae56e4">
  <xsd:schema xmlns:xsd="http://www.w3.org/2001/XMLSchema" xmlns:xs="http://www.w3.org/2001/XMLSchema" xmlns:p="http://schemas.microsoft.com/office/2006/metadata/properties" xmlns:ns3="6d636ed6-4d22-4f9b-a70c-2b144907596b" xmlns:ns4="db382af5-41d1-4468-8b87-e2f8642e227d" targetNamespace="http://schemas.microsoft.com/office/2006/metadata/properties" ma:root="true" ma:fieldsID="5715eab3941148329dfc03bbd62eaf30" ns3:_="" ns4:_="">
    <xsd:import namespace="6d636ed6-4d22-4f9b-a70c-2b144907596b"/>
    <xsd:import namespace="db382af5-41d1-4468-8b87-e2f8642e227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636ed6-4d22-4f9b-a70c-2b14490759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382af5-41d1-4468-8b87-e2f8642e22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970C09-749A-47CA-B391-A2D3538670AB}">
  <ds:schemaRefs>
    <ds:schemaRef ds:uri="http://purl.org/dc/elements/1.1/"/>
    <ds:schemaRef ds:uri="6d636ed6-4d22-4f9b-a70c-2b144907596b"/>
    <ds:schemaRef ds:uri="http://schemas.microsoft.com/office/2006/documentManagement/type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db382af5-41d1-4468-8b87-e2f8642e227d"/>
    <ds:schemaRef ds:uri="http://www.w3.org/XML/1998/namespace"/>
    <ds:schemaRef ds:uri="http://purl.org/dc/terms/"/>
  </ds:schemaRefs>
</ds:datastoreItem>
</file>

<file path=customXml/itemProps2.xml><?xml version="1.0" encoding="utf-8"?>
<ds:datastoreItem xmlns:ds="http://schemas.openxmlformats.org/officeDocument/2006/customXml" ds:itemID="{439A0EF3-1ED9-489B-B5E0-404E1E3BDDEE}">
  <ds:schemaRefs>
    <ds:schemaRef ds:uri="http://schemas.microsoft.com/sharepoint/v3/contenttype/forms"/>
  </ds:schemaRefs>
</ds:datastoreItem>
</file>

<file path=customXml/itemProps3.xml><?xml version="1.0" encoding="utf-8"?>
<ds:datastoreItem xmlns:ds="http://schemas.openxmlformats.org/officeDocument/2006/customXml" ds:itemID="{29F83F33-2DDE-4BF9-9512-3B837EF36A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636ed6-4d22-4f9b-a70c-2b144907596b"/>
    <ds:schemaRef ds:uri="db382af5-41d1-4468-8b87-e2f8642e22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9_Dicamba_Training_Fed_Template_10-24-18</Template>
  <TotalTime>4116</TotalTime>
  <Words>15711</Words>
  <Application>Microsoft Office PowerPoint</Application>
  <PresentationFormat>Widescreen</PresentationFormat>
  <Paragraphs>2077</Paragraphs>
  <Slides>92</Slides>
  <Notes>61</Notes>
  <HiddenSlides>3</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2</vt:i4>
      </vt:variant>
    </vt:vector>
  </HeadingPairs>
  <TitlesOfParts>
    <vt:vector size="102" baseType="lpstr">
      <vt:lpstr>Arial</vt:lpstr>
      <vt:lpstr>Arial Black</vt:lpstr>
      <vt:lpstr>Arial Narrow</vt:lpstr>
      <vt:lpstr>Arial Unicode MS</vt:lpstr>
      <vt:lpstr>Arial,Sans-Serif</vt:lpstr>
      <vt:lpstr>Calibri</vt:lpstr>
      <vt:lpstr>Times New Roman</vt:lpstr>
      <vt:lpstr>2019_Dicamba_Training_Master</vt:lpstr>
      <vt:lpstr>1_PR_BAG_PPT-master_16-9</vt:lpstr>
      <vt:lpstr>Acrobat Document</vt:lpstr>
      <vt:lpstr>PowerPoint Presentation</vt:lpstr>
      <vt:lpstr>Certificate of Completion</vt:lpstr>
      <vt:lpstr>PowerPoint Presentation</vt:lpstr>
      <vt:lpstr>APPROVED FORMULATIONS OF  DICAMBA COVERED BY THIS TRAINING</vt:lpstr>
      <vt:lpstr>Product Labels</vt:lpstr>
      <vt:lpstr>AGENDA</vt:lpstr>
      <vt:lpstr>USE Restrictions</vt:lpstr>
      <vt:lpstr>CROP SYMPTOMOLOGY DUE TO RUNOFF</vt:lpstr>
      <vt:lpstr>Record Keeping Requirements  </vt:lpstr>
      <vt:lpstr>Record Keeping</vt:lpstr>
      <vt:lpstr>Record Keeping</vt:lpstr>
      <vt:lpstr>types of OFF-TARGET MOV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PRAY SYSTEM CLEANOUT</vt:lpstr>
      <vt:lpstr>Mixing, handling, transport and spray equipment cleanout considerations</vt:lpstr>
      <vt:lpstr>PowerPoint Presentation</vt:lpstr>
      <vt:lpstr>PowerPoint Presentation</vt:lpstr>
      <vt:lpstr>TANK MIXING INSTRUCTIONS</vt:lpstr>
      <vt:lpstr>PowerPoint Presentation</vt:lpstr>
      <vt:lpstr>PowerPoint Presentation</vt:lpstr>
      <vt:lpstr>confirm and document adjacent SENSITIVE CROPS AND CERTAIN PLANTS</vt:lpstr>
      <vt:lpstr>PowerPoint Presentation</vt:lpstr>
      <vt:lpstr>PowerPoint Presentation</vt:lpstr>
      <vt:lpstr>PowerPoint Presentation</vt:lpstr>
      <vt:lpstr>PowerPoint Presentation</vt:lpstr>
      <vt:lpstr>BUFFER DISTANCE REQUIREMENT</vt:lpstr>
      <vt:lpstr>BUFFER COMPOSITION REQUIREMENT</vt:lpstr>
      <vt:lpstr>BUFFER REQUIREMENT</vt:lpstr>
      <vt:lpstr>Buffer Requirement </vt:lpstr>
      <vt:lpstr>PowerPoint Presentation</vt:lpstr>
      <vt:lpstr>Instructions</vt:lpstr>
      <vt:lpstr>Instructions</vt:lpstr>
      <vt:lpstr>Instructions</vt:lpstr>
      <vt:lpstr>Instructions</vt:lpstr>
      <vt:lpstr>Buffer requirements summary</vt:lpstr>
      <vt:lpstr>Buffer protection</vt:lpstr>
      <vt:lpstr>Buffer protection</vt:lpstr>
      <vt:lpstr>PowerPoint Presentation</vt:lpstr>
      <vt:lpstr>Principles of weed resistance management</vt:lpstr>
      <vt:lpstr>Principles of weed resistance management</vt:lpstr>
      <vt:lpstr>Principles of weed resistance management</vt:lpstr>
      <vt:lpstr>Weed Examples</vt:lpstr>
      <vt:lpstr>Weed Examples</vt:lpstr>
      <vt:lpstr>Effective Applications</vt:lpstr>
      <vt:lpstr>PowerPoint Presentation</vt:lpstr>
      <vt:lpstr>Pressure IMPACT ON WEED COVERAGE</vt:lpstr>
      <vt:lpstr>CROP SPECIFIC RESTRICTIONS</vt:lpstr>
      <vt:lpstr>Example of Good Weed  Management System</vt:lpstr>
      <vt:lpstr>Example of Good Weed Management System</vt:lpstr>
      <vt:lpstr>Example of Good Weed  Management System</vt:lpstr>
      <vt:lpstr>PowerPoint Presentation</vt:lpstr>
      <vt:lpstr>PowerPoint Presentation</vt:lpstr>
      <vt:lpstr>Certificate of Completion</vt:lpstr>
      <vt:lpstr>Disclaimer</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ed Examples</vt:lpstr>
      <vt:lpstr>Weed Examples</vt:lpstr>
      <vt:lpstr>Weed Examp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ANS, SEAN P [AG/1000]</dc:creator>
  <cp:lastModifiedBy>Spradlin, Cassidy D</cp:lastModifiedBy>
  <cp:revision>108</cp:revision>
  <cp:lastPrinted>2020-12-14T23:46:56Z</cp:lastPrinted>
  <dcterms:created xsi:type="dcterms:W3CDTF">2018-11-06T23:51:17Z</dcterms:created>
  <dcterms:modified xsi:type="dcterms:W3CDTF">2021-10-13T19:4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0F5E55C585DB41A8086B22A0BA3978</vt:lpwstr>
  </property>
  <property fmtid="{D5CDD505-2E9C-101B-9397-08002B2CF9AE}" pid="3" name="MSIP_Label_2c76c141-ac86-40e5-abf2-c6f60e474cee_Enabled">
    <vt:lpwstr>True</vt:lpwstr>
  </property>
  <property fmtid="{D5CDD505-2E9C-101B-9397-08002B2CF9AE}" pid="4" name="MSIP_Label_2c76c141-ac86-40e5-abf2-c6f60e474cee_SiteId">
    <vt:lpwstr>fcb2b37b-5da0-466b-9b83-0014b67a7c78</vt:lpwstr>
  </property>
  <property fmtid="{D5CDD505-2E9C-101B-9397-08002B2CF9AE}" pid="5" name="MSIP_Label_2c76c141-ac86-40e5-abf2-c6f60e474cee_Owner">
    <vt:lpwstr>mark.groth@bayer.com</vt:lpwstr>
  </property>
  <property fmtid="{D5CDD505-2E9C-101B-9397-08002B2CF9AE}" pid="6" name="MSIP_Label_2c76c141-ac86-40e5-abf2-c6f60e474cee_SetDate">
    <vt:lpwstr>2020-10-16T15:18:02.8163037Z</vt:lpwstr>
  </property>
  <property fmtid="{D5CDD505-2E9C-101B-9397-08002B2CF9AE}" pid="7" name="MSIP_Label_2c76c141-ac86-40e5-abf2-c6f60e474cee_Name">
    <vt:lpwstr>RESTRICTED</vt:lpwstr>
  </property>
  <property fmtid="{D5CDD505-2E9C-101B-9397-08002B2CF9AE}" pid="8" name="MSIP_Label_2c76c141-ac86-40e5-abf2-c6f60e474cee_Application">
    <vt:lpwstr>Microsoft Azure Information Protection</vt:lpwstr>
  </property>
  <property fmtid="{D5CDD505-2E9C-101B-9397-08002B2CF9AE}" pid="9" name="MSIP_Label_2c76c141-ac86-40e5-abf2-c6f60e474cee_Extended_MSFT_Method">
    <vt:lpwstr>Automatic</vt:lpwstr>
  </property>
  <property fmtid="{D5CDD505-2E9C-101B-9397-08002B2CF9AE}" pid="10" name="Sensitivity">
    <vt:lpwstr>RESTRICTED</vt:lpwstr>
  </property>
</Properties>
</file>